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diagrams/data1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28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1.xml" ContentType="application/vnd.openxmlformats-officedocument.presentationml.slide+xml"/>
  <Override PartName="/ppt/slides/slide29.xml" ContentType="application/vnd.openxmlformats-officedocument.presentationml.slide+xml"/>
  <Override PartName="/ppt/slides/slide34.xml" ContentType="application/vnd.openxmlformats-officedocument.presentationml.slide+xml"/>
  <Override PartName="/ppt/slides/slide32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3.xml" ContentType="application/vnd.openxmlformats-officedocument.presentationml.slide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3.xml" ContentType="application/vnd.openxmlformats-officedocument.presentationml.slideLayout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theme/theme1.xml" ContentType="application/vnd.openxmlformats-officedocument.theme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diagrams/quickStyle3.xml" ContentType="application/vnd.openxmlformats-officedocument.drawingml.diagramStyle+xml"/>
  <Override PartName="/ppt/diagrams/layout3.xml" ContentType="application/vnd.openxmlformats-officedocument.drawingml.diagramLayou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5.xml" ContentType="application/vnd.openxmlformats-officedocument.presentationml.tags+xml"/>
  <Override PartName="/ppt/tags/tag23.xml" ContentType="application/vnd.openxmlformats-officedocument.presentationml.tags+xml"/>
  <Override PartName="/ppt/tags/tag7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3.xml" ContentType="application/vnd.openxmlformats-officedocument.presentationml.tags+xml"/>
  <Override PartName="/ppt/tags/tag64.xml" ContentType="application/vnd.openxmlformats-officedocument.presentationml.tags+xml"/>
  <Override PartName="/ppt/tags/tag9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22.xml" ContentType="application/vnd.openxmlformats-officedocument.presentationml.tags+xml"/>
  <Override PartName="/ppt/tags/tag63.xml" ContentType="application/vnd.openxmlformats-officedocument.presentationml.tags+xml"/>
  <Override PartName="/ppt/tags/tag8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56" r:id="rId2"/>
    <p:sldId id="350" r:id="rId3"/>
    <p:sldId id="353" r:id="rId4"/>
    <p:sldId id="339" r:id="rId5"/>
    <p:sldId id="308" r:id="rId6"/>
    <p:sldId id="347" r:id="rId7"/>
    <p:sldId id="344" r:id="rId8"/>
    <p:sldId id="318" r:id="rId9"/>
    <p:sldId id="267" r:id="rId10"/>
    <p:sldId id="261" r:id="rId11"/>
    <p:sldId id="269" r:id="rId12"/>
    <p:sldId id="345" r:id="rId13"/>
    <p:sldId id="341" r:id="rId14"/>
    <p:sldId id="299" r:id="rId15"/>
    <p:sldId id="300" r:id="rId16"/>
    <p:sldId id="301" r:id="rId17"/>
    <p:sldId id="303" r:id="rId18"/>
    <p:sldId id="304" r:id="rId19"/>
    <p:sldId id="305" r:id="rId20"/>
    <p:sldId id="306" r:id="rId21"/>
    <p:sldId id="307" r:id="rId22"/>
    <p:sldId id="354" r:id="rId23"/>
    <p:sldId id="365" r:id="rId24"/>
    <p:sldId id="279" r:id="rId25"/>
    <p:sldId id="343" r:id="rId26"/>
    <p:sldId id="319" r:id="rId27"/>
    <p:sldId id="278" r:id="rId28"/>
    <p:sldId id="351" r:id="rId29"/>
    <p:sldId id="310" r:id="rId30"/>
    <p:sldId id="274" r:id="rId31"/>
    <p:sldId id="366" r:id="rId32"/>
    <p:sldId id="364" r:id="rId33"/>
    <p:sldId id="360" r:id="rId34"/>
    <p:sldId id="361" r:id="rId35"/>
    <p:sldId id="355" r:id="rId36"/>
    <p:sldId id="336" r:id="rId37"/>
    <p:sldId id="359" r:id="rId38"/>
    <p:sldId id="362" r:id="rId39"/>
    <p:sldId id="338" r:id="rId40"/>
    <p:sldId id="317" r:id="rId41"/>
    <p:sldId id="320" r:id="rId42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glani,Rahul" initials="M" lastIdx="1" clrIdx="0">
    <p:extLst>
      <p:ext uri="{19B8F6BF-5375-455C-9EA6-DF929625EA0E}">
        <p15:presenceInfo xmlns:p15="http://schemas.microsoft.com/office/powerpoint/2012/main" userId="S-1-5-21-802951002-2094223479-794563710-2675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6283"/>
    <a:srgbClr val="379BB3"/>
    <a:srgbClr val="CECFD1"/>
    <a:srgbClr val="F8F9F9"/>
    <a:srgbClr val="113037"/>
    <a:srgbClr val="CACBCD"/>
    <a:srgbClr val="F99D1C"/>
    <a:srgbClr val="455A64"/>
    <a:srgbClr val="41AD49"/>
    <a:srgbClr val="009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394" autoAdjust="0"/>
  </p:normalViewPr>
  <p:slideViewPr>
    <p:cSldViewPr snapToGrid="0">
      <p:cViewPr varScale="1">
        <p:scale>
          <a:sx n="68" d="100"/>
          <a:sy n="68" d="100"/>
        </p:scale>
        <p:origin x="90" y="2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09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50" Type="http://schemas.openxmlformats.org/officeDocument/2006/relationships/customXml" Target="../customXml/item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3" Type="http://schemas.openxmlformats.org/officeDocument/2006/relationships/customXml" Target="../customXml/item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52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27917287366108E-2"/>
          <c:y val="1.2768281126051051E-2"/>
          <c:w val="0.9578569908491168"/>
          <c:h val="0.89505946641494261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Value of Tendered Projects (Rs. Crore)</c:v>
                </c:pt>
              </c:strCache>
            </c:strRef>
          </c:tx>
          <c:spPr>
            <a:noFill/>
            <a:ln w="28575" cap="sq">
              <a:noFill/>
            </a:ln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600000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</a:defRPr>
                    </a:pPr>
                    <a:r>
                      <a:rPr lang="en-US" dirty="0" smtClean="0"/>
                      <a:t>134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6EB-4A87-99A4-833AACC7FA8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Roboto" panose="02000000000000000000" pitchFamily="2" charset="0"/>
                    <a:ea typeface="Roboto" panose="02000000000000000000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>
                      <a:noFill/>
                    </a:ln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9 Jun 2018</c:v>
                </c:pt>
                <c:pt idx="1">
                  <c:v>28 Sep 2018</c:v>
                </c:pt>
                <c:pt idx="2">
                  <c:v>31 Dec 2018</c:v>
                </c:pt>
                <c:pt idx="3">
                  <c:v>24 Feb 2019</c:v>
                </c:pt>
                <c:pt idx="4">
                  <c:v>30 Jun 2019</c:v>
                </c:pt>
              </c:strCache>
            </c:strRef>
          </c:cat>
          <c:val>
            <c:numRef>
              <c:f>Sheet1!$C$2:$C$6</c:f>
              <c:numCache>
                <c:formatCode>_(* #,##0_);_(* \(#,##0\);_(* "-"??_);_(@_)</c:formatCode>
                <c:ptCount val="5"/>
                <c:pt idx="0">
                  <c:v>50.253999999999998</c:v>
                </c:pt>
                <c:pt idx="1">
                  <c:v>76.721000000000004</c:v>
                </c:pt>
                <c:pt idx="2">
                  <c:v>102.027</c:v>
                </c:pt>
                <c:pt idx="3">
                  <c:v>122.792</c:v>
                </c:pt>
                <c:pt idx="4">
                  <c:v>173.33092905512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CBA-4F4D-B782-9904C00083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1860438640"/>
        <c:axId val="-186043537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 of Grounded/Completed Projects (Rs. Crore)</c:v>
                </c:pt>
              </c:strCache>
            </c:strRef>
          </c:tx>
          <c:spPr>
            <a:ln w="28575">
              <a:solidFill>
                <a:srgbClr val="173F49"/>
              </a:solidFill>
            </a:ln>
          </c:spPr>
          <c:marker>
            <c:spPr>
              <a:solidFill>
                <a:srgbClr val="FFC000"/>
              </a:solidFill>
              <a:ln w="28575">
                <a:solidFill>
                  <a:srgbClr val="173F49"/>
                </a:solidFill>
              </a:ln>
            </c:spPr>
          </c:marker>
          <c:dPt>
            <c:idx val="4"/>
            <c:marker>
              <c:spPr>
                <a:solidFill>
                  <a:srgbClr val="FFC000"/>
                </a:solidFill>
                <a:ln w="19050">
                  <a:solidFill>
                    <a:srgbClr val="173F49"/>
                  </a:solidFill>
                  <a:prstDash val="sysDot"/>
                </a:ln>
              </c:spPr>
            </c:marker>
            <c:bubble3D val="0"/>
            <c:spPr>
              <a:ln w="19050">
                <a:solidFill>
                  <a:srgbClr val="173F49"/>
                </a:solidFill>
                <a:prstDash val="sysDot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57CF-46F5-9C40-8D1BE6D22A98}"/>
              </c:ext>
            </c:extLst>
          </c:dPt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1">
                      <a:solidFill>
                        <a:srgbClr val="600000"/>
                      </a:solidFill>
                      <a:latin typeface="Roboto" panose="02000000000000000000" pitchFamily="2" charset="0"/>
                      <a:ea typeface="Roboto" panose="02000000000000000000" pitchFamily="2" charset="0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Roboto" panose="02000000000000000000" pitchFamily="2" charset="0"/>
                    <a:ea typeface="Roboto" panose="02000000000000000000" pitchFamily="2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>
                      <a:noFill/>
                    </a:ln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9 Jun 2018</c:v>
                </c:pt>
                <c:pt idx="1">
                  <c:v>28 Sep 2018</c:v>
                </c:pt>
                <c:pt idx="2">
                  <c:v>31 Dec 2018</c:v>
                </c:pt>
                <c:pt idx="3">
                  <c:v>24 Feb 2019</c:v>
                </c:pt>
                <c:pt idx="4">
                  <c:v>30 Jun 2019</c:v>
                </c:pt>
              </c:strCache>
            </c:strRef>
          </c:cat>
          <c:val>
            <c:numRef>
              <c:f>Sheet1!$B$2:$B$6</c:f>
              <c:numCache>
                <c:formatCode>_(* #,##0_);_(* \(#,##0\);_(* "-"??_);_(@_)</c:formatCode>
                <c:ptCount val="5"/>
                <c:pt idx="0">
                  <c:v>31.143999999999998</c:v>
                </c:pt>
                <c:pt idx="1">
                  <c:v>46.322000000000003</c:v>
                </c:pt>
                <c:pt idx="2">
                  <c:v>59.335999999999999</c:v>
                </c:pt>
                <c:pt idx="3">
                  <c:v>75.043999999999997</c:v>
                </c:pt>
                <c:pt idx="4">
                  <c:v>105.9307303408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CBA-4F4D-B782-9904C00083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860438640"/>
        <c:axId val="-1860435376"/>
      </c:lineChart>
      <c:catAx>
        <c:axId val="-1860438640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-1860435376"/>
        <c:crosses val="autoZero"/>
        <c:auto val="1"/>
        <c:lblAlgn val="ctr"/>
        <c:lblOffset val="100"/>
        <c:noMultiLvlLbl val="0"/>
      </c:catAx>
      <c:valAx>
        <c:axId val="-1860435376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-18604386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4.149819110449032E-5"/>
          <c:y val="3.0819610578063351E-2"/>
          <c:w val="0.46560331985528836"/>
          <c:h val="0.12328710008222603"/>
        </c:manualLayout>
      </c:layout>
      <c:overlay val="0"/>
      <c:txPr>
        <a:bodyPr/>
        <a:lstStyle/>
        <a:p>
          <a:pPr>
            <a:defRPr>
              <a:latin typeface="Roboto" panose="02000000000000000000" pitchFamily="2" charset="0"/>
              <a:ea typeface="Roboto" panose="02000000000000000000" pitchFamily="2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image" Target="../media/image3.png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image" Target="../media/image10.png"/><Relationship Id="rId6" Type="http://schemas.openxmlformats.org/officeDocument/2006/relationships/image" Target="../media/image3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F9057E-9EE6-4E36-8042-145A971C9DD3}" type="doc">
      <dgm:prSet loTypeId="urn:microsoft.com/office/officeart/2005/8/layout/radial6" loCatId="cycle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1749BD03-3129-4534-B8D1-B1AB95D6C121}">
      <dgm:prSet phldrT="[Text]" phldr="1"/>
      <dgm:spPr>
        <a:blipFill dpi="0" rotWithShape="0">
          <a:blip xmlns:r="http://schemas.openxmlformats.org/officeDocument/2006/relationships" r:embed="rId1"/>
          <a:srcRect/>
          <a:stretch>
            <a:fillRect l="2174" t="18519" r="2174" b="18519"/>
          </a:stretch>
        </a:blipFill>
      </dgm:spPr>
      <dgm:t>
        <a:bodyPr/>
        <a:lstStyle/>
        <a:p>
          <a:endParaRPr lang="en-IN" dirty="0"/>
        </a:p>
      </dgm:t>
    </dgm:pt>
    <dgm:pt modelId="{ACF66C6B-6E60-4A1E-BA77-D65AF1F33F3C}" type="parTrans" cxnId="{718ABB58-6763-47B6-BC3D-9C6AD7D21819}">
      <dgm:prSet/>
      <dgm:spPr/>
      <dgm:t>
        <a:bodyPr/>
        <a:lstStyle/>
        <a:p>
          <a:endParaRPr lang="en-IN"/>
        </a:p>
      </dgm:t>
    </dgm:pt>
    <dgm:pt modelId="{3333970E-A783-4CB9-AFAC-BED74C718CD9}" type="sibTrans" cxnId="{718ABB58-6763-47B6-BC3D-9C6AD7D21819}">
      <dgm:prSet/>
      <dgm:spPr/>
      <dgm:t>
        <a:bodyPr/>
        <a:lstStyle/>
        <a:p>
          <a:endParaRPr lang="en-IN"/>
        </a:p>
      </dgm:t>
    </dgm:pt>
    <dgm:pt modelId="{E1FABBB0-DEAC-43AF-B09E-99F861FC1C50}">
      <dgm:prSet phldrT="[Text]" phldr="1"/>
      <dgm:spPr>
        <a:blipFill dpi="0" rotWithShape="0">
          <a:blip xmlns:r="http://schemas.openxmlformats.org/officeDocument/2006/relationships" r:embed="rId2"/>
          <a:srcRect/>
          <a:stretch>
            <a:fillRect l="-4587" t="-1376" r="-4587" b="-1376"/>
          </a:stretch>
        </a:blipFill>
      </dgm:spPr>
      <dgm:t>
        <a:bodyPr/>
        <a:lstStyle/>
        <a:p>
          <a:endParaRPr lang="en-IN" dirty="0"/>
        </a:p>
      </dgm:t>
    </dgm:pt>
    <dgm:pt modelId="{F567AAE9-50EF-41BD-B427-529249916630}" type="parTrans" cxnId="{828D6819-625C-4AB4-A1C2-030B70BACBC4}">
      <dgm:prSet/>
      <dgm:spPr/>
      <dgm:t>
        <a:bodyPr/>
        <a:lstStyle/>
        <a:p>
          <a:endParaRPr lang="en-IN"/>
        </a:p>
      </dgm:t>
    </dgm:pt>
    <dgm:pt modelId="{74DC9821-AACF-4F16-86BF-C0ECD8B67A96}" type="sibTrans" cxnId="{828D6819-625C-4AB4-A1C2-030B70BACBC4}">
      <dgm:prSet/>
      <dgm:spPr/>
      <dgm:t>
        <a:bodyPr/>
        <a:lstStyle/>
        <a:p>
          <a:endParaRPr lang="en-IN"/>
        </a:p>
      </dgm:t>
    </dgm:pt>
    <dgm:pt modelId="{B8E04DEE-CA68-4EDC-A8A7-E5DE93FB8EFD}">
      <dgm:prSet phldrT="[Text]" phldr="1"/>
      <dgm:spPr>
        <a:blipFill rotWithShape="0">
          <a:blip xmlns:r="http://schemas.openxmlformats.org/officeDocument/2006/relationships" r:embed="rId3"/>
          <a:srcRect/>
          <a:stretch>
            <a:fillRect/>
          </a:stretch>
        </a:blipFill>
      </dgm:spPr>
      <dgm:t>
        <a:bodyPr/>
        <a:lstStyle/>
        <a:p>
          <a:endParaRPr lang="en-IN" dirty="0"/>
        </a:p>
      </dgm:t>
    </dgm:pt>
    <dgm:pt modelId="{B1DD39B5-9752-4BF7-9098-9D4CEDD5D677}" type="parTrans" cxnId="{D36820A5-B4DA-4398-BB29-8478C36540C6}">
      <dgm:prSet/>
      <dgm:spPr/>
      <dgm:t>
        <a:bodyPr/>
        <a:lstStyle/>
        <a:p>
          <a:endParaRPr lang="en-IN"/>
        </a:p>
      </dgm:t>
    </dgm:pt>
    <dgm:pt modelId="{CFB1DB7E-F709-4CF0-8776-96880C1DE78E}" type="sibTrans" cxnId="{D36820A5-B4DA-4398-BB29-8478C36540C6}">
      <dgm:prSet/>
      <dgm:spPr/>
      <dgm:t>
        <a:bodyPr/>
        <a:lstStyle/>
        <a:p>
          <a:endParaRPr lang="en-IN"/>
        </a:p>
      </dgm:t>
    </dgm:pt>
    <dgm:pt modelId="{12E47C3D-5C3E-4473-BC9C-AA39BF11FBFE}">
      <dgm:prSet/>
      <dgm:spPr>
        <a:blipFill dpi="0" rotWithShape="0">
          <a:blip xmlns:r="http://schemas.openxmlformats.org/officeDocument/2006/relationships" r:embed="rId4"/>
          <a:srcRect/>
          <a:stretch>
            <a:fillRect l="-11009" t="1835" r="-11009" b="1835"/>
          </a:stretch>
        </a:blipFill>
      </dgm:spPr>
      <dgm:t>
        <a:bodyPr/>
        <a:lstStyle/>
        <a:p>
          <a:endParaRPr lang="en-IN"/>
        </a:p>
      </dgm:t>
    </dgm:pt>
    <dgm:pt modelId="{E77CA67D-81E1-488F-B0F1-F0644E90ADB6}" type="parTrans" cxnId="{2B31AD4F-E921-4953-B174-31C9955723EA}">
      <dgm:prSet/>
      <dgm:spPr/>
      <dgm:t>
        <a:bodyPr/>
        <a:lstStyle/>
        <a:p>
          <a:endParaRPr lang="en-IN"/>
        </a:p>
      </dgm:t>
    </dgm:pt>
    <dgm:pt modelId="{E64CF4D7-B676-4816-A51F-109926255495}" type="sibTrans" cxnId="{2B31AD4F-E921-4953-B174-31C9955723EA}">
      <dgm:prSet/>
      <dgm:spPr/>
      <dgm:t>
        <a:bodyPr/>
        <a:lstStyle/>
        <a:p>
          <a:endParaRPr lang="en-IN"/>
        </a:p>
      </dgm:t>
    </dgm:pt>
    <dgm:pt modelId="{93E3E0A4-4918-43BC-8F6C-5B75A8A3B457}">
      <dgm:prSet/>
      <dgm:spPr>
        <a:blipFill dpi="0" rotWithShape="0">
          <a:blip xmlns:r="http://schemas.openxmlformats.org/officeDocument/2006/relationships" r:embed="rId5"/>
          <a:srcRect/>
          <a:stretch>
            <a:fillRect l="5046" t="27523" r="5046" b="27523"/>
          </a:stretch>
        </a:blipFill>
      </dgm:spPr>
      <dgm:t>
        <a:bodyPr/>
        <a:lstStyle/>
        <a:p>
          <a:endParaRPr lang="en-IN"/>
        </a:p>
      </dgm:t>
    </dgm:pt>
    <dgm:pt modelId="{9999257C-CF85-470C-8886-E41A39EA06E7}" type="parTrans" cxnId="{2AD4012F-28E1-4D59-958A-55B67CF5E0D5}">
      <dgm:prSet/>
      <dgm:spPr/>
      <dgm:t>
        <a:bodyPr/>
        <a:lstStyle/>
        <a:p>
          <a:endParaRPr lang="en-IN"/>
        </a:p>
      </dgm:t>
    </dgm:pt>
    <dgm:pt modelId="{B2515133-8EC9-4A80-A15C-1E491669E2F8}" type="sibTrans" cxnId="{2AD4012F-28E1-4D59-958A-55B67CF5E0D5}">
      <dgm:prSet/>
      <dgm:spPr/>
      <dgm:t>
        <a:bodyPr/>
        <a:lstStyle/>
        <a:p>
          <a:endParaRPr lang="en-IN"/>
        </a:p>
      </dgm:t>
    </dgm:pt>
    <dgm:pt modelId="{FCAD2D35-22F1-41E6-9655-5C8CE8190D7C}">
      <dgm:prSet/>
      <dgm:spPr>
        <a:blipFill dpi="0" rotWithShape="0">
          <a:blip xmlns:r="http://schemas.openxmlformats.org/officeDocument/2006/relationships" r:embed="rId6"/>
          <a:srcRect/>
          <a:stretch>
            <a:fillRect l="229" t="5046" r="229" b="5046"/>
          </a:stretch>
        </a:blipFill>
      </dgm:spPr>
      <dgm:t>
        <a:bodyPr/>
        <a:lstStyle/>
        <a:p>
          <a:endParaRPr lang="en-IN"/>
        </a:p>
      </dgm:t>
    </dgm:pt>
    <dgm:pt modelId="{5F01367C-7AE8-486B-8D7F-BACB1258BE87}" type="parTrans" cxnId="{BB661300-666D-4DE6-B4D0-E47C72651C84}">
      <dgm:prSet/>
      <dgm:spPr/>
      <dgm:t>
        <a:bodyPr/>
        <a:lstStyle/>
        <a:p>
          <a:endParaRPr lang="en-IN"/>
        </a:p>
      </dgm:t>
    </dgm:pt>
    <dgm:pt modelId="{819C88E2-5770-48B5-A800-222074F99AC5}" type="sibTrans" cxnId="{BB661300-666D-4DE6-B4D0-E47C72651C84}">
      <dgm:prSet/>
      <dgm:spPr/>
      <dgm:t>
        <a:bodyPr/>
        <a:lstStyle/>
        <a:p>
          <a:endParaRPr lang="en-IN"/>
        </a:p>
      </dgm:t>
    </dgm:pt>
    <dgm:pt modelId="{1A47BFC9-8A0C-4D51-BB8E-B91BCB44448C}">
      <dgm:prSet phldrT="[Text]" phldr="1"/>
      <dgm:spPr>
        <a:blipFill rotWithShape="0">
          <a:blip xmlns:r="http://schemas.openxmlformats.org/officeDocument/2006/relationships" r:embed="rId7"/>
          <a:srcRect/>
          <a:stretch>
            <a:fillRect/>
          </a:stretch>
        </a:blipFill>
      </dgm:spPr>
      <dgm:t>
        <a:bodyPr/>
        <a:lstStyle/>
        <a:p>
          <a:endParaRPr lang="en-IN" dirty="0"/>
        </a:p>
      </dgm:t>
    </dgm:pt>
    <dgm:pt modelId="{C2DCEAF4-CFEE-4F22-8715-AF80896760C5}" type="sibTrans" cxnId="{6F911C25-BE12-446B-B6D5-DD95C297B0EC}">
      <dgm:prSet/>
      <dgm:spPr/>
      <dgm:t>
        <a:bodyPr/>
        <a:lstStyle/>
        <a:p>
          <a:endParaRPr lang="en-IN"/>
        </a:p>
      </dgm:t>
    </dgm:pt>
    <dgm:pt modelId="{7EC3FB11-41A7-4DF4-91C3-B3775D72EABB}" type="parTrans" cxnId="{6F911C25-BE12-446B-B6D5-DD95C297B0EC}">
      <dgm:prSet/>
      <dgm:spPr/>
      <dgm:t>
        <a:bodyPr/>
        <a:lstStyle/>
        <a:p>
          <a:endParaRPr lang="en-IN"/>
        </a:p>
      </dgm:t>
    </dgm:pt>
    <dgm:pt modelId="{54A0D002-1FAA-4D36-A91C-9EBCC512738D}">
      <dgm:prSet phldrT="[Text]" phldr="1"/>
      <dgm:spPr>
        <a:blipFill dpi="0" rotWithShape="0">
          <a:blip xmlns:r="http://schemas.openxmlformats.org/officeDocument/2006/relationships" r:embed="rId8"/>
          <a:srcRect/>
          <a:stretch>
            <a:fillRect l="-574" t="18532" r="-574" b="18532"/>
          </a:stretch>
        </a:blipFill>
      </dgm:spPr>
      <dgm:t>
        <a:bodyPr/>
        <a:lstStyle/>
        <a:p>
          <a:endParaRPr lang="en-IN" dirty="0"/>
        </a:p>
      </dgm:t>
    </dgm:pt>
    <dgm:pt modelId="{1FBA81EF-6653-4422-B483-933BB7F98888}" type="sibTrans" cxnId="{AB338B70-0E1D-4A1F-A67A-2F66A5D6C120}">
      <dgm:prSet/>
      <dgm:spPr/>
      <dgm:t>
        <a:bodyPr/>
        <a:lstStyle/>
        <a:p>
          <a:endParaRPr lang="en-IN"/>
        </a:p>
      </dgm:t>
    </dgm:pt>
    <dgm:pt modelId="{C9BABC50-3EFE-47F6-A113-2CF874795E2E}" type="parTrans" cxnId="{AB338B70-0E1D-4A1F-A67A-2F66A5D6C120}">
      <dgm:prSet/>
      <dgm:spPr/>
      <dgm:t>
        <a:bodyPr/>
        <a:lstStyle/>
        <a:p>
          <a:endParaRPr lang="en-IN"/>
        </a:p>
      </dgm:t>
    </dgm:pt>
    <dgm:pt modelId="{425F7860-8247-4E9B-83EA-AF666E14F8F6}" type="pres">
      <dgm:prSet presAssocID="{74F9057E-9EE6-4E36-8042-145A971C9DD3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CB170509-00F1-4AE8-993A-8F2BD1EBBAA4}" type="pres">
      <dgm:prSet presAssocID="{54A0D002-1FAA-4D36-A91C-9EBCC512738D}" presName="centerShape" presStyleLbl="node0" presStyleIdx="0" presStyleCnt="1" custScaleX="158389" custScaleY="117128"/>
      <dgm:spPr/>
      <dgm:t>
        <a:bodyPr/>
        <a:lstStyle/>
        <a:p>
          <a:endParaRPr lang="en-IN"/>
        </a:p>
      </dgm:t>
    </dgm:pt>
    <dgm:pt modelId="{FBC0243B-E276-4945-B71F-B93677DBFAEA}" type="pres">
      <dgm:prSet presAssocID="{1A47BFC9-8A0C-4D51-BB8E-B91BCB44448C}" presName="node" presStyleLbl="node1" presStyleIdx="0" presStyleCnt="7" custScaleX="11633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BEC9E25-0C51-4F06-BBA7-09A5F12E504C}" type="pres">
      <dgm:prSet presAssocID="{1A47BFC9-8A0C-4D51-BB8E-B91BCB44448C}" presName="dummy" presStyleCnt="0"/>
      <dgm:spPr/>
    </dgm:pt>
    <dgm:pt modelId="{1359CCF1-9B56-4540-A3B0-2763B051A462}" type="pres">
      <dgm:prSet presAssocID="{C2DCEAF4-CFEE-4F22-8715-AF80896760C5}" presName="sibTrans" presStyleLbl="sibTrans2D1" presStyleIdx="0" presStyleCnt="7"/>
      <dgm:spPr/>
      <dgm:t>
        <a:bodyPr/>
        <a:lstStyle/>
        <a:p>
          <a:endParaRPr lang="en-IN"/>
        </a:p>
      </dgm:t>
    </dgm:pt>
    <dgm:pt modelId="{10703AEF-6ED0-44CE-8A0F-55C021F5E168}" type="pres">
      <dgm:prSet presAssocID="{12E47C3D-5C3E-4473-BC9C-AA39BF11FBFE}" presName="node" presStyleLbl="node1" presStyleIdx="1" presStyleCnt="7" custScaleX="138756" custScaleY="114704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2358AF6-643F-497E-9F43-3A5DC35613E9}" type="pres">
      <dgm:prSet presAssocID="{12E47C3D-5C3E-4473-BC9C-AA39BF11FBFE}" presName="dummy" presStyleCnt="0"/>
      <dgm:spPr/>
    </dgm:pt>
    <dgm:pt modelId="{D7BBB287-DF8A-4F02-9FE2-948F25DC061A}" type="pres">
      <dgm:prSet presAssocID="{E64CF4D7-B676-4816-A51F-109926255495}" presName="sibTrans" presStyleLbl="sibTrans2D1" presStyleIdx="1" presStyleCnt="7"/>
      <dgm:spPr/>
      <dgm:t>
        <a:bodyPr/>
        <a:lstStyle/>
        <a:p>
          <a:endParaRPr lang="en-IN"/>
        </a:p>
      </dgm:t>
    </dgm:pt>
    <dgm:pt modelId="{6B6A9AEA-C3BF-4572-9FB6-DD0199A4173B}" type="pres">
      <dgm:prSet presAssocID="{FCAD2D35-22F1-41E6-9655-5C8CE8190D7C}" presName="node" presStyleLbl="node1" presStyleIdx="2" presStyleCnt="7" custScaleX="122544" custScaleY="12519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FE7902E9-8679-4920-B047-33F2BC10A081}" type="pres">
      <dgm:prSet presAssocID="{FCAD2D35-22F1-41E6-9655-5C8CE8190D7C}" presName="dummy" presStyleCnt="0"/>
      <dgm:spPr/>
    </dgm:pt>
    <dgm:pt modelId="{2A74F6FF-54BD-4EB8-A1C5-87BF2AB4E5D3}" type="pres">
      <dgm:prSet presAssocID="{819C88E2-5770-48B5-A800-222074F99AC5}" presName="sibTrans" presStyleLbl="sibTrans2D1" presStyleIdx="2" presStyleCnt="7"/>
      <dgm:spPr/>
      <dgm:t>
        <a:bodyPr/>
        <a:lstStyle/>
        <a:p>
          <a:endParaRPr lang="en-IN"/>
        </a:p>
      </dgm:t>
    </dgm:pt>
    <dgm:pt modelId="{11CC6FDA-4227-4904-A47F-9D52958662E8}" type="pres">
      <dgm:prSet presAssocID="{93E3E0A4-4918-43BC-8F6C-5B75A8A3B457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7DBF9D4E-FF7C-4A68-AB8C-17658BD8C715}" type="pres">
      <dgm:prSet presAssocID="{93E3E0A4-4918-43BC-8F6C-5B75A8A3B457}" presName="dummy" presStyleCnt="0"/>
      <dgm:spPr/>
    </dgm:pt>
    <dgm:pt modelId="{DDEF9F57-8290-4E27-8F86-0A18FB13248D}" type="pres">
      <dgm:prSet presAssocID="{B2515133-8EC9-4A80-A15C-1E491669E2F8}" presName="sibTrans" presStyleLbl="sibTrans2D1" presStyleIdx="3" presStyleCnt="7"/>
      <dgm:spPr/>
      <dgm:t>
        <a:bodyPr/>
        <a:lstStyle/>
        <a:p>
          <a:endParaRPr lang="en-IN"/>
        </a:p>
      </dgm:t>
    </dgm:pt>
    <dgm:pt modelId="{CF2AAC0A-3966-40BC-96A9-CACDBEF40421}" type="pres">
      <dgm:prSet presAssocID="{1749BD03-3129-4534-B8D1-B1AB95D6C121}" presName="node" presStyleLbl="node1" presStyleIdx="4" presStyleCnt="7" custScaleX="73853" custScaleY="86697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F5B3400-010A-466E-A1F2-85DEBE33576F}" type="pres">
      <dgm:prSet presAssocID="{1749BD03-3129-4534-B8D1-B1AB95D6C121}" presName="dummy" presStyleCnt="0"/>
      <dgm:spPr/>
    </dgm:pt>
    <dgm:pt modelId="{5DB985D4-B9CB-4DA1-B769-73B59B8A56BF}" type="pres">
      <dgm:prSet presAssocID="{3333970E-A783-4CB9-AFAC-BED74C718CD9}" presName="sibTrans" presStyleLbl="sibTrans2D1" presStyleIdx="4" presStyleCnt="7"/>
      <dgm:spPr/>
      <dgm:t>
        <a:bodyPr/>
        <a:lstStyle/>
        <a:p>
          <a:endParaRPr lang="en-IN"/>
        </a:p>
      </dgm:t>
    </dgm:pt>
    <dgm:pt modelId="{39F23011-D85C-4CC2-BAA6-F200090BF059}" type="pres">
      <dgm:prSet presAssocID="{E1FABBB0-DEAC-43AF-B09E-99F861FC1C50}" presName="node" presStyleLbl="node1" presStyleIdx="5" presStyleCnt="7" custScaleX="101406" custScaleY="93119" custRadScaleRad="98736" custRadScaleInc="6362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8B59B944-CE41-426F-A8A3-DBD0280F343C}" type="pres">
      <dgm:prSet presAssocID="{E1FABBB0-DEAC-43AF-B09E-99F861FC1C50}" presName="dummy" presStyleCnt="0"/>
      <dgm:spPr/>
    </dgm:pt>
    <dgm:pt modelId="{5FE1DC0C-1761-4AF9-A04D-E7A9CD5DE092}" type="pres">
      <dgm:prSet presAssocID="{74DC9821-AACF-4F16-86BF-C0ECD8B67A96}" presName="sibTrans" presStyleLbl="sibTrans2D1" presStyleIdx="5" presStyleCnt="7"/>
      <dgm:spPr/>
      <dgm:t>
        <a:bodyPr/>
        <a:lstStyle/>
        <a:p>
          <a:endParaRPr lang="en-IN"/>
        </a:p>
      </dgm:t>
    </dgm:pt>
    <dgm:pt modelId="{F4AE4BD9-D6F6-450F-8DDB-7C6882EE16F0}" type="pres">
      <dgm:prSet presAssocID="{B8E04DEE-CA68-4EDC-A8A7-E5DE93FB8EFD}" presName="node" presStyleLbl="node1" presStyleIdx="6" presStyleCnt="7" custScaleX="144192" custScaleY="86646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9BBFD2D-B1B7-4DBB-ABBC-9ACA4D4C9F9B}" type="pres">
      <dgm:prSet presAssocID="{B8E04DEE-CA68-4EDC-A8A7-E5DE93FB8EFD}" presName="dummy" presStyleCnt="0"/>
      <dgm:spPr/>
    </dgm:pt>
    <dgm:pt modelId="{8BA8267D-0A29-4E41-A889-3DA4C8ECA4C7}" type="pres">
      <dgm:prSet presAssocID="{CFB1DB7E-F709-4CF0-8776-96880C1DE78E}" presName="sibTrans" presStyleLbl="sibTrans2D1" presStyleIdx="6" presStyleCnt="7"/>
      <dgm:spPr/>
      <dgm:t>
        <a:bodyPr/>
        <a:lstStyle/>
        <a:p>
          <a:endParaRPr lang="en-IN"/>
        </a:p>
      </dgm:t>
    </dgm:pt>
  </dgm:ptLst>
  <dgm:cxnLst>
    <dgm:cxn modelId="{FE00D5FB-7F4E-4AA3-A64A-93E7366250FB}" type="presOf" srcId="{CFB1DB7E-F709-4CF0-8776-96880C1DE78E}" destId="{8BA8267D-0A29-4E41-A889-3DA4C8ECA4C7}" srcOrd="0" destOrd="0" presId="urn:microsoft.com/office/officeart/2005/8/layout/radial6"/>
    <dgm:cxn modelId="{DCF27368-3C04-4E63-B9C0-9CE9357C17E5}" type="presOf" srcId="{B2515133-8EC9-4A80-A15C-1E491669E2F8}" destId="{DDEF9F57-8290-4E27-8F86-0A18FB13248D}" srcOrd="0" destOrd="0" presId="urn:microsoft.com/office/officeart/2005/8/layout/radial6"/>
    <dgm:cxn modelId="{2B31AD4F-E921-4953-B174-31C9955723EA}" srcId="{54A0D002-1FAA-4D36-A91C-9EBCC512738D}" destId="{12E47C3D-5C3E-4473-BC9C-AA39BF11FBFE}" srcOrd="1" destOrd="0" parTransId="{E77CA67D-81E1-488F-B0F1-F0644E90ADB6}" sibTransId="{E64CF4D7-B676-4816-A51F-109926255495}"/>
    <dgm:cxn modelId="{544976D0-93E0-47A4-AD2C-BB236173660B}" type="presOf" srcId="{FCAD2D35-22F1-41E6-9655-5C8CE8190D7C}" destId="{6B6A9AEA-C3BF-4572-9FB6-DD0199A4173B}" srcOrd="0" destOrd="0" presId="urn:microsoft.com/office/officeart/2005/8/layout/radial6"/>
    <dgm:cxn modelId="{38D34577-5A6B-4E77-8F17-0C79F0FE98C5}" type="presOf" srcId="{C2DCEAF4-CFEE-4F22-8715-AF80896760C5}" destId="{1359CCF1-9B56-4540-A3B0-2763B051A462}" srcOrd="0" destOrd="0" presId="urn:microsoft.com/office/officeart/2005/8/layout/radial6"/>
    <dgm:cxn modelId="{B6B68A5A-C150-4257-A756-BD17F7A60FED}" type="presOf" srcId="{E1FABBB0-DEAC-43AF-B09E-99F861FC1C50}" destId="{39F23011-D85C-4CC2-BAA6-F200090BF059}" srcOrd="0" destOrd="0" presId="urn:microsoft.com/office/officeart/2005/8/layout/radial6"/>
    <dgm:cxn modelId="{A7D2FF6A-715A-4B23-970B-936CE552D60A}" type="presOf" srcId="{B8E04DEE-CA68-4EDC-A8A7-E5DE93FB8EFD}" destId="{F4AE4BD9-D6F6-450F-8DDB-7C6882EE16F0}" srcOrd="0" destOrd="0" presId="urn:microsoft.com/office/officeart/2005/8/layout/radial6"/>
    <dgm:cxn modelId="{281FFBE8-35A0-4D97-BA0B-16F774AFDA59}" type="presOf" srcId="{1A47BFC9-8A0C-4D51-BB8E-B91BCB44448C}" destId="{FBC0243B-E276-4945-B71F-B93677DBFAEA}" srcOrd="0" destOrd="0" presId="urn:microsoft.com/office/officeart/2005/8/layout/radial6"/>
    <dgm:cxn modelId="{6F911C25-BE12-446B-B6D5-DD95C297B0EC}" srcId="{54A0D002-1FAA-4D36-A91C-9EBCC512738D}" destId="{1A47BFC9-8A0C-4D51-BB8E-B91BCB44448C}" srcOrd="0" destOrd="0" parTransId="{7EC3FB11-41A7-4DF4-91C3-B3775D72EABB}" sibTransId="{C2DCEAF4-CFEE-4F22-8715-AF80896760C5}"/>
    <dgm:cxn modelId="{7D10351E-EF15-41F1-A7AD-1236FB97FBC8}" type="presOf" srcId="{74DC9821-AACF-4F16-86BF-C0ECD8B67A96}" destId="{5FE1DC0C-1761-4AF9-A04D-E7A9CD5DE092}" srcOrd="0" destOrd="0" presId="urn:microsoft.com/office/officeart/2005/8/layout/radial6"/>
    <dgm:cxn modelId="{61FF2F3C-5286-4580-8C97-DCC63BCB1988}" type="presOf" srcId="{93E3E0A4-4918-43BC-8F6C-5B75A8A3B457}" destId="{11CC6FDA-4227-4904-A47F-9D52958662E8}" srcOrd="0" destOrd="0" presId="urn:microsoft.com/office/officeart/2005/8/layout/radial6"/>
    <dgm:cxn modelId="{5AA82C0C-6863-41E7-83D8-60FB4DBE56EE}" type="presOf" srcId="{54A0D002-1FAA-4D36-A91C-9EBCC512738D}" destId="{CB170509-00F1-4AE8-993A-8F2BD1EBBAA4}" srcOrd="0" destOrd="0" presId="urn:microsoft.com/office/officeart/2005/8/layout/radial6"/>
    <dgm:cxn modelId="{BEBA3ECA-02EF-4EA5-BCC0-7B152D49D40F}" type="presOf" srcId="{12E47C3D-5C3E-4473-BC9C-AA39BF11FBFE}" destId="{10703AEF-6ED0-44CE-8A0F-55C021F5E168}" srcOrd="0" destOrd="0" presId="urn:microsoft.com/office/officeart/2005/8/layout/radial6"/>
    <dgm:cxn modelId="{D36820A5-B4DA-4398-BB29-8478C36540C6}" srcId="{54A0D002-1FAA-4D36-A91C-9EBCC512738D}" destId="{B8E04DEE-CA68-4EDC-A8A7-E5DE93FB8EFD}" srcOrd="6" destOrd="0" parTransId="{B1DD39B5-9752-4BF7-9098-9D4CEDD5D677}" sibTransId="{CFB1DB7E-F709-4CF0-8776-96880C1DE78E}"/>
    <dgm:cxn modelId="{828D6819-625C-4AB4-A1C2-030B70BACBC4}" srcId="{54A0D002-1FAA-4D36-A91C-9EBCC512738D}" destId="{E1FABBB0-DEAC-43AF-B09E-99F861FC1C50}" srcOrd="5" destOrd="0" parTransId="{F567AAE9-50EF-41BD-B427-529249916630}" sibTransId="{74DC9821-AACF-4F16-86BF-C0ECD8B67A96}"/>
    <dgm:cxn modelId="{2AD4012F-28E1-4D59-958A-55B67CF5E0D5}" srcId="{54A0D002-1FAA-4D36-A91C-9EBCC512738D}" destId="{93E3E0A4-4918-43BC-8F6C-5B75A8A3B457}" srcOrd="3" destOrd="0" parTransId="{9999257C-CF85-470C-8886-E41A39EA06E7}" sibTransId="{B2515133-8EC9-4A80-A15C-1E491669E2F8}"/>
    <dgm:cxn modelId="{F87D04A2-6F42-4E51-9936-136F98860D30}" type="presOf" srcId="{1749BD03-3129-4534-B8D1-B1AB95D6C121}" destId="{CF2AAC0A-3966-40BC-96A9-CACDBEF40421}" srcOrd="0" destOrd="0" presId="urn:microsoft.com/office/officeart/2005/8/layout/radial6"/>
    <dgm:cxn modelId="{BB661300-666D-4DE6-B4D0-E47C72651C84}" srcId="{54A0D002-1FAA-4D36-A91C-9EBCC512738D}" destId="{FCAD2D35-22F1-41E6-9655-5C8CE8190D7C}" srcOrd="2" destOrd="0" parTransId="{5F01367C-7AE8-486B-8D7F-BACB1258BE87}" sibTransId="{819C88E2-5770-48B5-A800-222074F99AC5}"/>
    <dgm:cxn modelId="{CAA86DAF-9399-45EA-BF8A-D9EC8AE36940}" type="presOf" srcId="{E64CF4D7-B676-4816-A51F-109926255495}" destId="{D7BBB287-DF8A-4F02-9FE2-948F25DC061A}" srcOrd="0" destOrd="0" presId="urn:microsoft.com/office/officeart/2005/8/layout/radial6"/>
    <dgm:cxn modelId="{F8B45895-EF92-41D1-8110-D5CE7809EC9D}" type="presOf" srcId="{74F9057E-9EE6-4E36-8042-145A971C9DD3}" destId="{425F7860-8247-4E9B-83EA-AF666E14F8F6}" srcOrd="0" destOrd="0" presId="urn:microsoft.com/office/officeart/2005/8/layout/radial6"/>
    <dgm:cxn modelId="{AB338B70-0E1D-4A1F-A67A-2F66A5D6C120}" srcId="{74F9057E-9EE6-4E36-8042-145A971C9DD3}" destId="{54A0D002-1FAA-4D36-A91C-9EBCC512738D}" srcOrd="0" destOrd="0" parTransId="{C9BABC50-3EFE-47F6-A113-2CF874795E2E}" sibTransId="{1FBA81EF-6653-4422-B483-933BB7F98888}"/>
    <dgm:cxn modelId="{35FC47BD-292D-4C22-8BCE-CC396372B596}" type="presOf" srcId="{3333970E-A783-4CB9-AFAC-BED74C718CD9}" destId="{5DB985D4-B9CB-4DA1-B769-73B59B8A56BF}" srcOrd="0" destOrd="0" presId="urn:microsoft.com/office/officeart/2005/8/layout/radial6"/>
    <dgm:cxn modelId="{718ABB58-6763-47B6-BC3D-9C6AD7D21819}" srcId="{54A0D002-1FAA-4D36-A91C-9EBCC512738D}" destId="{1749BD03-3129-4534-B8D1-B1AB95D6C121}" srcOrd="4" destOrd="0" parTransId="{ACF66C6B-6E60-4A1E-BA77-D65AF1F33F3C}" sibTransId="{3333970E-A783-4CB9-AFAC-BED74C718CD9}"/>
    <dgm:cxn modelId="{738F3A74-218D-443E-98E4-310609ACA029}" type="presOf" srcId="{819C88E2-5770-48B5-A800-222074F99AC5}" destId="{2A74F6FF-54BD-4EB8-A1C5-87BF2AB4E5D3}" srcOrd="0" destOrd="0" presId="urn:microsoft.com/office/officeart/2005/8/layout/radial6"/>
    <dgm:cxn modelId="{A3E34FEA-8257-4811-B4F9-471F3240BA32}" type="presParOf" srcId="{425F7860-8247-4E9B-83EA-AF666E14F8F6}" destId="{CB170509-00F1-4AE8-993A-8F2BD1EBBAA4}" srcOrd="0" destOrd="0" presId="urn:microsoft.com/office/officeart/2005/8/layout/radial6"/>
    <dgm:cxn modelId="{44B8923C-A54B-4FB4-B565-6A658FE106C6}" type="presParOf" srcId="{425F7860-8247-4E9B-83EA-AF666E14F8F6}" destId="{FBC0243B-E276-4945-B71F-B93677DBFAEA}" srcOrd="1" destOrd="0" presId="urn:microsoft.com/office/officeart/2005/8/layout/radial6"/>
    <dgm:cxn modelId="{AFCC13CB-84A1-4470-8F96-994EAD3004E9}" type="presParOf" srcId="{425F7860-8247-4E9B-83EA-AF666E14F8F6}" destId="{8BEC9E25-0C51-4F06-BBA7-09A5F12E504C}" srcOrd="2" destOrd="0" presId="urn:microsoft.com/office/officeart/2005/8/layout/radial6"/>
    <dgm:cxn modelId="{4986B2CE-9935-4479-B0A7-BF87FEF51D5E}" type="presParOf" srcId="{425F7860-8247-4E9B-83EA-AF666E14F8F6}" destId="{1359CCF1-9B56-4540-A3B0-2763B051A462}" srcOrd="3" destOrd="0" presId="urn:microsoft.com/office/officeart/2005/8/layout/radial6"/>
    <dgm:cxn modelId="{A9D4A67D-01FC-4765-B42D-76CBB5F9FB8B}" type="presParOf" srcId="{425F7860-8247-4E9B-83EA-AF666E14F8F6}" destId="{10703AEF-6ED0-44CE-8A0F-55C021F5E168}" srcOrd="4" destOrd="0" presId="urn:microsoft.com/office/officeart/2005/8/layout/radial6"/>
    <dgm:cxn modelId="{457A2B6A-7EAE-4B2A-BBD3-5374D7616F6B}" type="presParOf" srcId="{425F7860-8247-4E9B-83EA-AF666E14F8F6}" destId="{12358AF6-643F-497E-9F43-3A5DC35613E9}" srcOrd="5" destOrd="0" presId="urn:microsoft.com/office/officeart/2005/8/layout/radial6"/>
    <dgm:cxn modelId="{1445D637-016D-4B3D-B090-D8FBEA4541E1}" type="presParOf" srcId="{425F7860-8247-4E9B-83EA-AF666E14F8F6}" destId="{D7BBB287-DF8A-4F02-9FE2-948F25DC061A}" srcOrd="6" destOrd="0" presId="urn:microsoft.com/office/officeart/2005/8/layout/radial6"/>
    <dgm:cxn modelId="{1CADB022-90CC-43F4-B64A-7C9DB188DE1B}" type="presParOf" srcId="{425F7860-8247-4E9B-83EA-AF666E14F8F6}" destId="{6B6A9AEA-C3BF-4572-9FB6-DD0199A4173B}" srcOrd="7" destOrd="0" presId="urn:microsoft.com/office/officeart/2005/8/layout/radial6"/>
    <dgm:cxn modelId="{042445FB-1F4C-4B76-A3B3-DB3FA4B594BE}" type="presParOf" srcId="{425F7860-8247-4E9B-83EA-AF666E14F8F6}" destId="{FE7902E9-8679-4920-B047-33F2BC10A081}" srcOrd="8" destOrd="0" presId="urn:microsoft.com/office/officeart/2005/8/layout/radial6"/>
    <dgm:cxn modelId="{B3929BA6-4D0F-4D55-8DC3-691C9C1A2A97}" type="presParOf" srcId="{425F7860-8247-4E9B-83EA-AF666E14F8F6}" destId="{2A74F6FF-54BD-4EB8-A1C5-87BF2AB4E5D3}" srcOrd="9" destOrd="0" presId="urn:microsoft.com/office/officeart/2005/8/layout/radial6"/>
    <dgm:cxn modelId="{8E3527E9-21B2-4088-A3C8-720D6D776DCE}" type="presParOf" srcId="{425F7860-8247-4E9B-83EA-AF666E14F8F6}" destId="{11CC6FDA-4227-4904-A47F-9D52958662E8}" srcOrd="10" destOrd="0" presId="urn:microsoft.com/office/officeart/2005/8/layout/radial6"/>
    <dgm:cxn modelId="{F34AA191-0493-485B-8523-28303F918E30}" type="presParOf" srcId="{425F7860-8247-4E9B-83EA-AF666E14F8F6}" destId="{7DBF9D4E-FF7C-4A68-AB8C-17658BD8C715}" srcOrd="11" destOrd="0" presId="urn:microsoft.com/office/officeart/2005/8/layout/radial6"/>
    <dgm:cxn modelId="{AA3E8EDA-2E0F-4FEB-81EC-8D06D71283C8}" type="presParOf" srcId="{425F7860-8247-4E9B-83EA-AF666E14F8F6}" destId="{DDEF9F57-8290-4E27-8F86-0A18FB13248D}" srcOrd="12" destOrd="0" presId="urn:microsoft.com/office/officeart/2005/8/layout/radial6"/>
    <dgm:cxn modelId="{5AED32A9-3191-42E7-901C-BDF580D24DAD}" type="presParOf" srcId="{425F7860-8247-4E9B-83EA-AF666E14F8F6}" destId="{CF2AAC0A-3966-40BC-96A9-CACDBEF40421}" srcOrd="13" destOrd="0" presId="urn:microsoft.com/office/officeart/2005/8/layout/radial6"/>
    <dgm:cxn modelId="{3D6487FA-6BE0-4544-A4BB-72C3DEDFD866}" type="presParOf" srcId="{425F7860-8247-4E9B-83EA-AF666E14F8F6}" destId="{8F5B3400-010A-466E-A1F2-85DEBE33576F}" srcOrd="14" destOrd="0" presId="urn:microsoft.com/office/officeart/2005/8/layout/radial6"/>
    <dgm:cxn modelId="{3EE1B966-2D67-4196-9F19-2EA4D4148520}" type="presParOf" srcId="{425F7860-8247-4E9B-83EA-AF666E14F8F6}" destId="{5DB985D4-B9CB-4DA1-B769-73B59B8A56BF}" srcOrd="15" destOrd="0" presId="urn:microsoft.com/office/officeart/2005/8/layout/radial6"/>
    <dgm:cxn modelId="{8FA20297-901D-4DA0-8E93-15B6D1AF1C3E}" type="presParOf" srcId="{425F7860-8247-4E9B-83EA-AF666E14F8F6}" destId="{39F23011-D85C-4CC2-BAA6-F200090BF059}" srcOrd="16" destOrd="0" presId="urn:microsoft.com/office/officeart/2005/8/layout/radial6"/>
    <dgm:cxn modelId="{8B0AF5BD-8A20-4D91-B05B-0ACF1835F92D}" type="presParOf" srcId="{425F7860-8247-4E9B-83EA-AF666E14F8F6}" destId="{8B59B944-CE41-426F-A8A3-DBD0280F343C}" srcOrd="17" destOrd="0" presId="urn:microsoft.com/office/officeart/2005/8/layout/radial6"/>
    <dgm:cxn modelId="{8BAC0B90-E692-4D9F-967D-25475DE756EB}" type="presParOf" srcId="{425F7860-8247-4E9B-83EA-AF666E14F8F6}" destId="{5FE1DC0C-1761-4AF9-A04D-E7A9CD5DE092}" srcOrd="18" destOrd="0" presId="urn:microsoft.com/office/officeart/2005/8/layout/radial6"/>
    <dgm:cxn modelId="{00379D9F-E1C4-496F-B09C-662260182A95}" type="presParOf" srcId="{425F7860-8247-4E9B-83EA-AF666E14F8F6}" destId="{F4AE4BD9-D6F6-450F-8DDB-7C6882EE16F0}" srcOrd="19" destOrd="0" presId="urn:microsoft.com/office/officeart/2005/8/layout/radial6"/>
    <dgm:cxn modelId="{8A25F27E-3E68-492C-BB19-DDA126E465FC}" type="presParOf" srcId="{425F7860-8247-4E9B-83EA-AF666E14F8F6}" destId="{49BBFD2D-B1B7-4DBB-ABBC-9ACA4D4C9F9B}" srcOrd="20" destOrd="0" presId="urn:microsoft.com/office/officeart/2005/8/layout/radial6"/>
    <dgm:cxn modelId="{C9298303-C7C8-4897-9DBD-061124146E74}" type="presParOf" srcId="{425F7860-8247-4E9B-83EA-AF666E14F8F6}" destId="{8BA8267D-0A29-4E41-A889-3DA4C8ECA4C7}" srcOrd="21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B7A30B6-F51C-43CF-8954-7FEE753F70C3}" type="doc">
      <dgm:prSet loTypeId="urn:microsoft.com/office/officeart/2005/8/layout/process4" loCatId="process" qsTypeId="urn:microsoft.com/office/officeart/2005/8/quickstyle/3d3" qsCatId="3D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3B99D0C1-32C9-4084-9156-2B4C1827761A}">
      <dgm:prSet phldrT="[Text]"/>
      <dgm:spPr>
        <a:solidFill>
          <a:srgbClr val="379BB3"/>
        </a:solidFill>
      </dgm:spPr>
      <dgm:t>
        <a:bodyPr/>
        <a:lstStyle/>
        <a:p>
          <a:r>
            <a:rPr lang="en-US" dirty="0"/>
            <a:t>MISSION PROJECTS</a:t>
          </a:r>
          <a:endParaRPr lang="en-GB" dirty="0"/>
        </a:p>
      </dgm:t>
    </dgm:pt>
    <dgm:pt modelId="{F7ADD6A3-FD58-4CEB-A807-631A9CB5D1E9}" type="parTrans" cxnId="{92BC7344-0668-4539-A83B-27C2341390E2}">
      <dgm:prSet/>
      <dgm:spPr/>
      <dgm:t>
        <a:bodyPr/>
        <a:lstStyle/>
        <a:p>
          <a:endParaRPr lang="en-GB"/>
        </a:p>
      </dgm:t>
    </dgm:pt>
    <dgm:pt modelId="{B16F98A9-7A8A-493D-B921-282224A5DE44}" type="sibTrans" cxnId="{92BC7344-0668-4539-A83B-27C2341390E2}">
      <dgm:prSet/>
      <dgm:spPr/>
      <dgm:t>
        <a:bodyPr/>
        <a:lstStyle/>
        <a:p>
          <a:endParaRPr lang="en-GB"/>
        </a:p>
      </dgm:t>
    </dgm:pt>
    <dgm:pt modelId="{37C7875B-892D-41E8-8DA1-30685A54C81E}">
      <dgm:prSet phldrT="[Text]"/>
      <dgm:spPr/>
      <dgm:t>
        <a:bodyPr/>
        <a:lstStyle/>
        <a:p>
          <a:r>
            <a:rPr lang="en-US" dirty="0"/>
            <a:t>QUALITY OF LIFE</a:t>
          </a:r>
          <a:endParaRPr lang="en-GB" dirty="0"/>
        </a:p>
      </dgm:t>
    </dgm:pt>
    <dgm:pt modelId="{029F99B3-B4B8-4A64-A9ED-4A92530F7826}" type="parTrans" cxnId="{008DE763-E5B2-409A-9C7C-81E39B78EAC1}">
      <dgm:prSet/>
      <dgm:spPr/>
      <dgm:t>
        <a:bodyPr/>
        <a:lstStyle/>
        <a:p>
          <a:endParaRPr lang="en-GB"/>
        </a:p>
      </dgm:t>
    </dgm:pt>
    <dgm:pt modelId="{E7978FCB-F3B1-4738-BF05-CF1F37B594E2}" type="sibTrans" cxnId="{008DE763-E5B2-409A-9C7C-81E39B78EAC1}">
      <dgm:prSet/>
      <dgm:spPr/>
      <dgm:t>
        <a:bodyPr/>
        <a:lstStyle/>
        <a:p>
          <a:endParaRPr lang="en-GB"/>
        </a:p>
      </dgm:t>
    </dgm:pt>
    <dgm:pt modelId="{AE259B7A-FEFD-4FE0-B01F-327B60DD8F9B}">
      <dgm:prSet phldrT="[Text]"/>
      <dgm:spPr/>
      <dgm:t>
        <a:bodyPr/>
        <a:lstStyle/>
        <a:p>
          <a:r>
            <a:rPr lang="en-US" dirty="0"/>
            <a:t>ECONOMIC ABILITY</a:t>
          </a:r>
          <a:endParaRPr lang="en-GB" dirty="0"/>
        </a:p>
      </dgm:t>
    </dgm:pt>
    <dgm:pt modelId="{BBE74020-C45B-48B7-9B9D-DE51FC510726}" type="parTrans" cxnId="{0C53C834-EA27-459B-BA41-996C1EC3BEA3}">
      <dgm:prSet/>
      <dgm:spPr/>
      <dgm:t>
        <a:bodyPr/>
        <a:lstStyle/>
        <a:p>
          <a:endParaRPr lang="en-GB"/>
        </a:p>
      </dgm:t>
    </dgm:pt>
    <dgm:pt modelId="{142D75FA-AA48-4385-B3D4-BAE5F0B7A3A8}" type="sibTrans" cxnId="{0C53C834-EA27-459B-BA41-996C1EC3BEA3}">
      <dgm:prSet/>
      <dgm:spPr/>
      <dgm:t>
        <a:bodyPr/>
        <a:lstStyle/>
        <a:p>
          <a:endParaRPr lang="en-GB"/>
        </a:p>
      </dgm:t>
    </dgm:pt>
    <dgm:pt modelId="{ECEB3C3C-C391-4FAC-9447-5EACF6F52EC4}">
      <dgm:prSet phldrT="[Text]"/>
      <dgm:spPr>
        <a:solidFill>
          <a:srgbClr val="113037"/>
        </a:solidFill>
      </dgm:spPr>
      <dgm:t>
        <a:bodyPr/>
        <a:lstStyle/>
        <a:p>
          <a:r>
            <a:rPr lang="en-US" dirty="0"/>
            <a:t>SMART CITIES</a:t>
          </a:r>
          <a:endParaRPr lang="en-GB" dirty="0"/>
        </a:p>
      </dgm:t>
    </dgm:pt>
    <dgm:pt modelId="{CBA8270B-54B2-4A5D-BCB6-7C6E9BD70583}" type="parTrans" cxnId="{1FE8D01C-D4AE-476C-8C91-C33EC9931624}">
      <dgm:prSet/>
      <dgm:spPr/>
      <dgm:t>
        <a:bodyPr/>
        <a:lstStyle/>
        <a:p>
          <a:endParaRPr lang="en-GB"/>
        </a:p>
      </dgm:t>
    </dgm:pt>
    <dgm:pt modelId="{47376D1F-ECF8-4E9A-A8EF-C0B6DE886B60}" type="sibTrans" cxnId="{1FE8D01C-D4AE-476C-8C91-C33EC9931624}">
      <dgm:prSet/>
      <dgm:spPr/>
      <dgm:t>
        <a:bodyPr/>
        <a:lstStyle/>
        <a:p>
          <a:endParaRPr lang="en-GB"/>
        </a:p>
      </dgm:t>
    </dgm:pt>
    <dgm:pt modelId="{0D59A9F2-E189-45D8-B058-C00B1C3607F3}">
      <dgm:prSet phldrT="[Text]"/>
      <dgm:spPr/>
      <dgm:t>
        <a:bodyPr/>
        <a:lstStyle/>
        <a:p>
          <a:r>
            <a:rPr lang="en-US" dirty="0"/>
            <a:t>SERVICES</a:t>
          </a:r>
          <a:endParaRPr lang="en-GB" dirty="0"/>
        </a:p>
      </dgm:t>
    </dgm:pt>
    <dgm:pt modelId="{D970483B-16AE-49F2-A0D0-0861ED0FDE69}" type="parTrans" cxnId="{410B6E80-3C5B-4D62-8B42-A3193401AF33}">
      <dgm:prSet/>
      <dgm:spPr/>
      <dgm:t>
        <a:bodyPr/>
        <a:lstStyle/>
        <a:p>
          <a:endParaRPr lang="en-GB"/>
        </a:p>
      </dgm:t>
    </dgm:pt>
    <dgm:pt modelId="{902A68FD-740B-4524-92E6-65BD768922AD}" type="sibTrans" cxnId="{410B6E80-3C5B-4D62-8B42-A3193401AF33}">
      <dgm:prSet/>
      <dgm:spPr/>
      <dgm:t>
        <a:bodyPr/>
        <a:lstStyle/>
        <a:p>
          <a:endParaRPr lang="en-GB"/>
        </a:p>
      </dgm:t>
    </dgm:pt>
    <dgm:pt modelId="{CAD262FE-C072-438C-AE75-93CB4802D97E}">
      <dgm:prSet phldrT="[Text]"/>
      <dgm:spPr/>
      <dgm:t>
        <a:bodyPr/>
        <a:lstStyle/>
        <a:p>
          <a:r>
            <a:rPr lang="en-US" dirty="0"/>
            <a:t>FINANACE</a:t>
          </a:r>
          <a:endParaRPr lang="en-GB" dirty="0"/>
        </a:p>
      </dgm:t>
    </dgm:pt>
    <dgm:pt modelId="{A75DD5EE-5264-4EAA-A370-371A0510D8F4}" type="parTrans" cxnId="{C19CF7D0-AD90-434C-8144-2DFC6E89E2B8}">
      <dgm:prSet/>
      <dgm:spPr/>
      <dgm:t>
        <a:bodyPr/>
        <a:lstStyle/>
        <a:p>
          <a:endParaRPr lang="en-GB"/>
        </a:p>
      </dgm:t>
    </dgm:pt>
    <dgm:pt modelId="{631894CA-4EE4-4F0C-95C5-73ADB2860DD9}" type="sibTrans" cxnId="{C19CF7D0-AD90-434C-8144-2DFC6E89E2B8}">
      <dgm:prSet/>
      <dgm:spPr/>
      <dgm:t>
        <a:bodyPr/>
        <a:lstStyle/>
        <a:p>
          <a:endParaRPr lang="en-GB"/>
        </a:p>
      </dgm:t>
    </dgm:pt>
    <dgm:pt modelId="{9D42FF5A-680C-4666-8DBD-59684C009FAB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4400" b="1" dirty="0"/>
            <a:t>DATA</a:t>
          </a:r>
          <a:endParaRPr lang="en-GB" sz="4400" b="1" dirty="0"/>
        </a:p>
      </dgm:t>
    </dgm:pt>
    <dgm:pt modelId="{F46F147D-3A92-4B0D-9139-4E8D4C855913}" type="parTrans" cxnId="{CACE02D6-E6AD-46AC-996F-B29EBA0EE382}">
      <dgm:prSet/>
      <dgm:spPr/>
      <dgm:t>
        <a:bodyPr/>
        <a:lstStyle/>
        <a:p>
          <a:endParaRPr lang="en-GB"/>
        </a:p>
      </dgm:t>
    </dgm:pt>
    <dgm:pt modelId="{46BCBEED-86A2-432D-8403-A1E072F0F4F7}" type="sibTrans" cxnId="{CACE02D6-E6AD-46AC-996F-B29EBA0EE382}">
      <dgm:prSet/>
      <dgm:spPr/>
      <dgm:t>
        <a:bodyPr/>
        <a:lstStyle/>
        <a:p>
          <a:endParaRPr lang="en-GB"/>
        </a:p>
      </dgm:t>
    </dgm:pt>
    <dgm:pt modelId="{EC4B83EE-94B8-44DB-9245-11C86779721F}">
      <dgm:prSet/>
      <dgm:spPr/>
      <dgm:t>
        <a:bodyPr/>
        <a:lstStyle/>
        <a:p>
          <a:r>
            <a:rPr lang="en-US" dirty="0"/>
            <a:t>SUSTAINABILITY</a:t>
          </a:r>
          <a:endParaRPr lang="en-GB" dirty="0"/>
        </a:p>
      </dgm:t>
    </dgm:pt>
    <dgm:pt modelId="{2955732C-D45E-423D-A4F0-682F1F9CFE39}" type="parTrans" cxnId="{B28A4A13-912E-49AC-954E-C6B30C9A7ECD}">
      <dgm:prSet/>
      <dgm:spPr/>
      <dgm:t>
        <a:bodyPr/>
        <a:lstStyle/>
        <a:p>
          <a:endParaRPr lang="en-GB"/>
        </a:p>
      </dgm:t>
    </dgm:pt>
    <dgm:pt modelId="{1F2D00A3-9C71-4836-A6B6-F634A450692E}" type="sibTrans" cxnId="{B28A4A13-912E-49AC-954E-C6B30C9A7ECD}">
      <dgm:prSet/>
      <dgm:spPr/>
      <dgm:t>
        <a:bodyPr/>
        <a:lstStyle/>
        <a:p>
          <a:endParaRPr lang="en-GB"/>
        </a:p>
      </dgm:t>
    </dgm:pt>
    <dgm:pt modelId="{8D033B50-7FC3-4343-87B4-798941D0C06C}">
      <dgm:prSet/>
      <dgm:spPr/>
      <dgm:t>
        <a:bodyPr/>
        <a:lstStyle/>
        <a:p>
          <a:r>
            <a:rPr lang="en-US" dirty="0"/>
            <a:t>PLANNING</a:t>
          </a:r>
          <a:endParaRPr lang="en-GB" dirty="0"/>
        </a:p>
      </dgm:t>
    </dgm:pt>
    <dgm:pt modelId="{28725CC6-216E-429A-8D91-4E9475FCD518}" type="parTrans" cxnId="{2B13FFCE-68BA-4EFA-8D48-4C66FBCE94B0}">
      <dgm:prSet/>
      <dgm:spPr/>
      <dgm:t>
        <a:bodyPr/>
        <a:lstStyle/>
        <a:p>
          <a:endParaRPr lang="en-GB"/>
        </a:p>
      </dgm:t>
    </dgm:pt>
    <dgm:pt modelId="{ECC715DC-6B1D-4971-A629-B0EA08C020AF}" type="sibTrans" cxnId="{2B13FFCE-68BA-4EFA-8D48-4C66FBCE94B0}">
      <dgm:prSet/>
      <dgm:spPr/>
      <dgm:t>
        <a:bodyPr/>
        <a:lstStyle/>
        <a:p>
          <a:endParaRPr lang="en-GB"/>
        </a:p>
      </dgm:t>
    </dgm:pt>
    <dgm:pt modelId="{12F646AB-2EC8-4D30-B056-1ACEC21E6BB8}">
      <dgm:prSet/>
      <dgm:spPr/>
      <dgm:t>
        <a:bodyPr/>
        <a:lstStyle/>
        <a:p>
          <a:r>
            <a:rPr lang="en-US" dirty="0"/>
            <a:t>TECHNOLOGY</a:t>
          </a:r>
          <a:endParaRPr lang="en-GB" dirty="0"/>
        </a:p>
      </dgm:t>
    </dgm:pt>
    <dgm:pt modelId="{624AE7C8-A09D-4A2C-8F43-17C9A7B881D7}" type="parTrans" cxnId="{623CDF5C-E493-4D1E-B59E-8AB343B65059}">
      <dgm:prSet/>
      <dgm:spPr/>
      <dgm:t>
        <a:bodyPr/>
        <a:lstStyle/>
        <a:p>
          <a:endParaRPr lang="en-GB"/>
        </a:p>
      </dgm:t>
    </dgm:pt>
    <dgm:pt modelId="{7ECFC521-922A-4BB9-AA74-38AC23A7E412}" type="sibTrans" cxnId="{623CDF5C-E493-4D1E-B59E-8AB343B65059}">
      <dgm:prSet/>
      <dgm:spPr/>
      <dgm:t>
        <a:bodyPr/>
        <a:lstStyle/>
        <a:p>
          <a:endParaRPr lang="en-GB"/>
        </a:p>
      </dgm:t>
    </dgm:pt>
    <dgm:pt modelId="{C9AE2E49-3823-43FE-B9BC-BD312D3E5D7B}">
      <dgm:prSet/>
      <dgm:spPr/>
      <dgm:t>
        <a:bodyPr/>
        <a:lstStyle/>
        <a:p>
          <a:r>
            <a:rPr lang="en-US" dirty="0"/>
            <a:t>GOVERNANCE</a:t>
          </a:r>
          <a:endParaRPr lang="en-GB" dirty="0"/>
        </a:p>
      </dgm:t>
    </dgm:pt>
    <dgm:pt modelId="{CE3170FB-67B3-4633-8FEE-82D4E9CF7851}" type="parTrans" cxnId="{4617AF86-5019-4ABC-AD8D-7EF3A0C125DC}">
      <dgm:prSet/>
      <dgm:spPr/>
      <dgm:t>
        <a:bodyPr/>
        <a:lstStyle/>
        <a:p>
          <a:endParaRPr lang="en-GB"/>
        </a:p>
      </dgm:t>
    </dgm:pt>
    <dgm:pt modelId="{4A7820A5-018D-4FF0-9271-9BF4310A7BFB}" type="sibTrans" cxnId="{4617AF86-5019-4ABC-AD8D-7EF3A0C125DC}">
      <dgm:prSet/>
      <dgm:spPr/>
      <dgm:t>
        <a:bodyPr/>
        <a:lstStyle/>
        <a:p>
          <a:endParaRPr lang="en-GB"/>
        </a:p>
      </dgm:t>
    </dgm:pt>
    <dgm:pt modelId="{E623E575-E69E-47D9-93F2-9092CDD93104}" type="pres">
      <dgm:prSet presAssocID="{FB7A30B6-F51C-43CF-8954-7FEE753F70C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DB99D6B0-1ED1-461A-AC3F-26F43BA4ED11}" type="pres">
      <dgm:prSet presAssocID="{9D42FF5A-680C-4666-8DBD-59684C009FAB}" presName="boxAndChildren" presStyleCnt="0"/>
      <dgm:spPr/>
    </dgm:pt>
    <dgm:pt modelId="{2173A7E6-755B-41FD-8ED1-A0D6D0532EEA}" type="pres">
      <dgm:prSet presAssocID="{9D42FF5A-680C-4666-8DBD-59684C009FAB}" presName="parentTextBox" presStyleLbl="node1" presStyleIdx="0" presStyleCnt="3" custScaleX="99970" custScaleY="57078"/>
      <dgm:spPr/>
      <dgm:t>
        <a:bodyPr/>
        <a:lstStyle/>
        <a:p>
          <a:endParaRPr lang="en-IN"/>
        </a:p>
      </dgm:t>
    </dgm:pt>
    <dgm:pt modelId="{1FD4A864-A018-4C23-8278-E97E41193DF9}" type="pres">
      <dgm:prSet presAssocID="{47376D1F-ECF8-4E9A-A8EF-C0B6DE886B60}" presName="sp" presStyleCnt="0"/>
      <dgm:spPr/>
    </dgm:pt>
    <dgm:pt modelId="{9549723E-4548-4AA0-9C72-6F913D6C5CD4}" type="pres">
      <dgm:prSet presAssocID="{ECEB3C3C-C391-4FAC-9447-5EACF6F52EC4}" presName="arrowAndChildren" presStyleCnt="0"/>
      <dgm:spPr/>
    </dgm:pt>
    <dgm:pt modelId="{20AD8F35-9542-47D3-8FA0-0800DF345F77}" type="pres">
      <dgm:prSet presAssocID="{ECEB3C3C-C391-4FAC-9447-5EACF6F52EC4}" presName="parentTextArrow" presStyleLbl="node1" presStyleIdx="0" presStyleCnt="3"/>
      <dgm:spPr/>
      <dgm:t>
        <a:bodyPr/>
        <a:lstStyle/>
        <a:p>
          <a:endParaRPr lang="en-IN"/>
        </a:p>
      </dgm:t>
    </dgm:pt>
    <dgm:pt modelId="{004E27C2-9DD9-4D30-BDC7-BA7DE7BF67DE}" type="pres">
      <dgm:prSet presAssocID="{ECEB3C3C-C391-4FAC-9447-5EACF6F52EC4}" presName="arrow" presStyleLbl="node1" presStyleIdx="1" presStyleCnt="3"/>
      <dgm:spPr/>
      <dgm:t>
        <a:bodyPr/>
        <a:lstStyle/>
        <a:p>
          <a:endParaRPr lang="en-IN"/>
        </a:p>
      </dgm:t>
    </dgm:pt>
    <dgm:pt modelId="{467DA2CF-70B3-48B2-949B-B6B41CAD1C84}" type="pres">
      <dgm:prSet presAssocID="{ECEB3C3C-C391-4FAC-9447-5EACF6F52EC4}" presName="descendantArrow" presStyleCnt="0"/>
      <dgm:spPr/>
    </dgm:pt>
    <dgm:pt modelId="{7B9225DF-337D-49AA-8977-F6E456F4ACA8}" type="pres">
      <dgm:prSet presAssocID="{0D59A9F2-E189-45D8-B058-C00B1C3607F3}" presName="childTextArrow" presStyleLbl="fgAccFollow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A8DC358-9D64-44CA-B381-EA1D3C0E16F5}" type="pres">
      <dgm:prSet presAssocID="{CAD262FE-C072-438C-AE75-93CB4802D97E}" presName="childTextArrow" presStyleLbl="fgAccFollow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6069EBC-711F-4434-A83E-1C6AD900CDDD}" type="pres">
      <dgm:prSet presAssocID="{8D033B50-7FC3-4343-87B4-798941D0C06C}" presName="childTextArrow" presStyleLbl="fgAccFollow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6AC6236-FAD0-4435-9C7C-4E8A7231BA85}" type="pres">
      <dgm:prSet presAssocID="{12F646AB-2EC8-4D30-B056-1ACEC21E6BB8}" presName="childTextArrow" presStyleLbl="fgAccFollow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F748891-1D87-4D03-8A48-51B989A92510}" type="pres">
      <dgm:prSet presAssocID="{C9AE2E49-3823-43FE-B9BC-BD312D3E5D7B}" presName="childTextArrow" presStyleLbl="fgAccFollow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8DF4730-BE9F-4C8A-A804-1EF4137DCE75}" type="pres">
      <dgm:prSet presAssocID="{B16F98A9-7A8A-493D-B921-282224A5DE44}" presName="sp" presStyleCnt="0"/>
      <dgm:spPr/>
    </dgm:pt>
    <dgm:pt modelId="{C0FCE935-ED0C-4BF2-89F5-B7E9F9D26ED7}" type="pres">
      <dgm:prSet presAssocID="{3B99D0C1-32C9-4084-9156-2B4C1827761A}" presName="arrowAndChildren" presStyleCnt="0"/>
      <dgm:spPr/>
    </dgm:pt>
    <dgm:pt modelId="{228E56D8-7238-46DC-990E-6827AAF6751E}" type="pres">
      <dgm:prSet presAssocID="{3B99D0C1-32C9-4084-9156-2B4C1827761A}" presName="parentTextArrow" presStyleLbl="node1" presStyleIdx="1" presStyleCnt="3"/>
      <dgm:spPr/>
      <dgm:t>
        <a:bodyPr/>
        <a:lstStyle/>
        <a:p>
          <a:endParaRPr lang="en-IN"/>
        </a:p>
      </dgm:t>
    </dgm:pt>
    <dgm:pt modelId="{E751300A-E192-49FE-9FE1-01C87C0691C7}" type="pres">
      <dgm:prSet presAssocID="{3B99D0C1-32C9-4084-9156-2B4C1827761A}" presName="arrow" presStyleLbl="node1" presStyleIdx="2" presStyleCnt="3"/>
      <dgm:spPr/>
      <dgm:t>
        <a:bodyPr/>
        <a:lstStyle/>
        <a:p>
          <a:endParaRPr lang="en-IN"/>
        </a:p>
      </dgm:t>
    </dgm:pt>
    <dgm:pt modelId="{95FF3C06-9BD6-483D-A35C-2DB274A9364A}" type="pres">
      <dgm:prSet presAssocID="{3B99D0C1-32C9-4084-9156-2B4C1827761A}" presName="descendantArrow" presStyleCnt="0"/>
      <dgm:spPr/>
    </dgm:pt>
    <dgm:pt modelId="{52077E0A-2719-489D-8390-447EEBD01D83}" type="pres">
      <dgm:prSet presAssocID="{37C7875B-892D-41E8-8DA1-30685A54C81E}" presName="childTextArrow" presStyleLbl="fgAccFollow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18EE0CE-B441-4794-8698-174DE78B06EF}" type="pres">
      <dgm:prSet presAssocID="{AE259B7A-FEFD-4FE0-B01F-327B60DD8F9B}" presName="childTextArrow" presStyleLbl="fgAccFollow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B8DB631-ED49-4279-AE76-3BD002062DB0}" type="pres">
      <dgm:prSet presAssocID="{EC4B83EE-94B8-44DB-9245-11C86779721F}" presName="childTextArrow" presStyleLbl="fgAccFollow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4617AF86-5019-4ABC-AD8D-7EF3A0C125DC}" srcId="{ECEB3C3C-C391-4FAC-9447-5EACF6F52EC4}" destId="{C9AE2E49-3823-43FE-B9BC-BD312D3E5D7B}" srcOrd="4" destOrd="0" parTransId="{CE3170FB-67B3-4633-8FEE-82D4E9CF7851}" sibTransId="{4A7820A5-018D-4FF0-9271-9BF4310A7BFB}"/>
    <dgm:cxn modelId="{F4B17023-78F8-4205-8B38-DD61F9510E09}" type="presOf" srcId="{8D033B50-7FC3-4343-87B4-798941D0C06C}" destId="{D6069EBC-711F-4434-A83E-1C6AD900CDDD}" srcOrd="0" destOrd="0" presId="urn:microsoft.com/office/officeart/2005/8/layout/process4"/>
    <dgm:cxn modelId="{1583CC86-EFBF-4195-8259-474BA7DF7A62}" type="presOf" srcId="{CAD262FE-C072-438C-AE75-93CB4802D97E}" destId="{1A8DC358-9D64-44CA-B381-EA1D3C0E16F5}" srcOrd="0" destOrd="0" presId="urn:microsoft.com/office/officeart/2005/8/layout/process4"/>
    <dgm:cxn modelId="{0C53C834-EA27-459B-BA41-996C1EC3BEA3}" srcId="{3B99D0C1-32C9-4084-9156-2B4C1827761A}" destId="{AE259B7A-FEFD-4FE0-B01F-327B60DD8F9B}" srcOrd="1" destOrd="0" parTransId="{BBE74020-C45B-48B7-9B9D-DE51FC510726}" sibTransId="{142D75FA-AA48-4385-B3D4-BAE5F0B7A3A8}"/>
    <dgm:cxn modelId="{0D93C316-8261-4C7E-ACAF-C78106596FF7}" type="presOf" srcId="{9D42FF5A-680C-4666-8DBD-59684C009FAB}" destId="{2173A7E6-755B-41FD-8ED1-A0D6D0532EEA}" srcOrd="0" destOrd="0" presId="urn:microsoft.com/office/officeart/2005/8/layout/process4"/>
    <dgm:cxn modelId="{008DE763-E5B2-409A-9C7C-81E39B78EAC1}" srcId="{3B99D0C1-32C9-4084-9156-2B4C1827761A}" destId="{37C7875B-892D-41E8-8DA1-30685A54C81E}" srcOrd="0" destOrd="0" parTransId="{029F99B3-B4B8-4A64-A9ED-4A92530F7826}" sibTransId="{E7978FCB-F3B1-4738-BF05-CF1F37B594E2}"/>
    <dgm:cxn modelId="{2B13FFCE-68BA-4EFA-8D48-4C66FBCE94B0}" srcId="{ECEB3C3C-C391-4FAC-9447-5EACF6F52EC4}" destId="{8D033B50-7FC3-4343-87B4-798941D0C06C}" srcOrd="2" destOrd="0" parTransId="{28725CC6-216E-429A-8D91-4E9475FCD518}" sibTransId="{ECC715DC-6B1D-4971-A629-B0EA08C020AF}"/>
    <dgm:cxn modelId="{154333AA-9296-4B81-9404-B847B8503C95}" type="presOf" srcId="{EC4B83EE-94B8-44DB-9245-11C86779721F}" destId="{CB8DB631-ED49-4279-AE76-3BD002062DB0}" srcOrd="0" destOrd="0" presId="urn:microsoft.com/office/officeart/2005/8/layout/process4"/>
    <dgm:cxn modelId="{55317C30-A61B-488F-9357-FDDBA0DC3D83}" type="presOf" srcId="{0D59A9F2-E189-45D8-B058-C00B1C3607F3}" destId="{7B9225DF-337D-49AA-8977-F6E456F4ACA8}" srcOrd="0" destOrd="0" presId="urn:microsoft.com/office/officeart/2005/8/layout/process4"/>
    <dgm:cxn modelId="{B28A4A13-912E-49AC-954E-C6B30C9A7ECD}" srcId="{3B99D0C1-32C9-4084-9156-2B4C1827761A}" destId="{EC4B83EE-94B8-44DB-9245-11C86779721F}" srcOrd="2" destOrd="0" parTransId="{2955732C-D45E-423D-A4F0-682F1F9CFE39}" sibTransId="{1F2D00A3-9C71-4836-A6B6-F634A450692E}"/>
    <dgm:cxn modelId="{60990FEF-798B-4520-9A83-8C142EE402F9}" type="presOf" srcId="{ECEB3C3C-C391-4FAC-9447-5EACF6F52EC4}" destId="{20AD8F35-9542-47D3-8FA0-0800DF345F77}" srcOrd="0" destOrd="0" presId="urn:microsoft.com/office/officeart/2005/8/layout/process4"/>
    <dgm:cxn modelId="{2D531FAC-FECC-4D0E-9C7C-7965DD0E5075}" type="presOf" srcId="{AE259B7A-FEFD-4FE0-B01F-327B60DD8F9B}" destId="{518EE0CE-B441-4794-8698-174DE78B06EF}" srcOrd="0" destOrd="0" presId="urn:microsoft.com/office/officeart/2005/8/layout/process4"/>
    <dgm:cxn modelId="{1FE8D01C-D4AE-476C-8C91-C33EC9931624}" srcId="{FB7A30B6-F51C-43CF-8954-7FEE753F70C3}" destId="{ECEB3C3C-C391-4FAC-9447-5EACF6F52EC4}" srcOrd="1" destOrd="0" parTransId="{CBA8270B-54B2-4A5D-BCB6-7C6E9BD70583}" sibTransId="{47376D1F-ECF8-4E9A-A8EF-C0B6DE886B60}"/>
    <dgm:cxn modelId="{780014AC-02D1-46B0-9CB1-8D877BF6319D}" type="presOf" srcId="{12F646AB-2EC8-4D30-B056-1ACEC21E6BB8}" destId="{B6AC6236-FAD0-4435-9C7C-4E8A7231BA85}" srcOrd="0" destOrd="0" presId="urn:microsoft.com/office/officeart/2005/8/layout/process4"/>
    <dgm:cxn modelId="{AFB92B7D-01CE-424D-A5E2-42941F38C3A4}" type="presOf" srcId="{C9AE2E49-3823-43FE-B9BC-BD312D3E5D7B}" destId="{0F748891-1D87-4D03-8A48-51B989A92510}" srcOrd="0" destOrd="0" presId="urn:microsoft.com/office/officeart/2005/8/layout/process4"/>
    <dgm:cxn modelId="{F46739F5-2A8E-4494-AB5C-FCDFB8379BB9}" type="presOf" srcId="{ECEB3C3C-C391-4FAC-9447-5EACF6F52EC4}" destId="{004E27C2-9DD9-4D30-BDC7-BA7DE7BF67DE}" srcOrd="1" destOrd="0" presId="urn:microsoft.com/office/officeart/2005/8/layout/process4"/>
    <dgm:cxn modelId="{05F6D5E5-1999-4630-BA19-2049FEF3ED2A}" type="presOf" srcId="{37C7875B-892D-41E8-8DA1-30685A54C81E}" destId="{52077E0A-2719-489D-8390-447EEBD01D83}" srcOrd="0" destOrd="0" presId="urn:microsoft.com/office/officeart/2005/8/layout/process4"/>
    <dgm:cxn modelId="{CB53AC12-03F8-4079-9E08-D1ADFC9D8F4A}" type="presOf" srcId="{3B99D0C1-32C9-4084-9156-2B4C1827761A}" destId="{E751300A-E192-49FE-9FE1-01C87C0691C7}" srcOrd="1" destOrd="0" presId="urn:microsoft.com/office/officeart/2005/8/layout/process4"/>
    <dgm:cxn modelId="{96CF3371-16AC-4BF7-A336-E72FA0CDFEA8}" type="presOf" srcId="{FB7A30B6-F51C-43CF-8954-7FEE753F70C3}" destId="{E623E575-E69E-47D9-93F2-9092CDD93104}" srcOrd="0" destOrd="0" presId="urn:microsoft.com/office/officeart/2005/8/layout/process4"/>
    <dgm:cxn modelId="{C19CF7D0-AD90-434C-8144-2DFC6E89E2B8}" srcId="{ECEB3C3C-C391-4FAC-9447-5EACF6F52EC4}" destId="{CAD262FE-C072-438C-AE75-93CB4802D97E}" srcOrd="1" destOrd="0" parTransId="{A75DD5EE-5264-4EAA-A370-371A0510D8F4}" sibTransId="{631894CA-4EE4-4F0C-95C5-73ADB2860DD9}"/>
    <dgm:cxn modelId="{92BC7344-0668-4539-A83B-27C2341390E2}" srcId="{FB7A30B6-F51C-43CF-8954-7FEE753F70C3}" destId="{3B99D0C1-32C9-4084-9156-2B4C1827761A}" srcOrd="0" destOrd="0" parTransId="{F7ADD6A3-FD58-4CEB-A807-631A9CB5D1E9}" sibTransId="{B16F98A9-7A8A-493D-B921-282224A5DE44}"/>
    <dgm:cxn modelId="{534AF0B9-53B0-4E4E-9661-B49F9AA9E447}" type="presOf" srcId="{3B99D0C1-32C9-4084-9156-2B4C1827761A}" destId="{228E56D8-7238-46DC-990E-6827AAF6751E}" srcOrd="0" destOrd="0" presId="urn:microsoft.com/office/officeart/2005/8/layout/process4"/>
    <dgm:cxn modelId="{623CDF5C-E493-4D1E-B59E-8AB343B65059}" srcId="{ECEB3C3C-C391-4FAC-9447-5EACF6F52EC4}" destId="{12F646AB-2EC8-4D30-B056-1ACEC21E6BB8}" srcOrd="3" destOrd="0" parTransId="{624AE7C8-A09D-4A2C-8F43-17C9A7B881D7}" sibTransId="{7ECFC521-922A-4BB9-AA74-38AC23A7E412}"/>
    <dgm:cxn modelId="{CACE02D6-E6AD-46AC-996F-B29EBA0EE382}" srcId="{FB7A30B6-F51C-43CF-8954-7FEE753F70C3}" destId="{9D42FF5A-680C-4666-8DBD-59684C009FAB}" srcOrd="2" destOrd="0" parTransId="{F46F147D-3A92-4B0D-9139-4E8D4C855913}" sibTransId="{46BCBEED-86A2-432D-8403-A1E072F0F4F7}"/>
    <dgm:cxn modelId="{410B6E80-3C5B-4D62-8B42-A3193401AF33}" srcId="{ECEB3C3C-C391-4FAC-9447-5EACF6F52EC4}" destId="{0D59A9F2-E189-45D8-B058-C00B1C3607F3}" srcOrd="0" destOrd="0" parTransId="{D970483B-16AE-49F2-A0D0-0861ED0FDE69}" sibTransId="{902A68FD-740B-4524-92E6-65BD768922AD}"/>
    <dgm:cxn modelId="{F0120589-D25B-4A8B-8C5E-BA5ECBA7E639}" type="presParOf" srcId="{E623E575-E69E-47D9-93F2-9092CDD93104}" destId="{DB99D6B0-1ED1-461A-AC3F-26F43BA4ED11}" srcOrd="0" destOrd="0" presId="urn:microsoft.com/office/officeart/2005/8/layout/process4"/>
    <dgm:cxn modelId="{12EE6BE1-5DC8-4844-9E9C-EDB5B05DC444}" type="presParOf" srcId="{DB99D6B0-1ED1-461A-AC3F-26F43BA4ED11}" destId="{2173A7E6-755B-41FD-8ED1-A0D6D0532EEA}" srcOrd="0" destOrd="0" presId="urn:microsoft.com/office/officeart/2005/8/layout/process4"/>
    <dgm:cxn modelId="{27A29EC8-FB12-4A7A-8521-EB34A813C906}" type="presParOf" srcId="{E623E575-E69E-47D9-93F2-9092CDD93104}" destId="{1FD4A864-A018-4C23-8278-E97E41193DF9}" srcOrd="1" destOrd="0" presId="urn:microsoft.com/office/officeart/2005/8/layout/process4"/>
    <dgm:cxn modelId="{D4BD91BC-2603-450D-B230-3AB0C181C006}" type="presParOf" srcId="{E623E575-E69E-47D9-93F2-9092CDD93104}" destId="{9549723E-4548-4AA0-9C72-6F913D6C5CD4}" srcOrd="2" destOrd="0" presId="urn:microsoft.com/office/officeart/2005/8/layout/process4"/>
    <dgm:cxn modelId="{9FBB6CF0-9D77-4DAA-80AC-94E06013117D}" type="presParOf" srcId="{9549723E-4548-4AA0-9C72-6F913D6C5CD4}" destId="{20AD8F35-9542-47D3-8FA0-0800DF345F77}" srcOrd="0" destOrd="0" presId="urn:microsoft.com/office/officeart/2005/8/layout/process4"/>
    <dgm:cxn modelId="{CD017870-5B81-4AAF-9CD6-130849F97D3A}" type="presParOf" srcId="{9549723E-4548-4AA0-9C72-6F913D6C5CD4}" destId="{004E27C2-9DD9-4D30-BDC7-BA7DE7BF67DE}" srcOrd="1" destOrd="0" presId="urn:microsoft.com/office/officeart/2005/8/layout/process4"/>
    <dgm:cxn modelId="{5A862B47-0FE4-4164-9E55-25677579BBA7}" type="presParOf" srcId="{9549723E-4548-4AA0-9C72-6F913D6C5CD4}" destId="{467DA2CF-70B3-48B2-949B-B6B41CAD1C84}" srcOrd="2" destOrd="0" presId="urn:microsoft.com/office/officeart/2005/8/layout/process4"/>
    <dgm:cxn modelId="{4FE2E778-6B06-411C-9F1E-760BE19523D7}" type="presParOf" srcId="{467DA2CF-70B3-48B2-949B-B6B41CAD1C84}" destId="{7B9225DF-337D-49AA-8977-F6E456F4ACA8}" srcOrd="0" destOrd="0" presId="urn:microsoft.com/office/officeart/2005/8/layout/process4"/>
    <dgm:cxn modelId="{8830B238-6C5F-4A3F-AD4E-996ECF748C55}" type="presParOf" srcId="{467DA2CF-70B3-48B2-949B-B6B41CAD1C84}" destId="{1A8DC358-9D64-44CA-B381-EA1D3C0E16F5}" srcOrd="1" destOrd="0" presId="urn:microsoft.com/office/officeart/2005/8/layout/process4"/>
    <dgm:cxn modelId="{F784F19D-9782-4A7F-8928-ACC7411A5D9F}" type="presParOf" srcId="{467DA2CF-70B3-48B2-949B-B6B41CAD1C84}" destId="{D6069EBC-711F-4434-A83E-1C6AD900CDDD}" srcOrd="2" destOrd="0" presId="urn:microsoft.com/office/officeart/2005/8/layout/process4"/>
    <dgm:cxn modelId="{C5ABFB3D-9D2D-4FAF-A19A-3186A96898A3}" type="presParOf" srcId="{467DA2CF-70B3-48B2-949B-B6B41CAD1C84}" destId="{B6AC6236-FAD0-4435-9C7C-4E8A7231BA85}" srcOrd="3" destOrd="0" presId="urn:microsoft.com/office/officeart/2005/8/layout/process4"/>
    <dgm:cxn modelId="{A5801456-A196-41A8-972E-E6BECD20D255}" type="presParOf" srcId="{467DA2CF-70B3-48B2-949B-B6B41CAD1C84}" destId="{0F748891-1D87-4D03-8A48-51B989A92510}" srcOrd="4" destOrd="0" presId="urn:microsoft.com/office/officeart/2005/8/layout/process4"/>
    <dgm:cxn modelId="{A2D84125-82CF-4432-AAA9-164F06552F24}" type="presParOf" srcId="{E623E575-E69E-47D9-93F2-9092CDD93104}" destId="{48DF4730-BE9F-4C8A-A804-1EF4137DCE75}" srcOrd="3" destOrd="0" presId="urn:microsoft.com/office/officeart/2005/8/layout/process4"/>
    <dgm:cxn modelId="{7B51CF3A-899D-43DF-B7DA-D424092CA7D0}" type="presParOf" srcId="{E623E575-E69E-47D9-93F2-9092CDD93104}" destId="{C0FCE935-ED0C-4BF2-89F5-B7E9F9D26ED7}" srcOrd="4" destOrd="0" presId="urn:microsoft.com/office/officeart/2005/8/layout/process4"/>
    <dgm:cxn modelId="{A3BBA15B-DBEC-45F5-A4E1-5A515520C1B9}" type="presParOf" srcId="{C0FCE935-ED0C-4BF2-89F5-B7E9F9D26ED7}" destId="{228E56D8-7238-46DC-990E-6827AAF6751E}" srcOrd="0" destOrd="0" presId="urn:microsoft.com/office/officeart/2005/8/layout/process4"/>
    <dgm:cxn modelId="{6D9B5534-287E-4A38-BA18-2B693BA0DEEE}" type="presParOf" srcId="{C0FCE935-ED0C-4BF2-89F5-B7E9F9D26ED7}" destId="{E751300A-E192-49FE-9FE1-01C87C0691C7}" srcOrd="1" destOrd="0" presId="urn:microsoft.com/office/officeart/2005/8/layout/process4"/>
    <dgm:cxn modelId="{76C586CF-F4B8-40A3-BE87-63A9D1DE5F27}" type="presParOf" srcId="{C0FCE935-ED0C-4BF2-89F5-B7E9F9D26ED7}" destId="{95FF3C06-9BD6-483D-A35C-2DB274A9364A}" srcOrd="2" destOrd="0" presId="urn:microsoft.com/office/officeart/2005/8/layout/process4"/>
    <dgm:cxn modelId="{F45FAF5E-C350-4CCF-B3BB-594D72C45551}" type="presParOf" srcId="{95FF3C06-9BD6-483D-A35C-2DB274A9364A}" destId="{52077E0A-2719-489D-8390-447EEBD01D83}" srcOrd="0" destOrd="0" presId="urn:microsoft.com/office/officeart/2005/8/layout/process4"/>
    <dgm:cxn modelId="{90891914-8756-4CD9-B404-663FF634BE9B}" type="presParOf" srcId="{95FF3C06-9BD6-483D-A35C-2DB274A9364A}" destId="{518EE0CE-B441-4794-8698-174DE78B06EF}" srcOrd="1" destOrd="0" presId="urn:microsoft.com/office/officeart/2005/8/layout/process4"/>
    <dgm:cxn modelId="{8F4B5E91-6497-467B-A79E-010AD9C7B238}" type="presParOf" srcId="{95FF3C06-9BD6-483D-A35C-2DB274A9364A}" destId="{CB8DB631-ED49-4279-AE76-3BD002062DB0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B7A30B6-F51C-43CF-8954-7FEE753F70C3}" type="doc">
      <dgm:prSet loTypeId="urn:microsoft.com/office/officeart/2005/8/layout/process4" loCatId="process" qsTypeId="urn:microsoft.com/office/officeart/2005/8/quickstyle/3d3" qsCatId="3D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3B99D0C1-32C9-4084-9156-2B4C1827761A}">
      <dgm:prSet phldrT="[Text]"/>
      <dgm:spPr>
        <a:solidFill>
          <a:srgbClr val="379BB3"/>
        </a:solidFill>
      </dgm:spPr>
      <dgm:t>
        <a:bodyPr/>
        <a:lstStyle/>
        <a:p>
          <a:r>
            <a:rPr lang="en-US" dirty="0">
              <a:latin typeface="Roboto Black" panose="02000000000000000000"/>
            </a:rPr>
            <a:t>MISSION PROJECTS</a:t>
          </a:r>
          <a:endParaRPr lang="en-GB" dirty="0">
            <a:latin typeface="Roboto Black" panose="02000000000000000000"/>
          </a:endParaRPr>
        </a:p>
      </dgm:t>
    </dgm:pt>
    <dgm:pt modelId="{F7ADD6A3-FD58-4CEB-A807-631A9CB5D1E9}" type="parTrans" cxnId="{92BC7344-0668-4539-A83B-27C2341390E2}">
      <dgm:prSet/>
      <dgm:spPr/>
      <dgm:t>
        <a:bodyPr/>
        <a:lstStyle/>
        <a:p>
          <a:endParaRPr lang="en-GB"/>
        </a:p>
      </dgm:t>
    </dgm:pt>
    <dgm:pt modelId="{B16F98A9-7A8A-493D-B921-282224A5DE44}" type="sibTrans" cxnId="{92BC7344-0668-4539-A83B-27C2341390E2}">
      <dgm:prSet/>
      <dgm:spPr/>
      <dgm:t>
        <a:bodyPr/>
        <a:lstStyle/>
        <a:p>
          <a:endParaRPr lang="en-GB"/>
        </a:p>
      </dgm:t>
    </dgm:pt>
    <dgm:pt modelId="{37C7875B-892D-41E8-8DA1-30685A54C81E}">
      <dgm:prSet phldrT="[Text]"/>
      <dgm:spPr/>
      <dgm:t>
        <a:bodyPr/>
        <a:lstStyle/>
        <a:p>
          <a:r>
            <a:rPr lang="en-US" dirty="0">
              <a:latin typeface="Roboto Black" panose="02000000000000000000"/>
            </a:rPr>
            <a:t>QUALITY OF LIFE</a:t>
          </a:r>
          <a:endParaRPr lang="en-GB" dirty="0">
            <a:latin typeface="Roboto Black" panose="02000000000000000000"/>
          </a:endParaRPr>
        </a:p>
      </dgm:t>
    </dgm:pt>
    <dgm:pt modelId="{029F99B3-B4B8-4A64-A9ED-4A92530F7826}" type="parTrans" cxnId="{008DE763-E5B2-409A-9C7C-81E39B78EAC1}">
      <dgm:prSet/>
      <dgm:spPr/>
      <dgm:t>
        <a:bodyPr/>
        <a:lstStyle/>
        <a:p>
          <a:endParaRPr lang="en-GB"/>
        </a:p>
      </dgm:t>
    </dgm:pt>
    <dgm:pt modelId="{E7978FCB-F3B1-4738-BF05-CF1F37B594E2}" type="sibTrans" cxnId="{008DE763-E5B2-409A-9C7C-81E39B78EAC1}">
      <dgm:prSet/>
      <dgm:spPr/>
      <dgm:t>
        <a:bodyPr/>
        <a:lstStyle/>
        <a:p>
          <a:endParaRPr lang="en-GB"/>
        </a:p>
      </dgm:t>
    </dgm:pt>
    <dgm:pt modelId="{AE259B7A-FEFD-4FE0-B01F-327B60DD8F9B}">
      <dgm:prSet phldrT="[Text]"/>
      <dgm:spPr/>
      <dgm:t>
        <a:bodyPr/>
        <a:lstStyle/>
        <a:p>
          <a:r>
            <a:rPr lang="en-US" dirty="0">
              <a:latin typeface="Roboto Black" panose="02000000000000000000"/>
            </a:rPr>
            <a:t>ECONOMIC ABILITY</a:t>
          </a:r>
          <a:endParaRPr lang="en-GB" dirty="0">
            <a:latin typeface="Roboto Black" panose="02000000000000000000"/>
          </a:endParaRPr>
        </a:p>
      </dgm:t>
    </dgm:pt>
    <dgm:pt modelId="{BBE74020-C45B-48B7-9B9D-DE51FC510726}" type="parTrans" cxnId="{0C53C834-EA27-459B-BA41-996C1EC3BEA3}">
      <dgm:prSet/>
      <dgm:spPr/>
      <dgm:t>
        <a:bodyPr/>
        <a:lstStyle/>
        <a:p>
          <a:endParaRPr lang="en-GB"/>
        </a:p>
      </dgm:t>
    </dgm:pt>
    <dgm:pt modelId="{142D75FA-AA48-4385-B3D4-BAE5F0B7A3A8}" type="sibTrans" cxnId="{0C53C834-EA27-459B-BA41-996C1EC3BEA3}">
      <dgm:prSet/>
      <dgm:spPr/>
      <dgm:t>
        <a:bodyPr/>
        <a:lstStyle/>
        <a:p>
          <a:endParaRPr lang="en-GB"/>
        </a:p>
      </dgm:t>
    </dgm:pt>
    <dgm:pt modelId="{ECEB3C3C-C391-4FAC-9447-5EACF6F52EC4}">
      <dgm:prSet phldrT="[Text]"/>
      <dgm:spPr>
        <a:solidFill>
          <a:srgbClr val="113037"/>
        </a:solidFill>
      </dgm:spPr>
      <dgm:t>
        <a:bodyPr/>
        <a:lstStyle/>
        <a:p>
          <a:r>
            <a:rPr lang="en-US" dirty="0">
              <a:latin typeface="Roboto Black" panose="02000000000000000000"/>
            </a:rPr>
            <a:t>SMART CITIES</a:t>
          </a:r>
          <a:endParaRPr lang="en-GB" dirty="0">
            <a:latin typeface="Roboto Black" panose="02000000000000000000"/>
          </a:endParaRPr>
        </a:p>
      </dgm:t>
    </dgm:pt>
    <dgm:pt modelId="{CBA8270B-54B2-4A5D-BCB6-7C6E9BD70583}" type="parTrans" cxnId="{1FE8D01C-D4AE-476C-8C91-C33EC9931624}">
      <dgm:prSet/>
      <dgm:spPr/>
      <dgm:t>
        <a:bodyPr/>
        <a:lstStyle/>
        <a:p>
          <a:endParaRPr lang="en-GB"/>
        </a:p>
      </dgm:t>
    </dgm:pt>
    <dgm:pt modelId="{47376D1F-ECF8-4E9A-A8EF-C0B6DE886B60}" type="sibTrans" cxnId="{1FE8D01C-D4AE-476C-8C91-C33EC9931624}">
      <dgm:prSet/>
      <dgm:spPr/>
      <dgm:t>
        <a:bodyPr/>
        <a:lstStyle/>
        <a:p>
          <a:endParaRPr lang="en-GB"/>
        </a:p>
      </dgm:t>
    </dgm:pt>
    <dgm:pt modelId="{0D59A9F2-E189-45D8-B058-C00B1C3607F3}">
      <dgm:prSet phldrT="[Text]"/>
      <dgm:spPr/>
      <dgm:t>
        <a:bodyPr/>
        <a:lstStyle/>
        <a:p>
          <a:r>
            <a:rPr lang="en-US" dirty="0">
              <a:latin typeface="Roboto Black" panose="02000000000000000000"/>
            </a:rPr>
            <a:t>SERVICES</a:t>
          </a:r>
          <a:endParaRPr lang="en-GB" dirty="0">
            <a:latin typeface="Roboto Black" panose="02000000000000000000"/>
          </a:endParaRPr>
        </a:p>
      </dgm:t>
    </dgm:pt>
    <dgm:pt modelId="{D970483B-16AE-49F2-A0D0-0861ED0FDE69}" type="parTrans" cxnId="{410B6E80-3C5B-4D62-8B42-A3193401AF33}">
      <dgm:prSet/>
      <dgm:spPr/>
      <dgm:t>
        <a:bodyPr/>
        <a:lstStyle/>
        <a:p>
          <a:endParaRPr lang="en-GB"/>
        </a:p>
      </dgm:t>
    </dgm:pt>
    <dgm:pt modelId="{902A68FD-740B-4524-92E6-65BD768922AD}" type="sibTrans" cxnId="{410B6E80-3C5B-4D62-8B42-A3193401AF33}">
      <dgm:prSet/>
      <dgm:spPr/>
      <dgm:t>
        <a:bodyPr/>
        <a:lstStyle/>
        <a:p>
          <a:endParaRPr lang="en-GB"/>
        </a:p>
      </dgm:t>
    </dgm:pt>
    <dgm:pt modelId="{CAD262FE-C072-438C-AE75-93CB4802D97E}">
      <dgm:prSet phldrT="[Text]"/>
      <dgm:spPr/>
      <dgm:t>
        <a:bodyPr/>
        <a:lstStyle/>
        <a:p>
          <a:r>
            <a:rPr lang="en-US" dirty="0">
              <a:latin typeface="Roboto Black" panose="02000000000000000000"/>
            </a:rPr>
            <a:t>FINANACE</a:t>
          </a:r>
          <a:endParaRPr lang="en-GB" dirty="0">
            <a:latin typeface="Roboto Black" panose="02000000000000000000"/>
          </a:endParaRPr>
        </a:p>
      </dgm:t>
    </dgm:pt>
    <dgm:pt modelId="{A75DD5EE-5264-4EAA-A370-371A0510D8F4}" type="parTrans" cxnId="{C19CF7D0-AD90-434C-8144-2DFC6E89E2B8}">
      <dgm:prSet/>
      <dgm:spPr/>
      <dgm:t>
        <a:bodyPr/>
        <a:lstStyle/>
        <a:p>
          <a:endParaRPr lang="en-GB"/>
        </a:p>
      </dgm:t>
    </dgm:pt>
    <dgm:pt modelId="{631894CA-4EE4-4F0C-95C5-73ADB2860DD9}" type="sibTrans" cxnId="{C19CF7D0-AD90-434C-8144-2DFC6E89E2B8}">
      <dgm:prSet/>
      <dgm:spPr/>
      <dgm:t>
        <a:bodyPr/>
        <a:lstStyle/>
        <a:p>
          <a:endParaRPr lang="en-GB"/>
        </a:p>
      </dgm:t>
    </dgm:pt>
    <dgm:pt modelId="{9D42FF5A-680C-4666-8DBD-59684C009FAB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4400" b="1" dirty="0">
              <a:latin typeface="Roboto Black" panose="02000000000000000000"/>
            </a:rPr>
            <a:t>DATA</a:t>
          </a:r>
          <a:endParaRPr lang="en-GB" sz="4400" b="1" dirty="0">
            <a:latin typeface="Roboto Black" panose="02000000000000000000"/>
          </a:endParaRPr>
        </a:p>
      </dgm:t>
    </dgm:pt>
    <dgm:pt modelId="{F46F147D-3A92-4B0D-9139-4E8D4C855913}" type="parTrans" cxnId="{CACE02D6-E6AD-46AC-996F-B29EBA0EE382}">
      <dgm:prSet/>
      <dgm:spPr/>
      <dgm:t>
        <a:bodyPr/>
        <a:lstStyle/>
        <a:p>
          <a:endParaRPr lang="en-GB"/>
        </a:p>
      </dgm:t>
    </dgm:pt>
    <dgm:pt modelId="{46BCBEED-86A2-432D-8403-A1E072F0F4F7}" type="sibTrans" cxnId="{CACE02D6-E6AD-46AC-996F-B29EBA0EE382}">
      <dgm:prSet/>
      <dgm:spPr/>
      <dgm:t>
        <a:bodyPr/>
        <a:lstStyle/>
        <a:p>
          <a:endParaRPr lang="en-GB"/>
        </a:p>
      </dgm:t>
    </dgm:pt>
    <dgm:pt modelId="{EC4B83EE-94B8-44DB-9245-11C86779721F}">
      <dgm:prSet/>
      <dgm:spPr/>
      <dgm:t>
        <a:bodyPr/>
        <a:lstStyle/>
        <a:p>
          <a:r>
            <a:rPr lang="en-US" dirty="0">
              <a:latin typeface="Roboto Black" panose="02000000000000000000"/>
            </a:rPr>
            <a:t>SUSTAINABILITY</a:t>
          </a:r>
          <a:endParaRPr lang="en-GB" dirty="0">
            <a:latin typeface="Roboto Black" panose="02000000000000000000"/>
          </a:endParaRPr>
        </a:p>
      </dgm:t>
    </dgm:pt>
    <dgm:pt modelId="{2955732C-D45E-423D-A4F0-682F1F9CFE39}" type="parTrans" cxnId="{B28A4A13-912E-49AC-954E-C6B30C9A7ECD}">
      <dgm:prSet/>
      <dgm:spPr/>
      <dgm:t>
        <a:bodyPr/>
        <a:lstStyle/>
        <a:p>
          <a:endParaRPr lang="en-GB"/>
        </a:p>
      </dgm:t>
    </dgm:pt>
    <dgm:pt modelId="{1F2D00A3-9C71-4836-A6B6-F634A450692E}" type="sibTrans" cxnId="{B28A4A13-912E-49AC-954E-C6B30C9A7ECD}">
      <dgm:prSet/>
      <dgm:spPr/>
      <dgm:t>
        <a:bodyPr/>
        <a:lstStyle/>
        <a:p>
          <a:endParaRPr lang="en-GB"/>
        </a:p>
      </dgm:t>
    </dgm:pt>
    <dgm:pt modelId="{8D033B50-7FC3-4343-87B4-798941D0C06C}">
      <dgm:prSet/>
      <dgm:spPr/>
      <dgm:t>
        <a:bodyPr/>
        <a:lstStyle/>
        <a:p>
          <a:r>
            <a:rPr lang="en-US" dirty="0">
              <a:latin typeface="Roboto Black" panose="02000000000000000000"/>
            </a:rPr>
            <a:t>PLANNING</a:t>
          </a:r>
          <a:endParaRPr lang="en-GB" dirty="0">
            <a:latin typeface="Roboto Black" panose="02000000000000000000"/>
          </a:endParaRPr>
        </a:p>
      </dgm:t>
    </dgm:pt>
    <dgm:pt modelId="{28725CC6-216E-429A-8D91-4E9475FCD518}" type="parTrans" cxnId="{2B13FFCE-68BA-4EFA-8D48-4C66FBCE94B0}">
      <dgm:prSet/>
      <dgm:spPr/>
      <dgm:t>
        <a:bodyPr/>
        <a:lstStyle/>
        <a:p>
          <a:endParaRPr lang="en-GB"/>
        </a:p>
      </dgm:t>
    </dgm:pt>
    <dgm:pt modelId="{ECC715DC-6B1D-4971-A629-B0EA08C020AF}" type="sibTrans" cxnId="{2B13FFCE-68BA-4EFA-8D48-4C66FBCE94B0}">
      <dgm:prSet/>
      <dgm:spPr/>
      <dgm:t>
        <a:bodyPr/>
        <a:lstStyle/>
        <a:p>
          <a:endParaRPr lang="en-GB"/>
        </a:p>
      </dgm:t>
    </dgm:pt>
    <dgm:pt modelId="{12F646AB-2EC8-4D30-B056-1ACEC21E6BB8}">
      <dgm:prSet/>
      <dgm:spPr/>
      <dgm:t>
        <a:bodyPr/>
        <a:lstStyle/>
        <a:p>
          <a:r>
            <a:rPr lang="en-US" dirty="0">
              <a:latin typeface="Roboto Black" panose="02000000000000000000"/>
            </a:rPr>
            <a:t>TECHNOLOGY</a:t>
          </a:r>
          <a:endParaRPr lang="en-GB" dirty="0">
            <a:latin typeface="Roboto Black" panose="02000000000000000000"/>
          </a:endParaRPr>
        </a:p>
      </dgm:t>
    </dgm:pt>
    <dgm:pt modelId="{624AE7C8-A09D-4A2C-8F43-17C9A7B881D7}" type="parTrans" cxnId="{623CDF5C-E493-4D1E-B59E-8AB343B65059}">
      <dgm:prSet/>
      <dgm:spPr/>
      <dgm:t>
        <a:bodyPr/>
        <a:lstStyle/>
        <a:p>
          <a:endParaRPr lang="en-GB"/>
        </a:p>
      </dgm:t>
    </dgm:pt>
    <dgm:pt modelId="{7ECFC521-922A-4BB9-AA74-38AC23A7E412}" type="sibTrans" cxnId="{623CDF5C-E493-4D1E-B59E-8AB343B65059}">
      <dgm:prSet/>
      <dgm:spPr/>
      <dgm:t>
        <a:bodyPr/>
        <a:lstStyle/>
        <a:p>
          <a:endParaRPr lang="en-GB"/>
        </a:p>
      </dgm:t>
    </dgm:pt>
    <dgm:pt modelId="{C9AE2E49-3823-43FE-B9BC-BD312D3E5D7B}">
      <dgm:prSet/>
      <dgm:spPr/>
      <dgm:t>
        <a:bodyPr/>
        <a:lstStyle/>
        <a:p>
          <a:r>
            <a:rPr lang="en-US" dirty="0">
              <a:latin typeface="Roboto Black" panose="02000000000000000000"/>
            </a:rPr>
            <a:t>GOVERNANCE</a:t>
          </a:r>
          <a:endParaRPr lang="en-GB" dirty="0">
            <a:latin typeface="Roboto Black" panose="02000000000000000000"/>
          </a:endParaRPr>
        </a:p>
      </dgm:t>
    </dgm:pt>
    <dgm:pt modelId="{CE3170FB-67B3-4633-8FEE-82D4E9CF7851}" type="parTrans" cxnId="{4617AF86-5019-4ABC-AD8D-7EF3A0C125DC}">
      <dgm:prSet/>
      <dgm:spPr/>
      <dgm:t>
        <a:bodyPr/>
        <a:lstStyle/>
        <a:p>
          <a:endParaRPr lang="en-GB"/>
        </a:p>
      </dgm:t>
    </dgm:pt>
    <dgm:pt modelId="{4A7820A5-018D-4FF0-9271-9BF4310A7BFB}" type="sibTrans" cxnId="{4617AF86-5019-4ABC-AD8D-7EF3A0C125DC}">
      <dgm:prSet/>
      <dgm:spPr/>
      <dgm:t>
        <a:bodyPr/>
        <a:lstStyle/>
        <a:p>
          <a:endParaRPr lang="en-GB"/>
        </a:p>
      </dgm:t>
    </dgm:pt>
    <dgm:pt modelId="{E623E575-E69E-47D9-93F2-9092CDD93104}" type="pres">
      <dgm:prSet presAssocID="{FB7A30B6-F51C-43CF-8954-7FEE753F70C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DB99D6B0-1ED1-461A-AC3F-26F43BA4ED11}" type="pres">
      <dgm:prSet presAssocID="{9D42FF5A-680C-4666-8DBD-59684C009FAB}" presName="boxAndChildren" presStyleCnt="0"/>
      <dgm:spPr/>
    </dgm:pt>
    <dgm:pt modelId="{2173A7E6-755B-41FD-8ED1-A0D6D0532EEA}" type="pres">
      <dgm:prSet presAssocID="{9D42FF5A-680C-4666-8DBD-59684C009FAB}" presName="parentTextBox" presStyleLbl="node1" presStyleIdx="0" presStyleCnt="3" custScaleX="99970" custScaleY="57078"/>
      <dgm:spPr/>
      <dgm:t>
        <a:bodyPr/>
        <a:lstStyle/>
        <a:p>
          <a:endParaRPr lang="en-IN"/>
        </a:p>
      </dgm:t>
    </dgm:pt>
    <dgm:pt modelId="{1FD4A864-A018-4C23-8278-E97E41193DF9}" type="pres">
      <dgm:prSet presAssocID="{47376D1F-ECF8-4E9A-A8EF-C0B6DE886B60}" presName="sp" presStyleCnt="0"/>
      <dgm:spPr/>
    </dgm:pt>
    <dgm:pt modelId="{9549723E-4548-4AA0-9C72-6F913D6C5CD4}" type="pres">
      <dgm:prSet presAssocID="{ECEB3C3C-C391-4FAC-9447-5EACF6F52EC4}" presName="arrowAndChildren" presStyleCnt="0"/>
      <dgm:spPr/>
    </dgm:pt>
    <dgm:pt modelId="{20AD8F35-9542-47D3-8FA0-0800DF345F77}" type="pres">
      <dgm:prSet presAssocID="{ECEB3C3C-C391-4FAC-9447-5EACF6F52EC4}" presName="parentTextArrow" presStyleLbl="node1" presStyleIdx="0" presStyleCnt="3"/>
      <dgm:spPr/>
      <dgm:t>
        <a:bodyPr/>
        <a:lstStyle/>
        <a:p>
          <a:endParaRPr lang="en-IN"/>
        </a:p>
      </dgm:t>
    </dgm:pt>
    <dgm:pt modelId="{004E27C2-9DD9-4D30-BDC7-BA7DE7BF67DE}" type="pres">
      <dgm:prSet presAssocID="{ECEB3C3C-C391-4FAC-9447-5EACF6F52EC4}" presName="arrow" presStyleLbl="node1" presStyleIdx="1" presStyleCnt="3" custLinFactNeighborY="733"/>
      <dgm:spPr/>
      <dgm:t>
        <a:bodyPr/>
        <a:lstStyle/>
        <a:p>
          <a:endParaRPr lang="en-IN"/>
        </a:p>
      </dgm:t>
    </dgm:pt>
    <dgm:pt modelId="{467DA2CF-70B3-48B2-949B-B6B41CAD1C84}" type="pres">
      <dgm:prSet presAssocID="{ECEB3C3C-C391-4FAC-9447-5EACF6F52EC4}" presName="descendantArrow" presStyleCnt="0"/>
      <dgm:spPr/>
    </dgm:pt>
    <dgm:pt modelId="{7B9225DF-337D-49AA-8977-F6E456F4ACA8}" type="pres">
      <dgm:prSet presAssocID="{0D59A9F2-E189-45D8-B058-C00B1C3607F3}" presName="childTextArrow" presStyleLbl="fgAccFollowNode1" presStyleIdx="0" presStyleCnt="8" custLinFactNeighborY="24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A8DC358-9D64-44CA-B381-EA1D3C0E16F5}" type="pres">
      <dgm:prSet presAssocID="{CAD262FE-C072-438C-AE75-93CB4802D97E}" presName="childTextArrow" presStyleLbl="fgAccFollow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6069EBC-711F-4434-A83E-1C6AD900CDDD}" type="pres">
      <dgm:prSet presAssocID="{8D033B50-7FC3-4343-87B4-798941D0C06C}" presName="childTextArrow" presStyleLbl="fgAccFollow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6AC6236-FAD0-4435-9C7C-4E8A7231BA85}" type="pres">
      <dgm:prSet presAssocID="{12F646AB-2EC8-4D30-B056-1ACEC21E6BB8}" presName="childTextArrow" presStyleLbl="fgAccFollow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F748891-1D87-4D03-8A48-51B989A92510}" type="pres">
      <dgm:prSet presAssocID="{C9AE2E49-3823-43FE-B9BC-BD312D3E5D7B}" presName="childTextArrow" presStyleLbl="fgAccFollow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8DF4730-BE9F-4C8A-A804-1EF4137DCE75}" type="pres">
      <dgm:prSet presAssocID="{B16F98A9-7A8A-493D-B921-282224A5DE44}" presName="sp" presStyleCnt="0"/>
      <dgm:spPr/>
    </dgm:pt>
    <dgm:pt modelId="{C0FCE935-ED0C-4BF2-89F5-B7E9F9D26ED7}" type="pres">
      <dgm:prSet presAssocID="{3B99D0C1-32C9-4084-9156-2B4C1827761A}" presName="arrowAndChildren" presStyleCnt="0"/>
      <dgm:spPr/>
    </dgm:pt>
    <dgm:pt modelId="{228E56D8-7238-46DC-990E-6827AAF6751E}" type="pres">
      <dgm:prSet presAssocID="{3B99D0C1-32C9-4084-9156-2B4C1827761A}" presName="parentTextArrow" presStyleLbl="node1" presStyleIdx="1" presStyleCnt="3"/>
      <dgm:spPr/>
      <dgm:t>
        <a:bodyPr/>
        <a:lstStyle/>
        <a:p>
          <a:endParaRPr lang="en-IN"/>
        </a:p>
      </dgm:t>
    </dgm:pt>
    <dgm:pt modelId="{E751300A-E192-49FE-9FE1-01C87C0691C7}" type="pres">
      <dgm:prSet presAssocID="{3B99D0C1-32C9-4084-9156-2B4C1827761A}" presName="arrow" presStyleLbl="node1" presStyleIdx="2" presStyleCnt="3"/>
      <dgm:spPr/>
      <dgm:t>
        <a:bodyPr/>
        <a:lstStyle/>
        <a:p>
          <a:endParaRPr lang="en-IN"/>
        </a:p>
      </dgm:t>
    </dgm:pt>
    <dgm:pt modelId="{95FF3C06-9BD6-483D-A35C-2DB274A9364A}" type="pres">
      <dgm:prSet presAssocID="{3B99D0C1-32C9-4084-9156-2B4C1827761A}" presName="descendantArrow" presStyleCnt="0"/>
      <dgm:spPr/>
    </dgm:pt>
    <dgm:pt modelId="{52077E0A-2719-489D-8390-447EEBD01D83}" type="pres">
      <dgm:prSet presAssocID="{37C7875B-892D-41E8-8DA1-30685A54C81E}" presName="childTextArrow" presStyleLbl="fgAccFollowNode1" presStyleIdx="5" presStyleCnt="8" custLinFactNeighborY="24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18EE0CE-B441-4794-8698-174DE78B06EF}" type="pres">
      <dgm:prSet presAssocID="{AE259B7A-FEFD-4FE0-B01F-327B60DD8F9B}" presName="childTextArrow" presStyleLbl="fgAccFollowNode1" presStyleIdx="6" presStyleCnt="8" custLinFactNeighborY="24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B8DB631-ED49-4279-AE76-3BD002062DB0}" type="pres">
      <dgm:prSet presAssocID="{EC4B83EE-94B8-44DB-9245-11C86779721F}" presName="childTextArrow" presStyleLbl="fgAccFollowNode1" presStyleIdx="7" presStyleCnt="8" custLinFactNeighborY="2453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4617AF86-5019-4ABC-AD8D-7EF3A0C125DC}" srcId="{ECEB3C3C-C391-4FAC-9447-5EACF6F52EC4}" destId="{C9AE2E49-3823-43FE-B9BC-BD312D3E5D7B}" srcOrd="4" destOrd="0" parTransId="{CE3170FB-67B3-4633-8FEE-82D4E9CF7851}" sibTransId="{4A7820A5-018D-4FF0-9271-9BF4310A7BFB}"/>
    <dgm:cxn modelId="{F4B17023-78F8-4205-8B38-DD61F9510E09}" type="presOf" srcId="{8D033B50-7FC3-4343-87B4-798941D0C06C}" destId="{D6069EBC-711F-4434-A83E-1C6AD900CDDD}" srcOrd="0" destOrd="0" presId="urn:microsoft.com/office/officeart/2005/8/layout/process4"/>
    <dgm:cxn modelId="{1583CC86-EFBF-4195-8259-474BA7DF7A62}" type="presOf" srcId="{CAD262FE-C072-438C-AE75-93CB4802D97E}" destId="{1A8DC358-9D64-44CA-B381-EA1D3C0E16F5}" srcOrd="0" destOrd="0" presId="urn:microsoft.com/office/officeart/2005/8/layout/process4"/>
    <dgm:cxn modelId="{0C53C834-EA27-459B-BA41-996C1EC3BEA3}" srcId="{3B99D0C1-32C9-4084-9156-2B4C1827761A}" destId="{AE259B7A-FEFD-4FE0-B01F-327B60DD8F9B}" srcOrd="1" destOrd="0" parTransId="{BBE74020-C45B-48B7-9B9D-DE51FC510726}" sibTransId="{142D75FA-AA48-4385-B3D4-BAE5F0B7A3A8}"/>
    <dgm:cxn modelId="{0D93C316-8261-4C7E-ACAF-C78106596FF7}" type="presOf" srcId="{9D42FF5A-680C-4666-8DBD-59684C009FAB}" destId="{2173A7E6-755B-41FD-8ED1-A0D6D0532EEA}" srcOrd="0" destOrd="0" presId="urn:microsoft.com/office/officeart/2005/8/layout/process4"/>
    <dgm:cxn modelId="{008DE763-E5B2-409A-9C7C-81E39B78EAC1}" srcId="{3B99D0C1-32C9-4084-9156-2B4C1827761A}" destId="{37C7875B-892D-41E8-8DA1-30685A54C81E}" srcOrd="0" destOrd="0" parTransId="{029F99B3-B4B8-4A64-A9ED-4A92530F7826}" sibTransId="{E7978FCB-F3B1-4738-BF05-CF1F37B594E2}"/>
    <dgm:cxn modelId="{2B13FFCE-68BA-4EFA-8D48-4C66FBCE94B0}" srcId="{ECEB3C3C-C391-4FAC-9447-5EACF6F52EC4}" destId="{8D033B50-7FC3-4343-87B4-798941D0C06C}" srcOrd="2" destOrd="0" parTransId="{28725CC6-216E-429A-8D91-4E9475FCD518}" sibTransId="{ECC715DC-6B1D-4971-A629-B0EA08C020AF}"/>
    <dgm:cxn modelId="{154333AA-9296-4B81-9404-B847B8503C95}" type="presOf" srcId="{EC4B83EE-94B8-44DB-9245-11C86779721F}" destId="{CB8DB631-ED49-4279-AE76-3BD002062DB0}" srcOrd="0" destOrd="0" presId="urn:microsoft.com/office/officeart/2005/8/layout/process4"/>
    <dgm:cxn modelId="{55317C30-A61B-488F-9357-FDDBA0DC3D83}" type="presOf" srcId="{0D59A9F2-E189-45D8-B058-C00B1C3607F3}" destId="{7B9225DF-337D-49AA-8977-F6E456F4ACA8}" srcOrd="0" destOrd="0" presId="urn:microsoft.com/office/officeart/2005/8/layout/process4"/>
    <dgm:cxn modelId="{B28A4A13-912E-49AC-954E-C6B30C9A7ECD}" srcId="{3B99D0C1-32C9-4084-9156-2B4C1827761A}" destId="{EC4B83EE-94B8-44DB-9245-11C86779721F}" srcOrd="2" destOrd="0" parTransId="{2955732C-D45E-423D-A4F0-682F1F9CFE39}" sibTransId="{1F2D00A3-9C71-4836-A6B6-F634A450692E}"/>
    <dgm:cxn modelId="{60990FEF-798B-4520-9A83-8C142EE402F9}" type="presOf" srcId="{ECEB3C3C-C391-4FAC-9447-5EACF6F52EC4}" destId="{20AD8F35-9542-47D3-8FA0-0800DF345F77}" srcOrd="0" destOrd="0" presId="urn:microsoft.com/office/officeart/2005/8/layout/process4"/>
    <dgm:cxn modelId="{2D531FAC-FECC-4D0E-9C7C-7965DD0E5075}" type="presOf" srcId="{AE259B7A-FEFD-4FE0-B01F-327B60DD8F9B}" destId="{518EE0CE-B441-4794-8698-174DE78B06EF}" srcOrd="0" destOrd="0" presId="urn:microsoft.com/office/officeart/2005/8/layout/process4"/>
    <dgm:cxn modelId="{1FE8D01C-D4AE-476C-8C91-C33EC9931624}" srcId="{FB7A30B6-F51C-43CF-8954-7FEE753F70C3}" destId="{ECEB3C3C-C391-4FAC-9447-5EACF6F52EC4}" srcOrd="1" destOrd="0" parTransId="{CBA8270B-54B2-4A5D-BCB6-7C6E9BD70583}" sibTransId="{47376D1F-ECF8-4E9A-A8EF-C0B6DE886B60}"/>
    <dgm:cxn modelId="{780014AC-02D1-46B0-9CB1-8D877BF6319D}" type="presOf" srcId="{12F646AB-2EC8-4D30-B056-1ACEC21E6BB8}" destId="{B6AC6236-FAD0-4435-9C7C-4E8A7231BA85}" srcOrd="0" destOrd="0" presId="urn:microsoft.com/office/officeart/2005/8/layout/process4"/>
    <dgm:cxn modelId="{AFB92B7D-01CE-424D-A5E2-42941F38C3A4}" type="presOf" srcId="{C9AE2E49-3823-43FE-B9BC-BD312D3E5D7B}" destId="{0F748891-1D87-4D03-8A48-51B989A92510}" srcOrd="0" destOrd="0" presId="urn:microsoft.com/office/officeart/2005/8/layout/process4"/>
    <dgm:cxn modelId="{F46739F5-2A8E-4494-AB5C-FCDFB8379BB9}" type="presOf" srcId="{ECEB3C3C-C391-4FAC-9447-5EACF6F52EC4}" destId="{004E27C2-9DD9-4D30-BDC7-BA7DE7BF67DE}" srcOrd="1" destOrd="0" presId="urn:microsoft.com/office/officeart/2005/8/layout/process4"/>
    <dgm:cxn modelId="{05F6D5E5-1999-4630-BA19-2049FEF3ED2A}" type="presOf" srcId="{37C7875B-892D-41E8-8DA1-30685A54C81E}" destId="{52077E0A-2719-489D-8390-447EEBD01D83}" srcOrd="0" destOrd="0" presId="urn:microsoft.com/office/officeart/2005/8/layout/process4"/>
    <dgm:cxn modelId="{CB53AC12-03F8-4079-9E08-D1ADFC9D8F4A}" type="presOf" srcId="{3B99D0C1-32C9-4084-9156-2B4C1827761A}" destId="{E751300A-E192-49FE-9FE1-01C87C0691C7}" srcOrd="1" destOrd="0" presId="urn:microsoft.com/office/officeart/2005/8/layout/process4"/>
    <dgm:cxn modelId="{96CF3371-16AC-4BF7-A336-E72FA0CDFEA8}" type="presOf" srcId="{FB7A30B6-F51C-43CF-8954-7FEE753F70C3}" destId="{E623E575-E69E-47D9-93F2-9092CDD93104}" srcOrd="0" destOrd="0" presId="urn:microsoft.com/office/officeart/2005/8/layout/process4"/>
    <dgm:cxn modelId="{C19CF7D0-AD90-434C-8144-2DFC6E89E2B8}" srcId="{ECEB3C3C-C391-4FAC-9447-5EACF6F52EC4}" destId="{CAD262FE-C072-438C-AE75-93CB4802D97E}" srcOrd="1" destOrd="0" parTransId="{A75DD5EE-5264-4EAA-A370-371A0510D8F4}" sibTransId="{631894CA-4EE4-4F0C-95C5-73ADB2860DD9}"/>
    <dgm:cxn modelId="{92BC7344-0668-4539-A83B-27C2341390E2}" srcId="{FB7A30B6-F51C-43CF-8954-7FEE753F70C3}" destId="{3B99D0C1-32C9-4084-9156-2B4C1827761A}" srcOrd="0" destOrd="0" parTransId="{F7ADD6A3-FD58-4CEB-A807-631A9CB5D1E9}" sibTransId="{B16F98A9-7A8A-493D-B921-282224A5DE44}"/>
    <dgm:cxn modelId="{534AF0B9-53B0-4E4E-9661-B49F9AA9E447}" type="presOf" srcId="{3B99D0C1-32C9-4084-9156-2B4C1827761A}" destId="{228E56D8-7238-46DC-990E-6827AAF6751E}" srcOrd="0" destOrd="0" presId="urn:microsoft.com/office/officeart/2005/8/layout/process4"/>
    <dgm:cxn modelId="{623CDF5C-E493-4D1E-B59E-8AB343B65059}" srcId="{ECEB3C3C-C391-4FAC-9447-5EACF6F52EC4}" destId="{12F646AB-2EC8-4D30-B056-1ACEC21E6BB8}" srcOrd="3" destOrd="0" parTransId="{624AE7C8-A09D-4A2C-8F43-17C9A7B881D7}" sibTransId="{7ECFC521-922A-4BB9-AA74-38AC23A7E412}"/>
    <dgm:cxn modelId="{CACE02D6-E6AD-46AC-996F-B29EBA0EE382}" srcId="{FB7A30B6-F51C-43CF-8954-7FEE753F70C3}" destId="{9D42FF5A-680C-4666-8DBD-59684C009FAB}" srcOrd="2" destOrd="0" parTransId="{F46F147D-3A92-4B0D-9139-4E8D4C855913}" sibTransId="{46BCBEED-86A2-432D-8403-A1E072F0F4F7}"/>
    <dgm:cxn modelId="{410B6E80-3C5B-4D62-8B42-A3193401AF33}" srcId="{ECEB3C3C-C391-4FAC-9447-5EACF6F52EC4}" destId="{0D59A9F2-E189-45D8-B058-C00B1C3607F3}" srcOrd="0" destOrd="0" parTransId="{D970483B-16AE-49F2-A0D0-0861ED0FDE69}" sibTransId="{902A68FD-740B-4524-92E6-65BD768922AD}"/>
    <dgm:cxn modelId="{F0120589-D25B-4A8B-8C5E-BA5ECBA7E639}" type="presParOf" srcId="{E623E575-E69E-47D9-93F2-9092CDD93104}" destId="{DB99D6B0-1ED1-461A-AC3F-26F43BA4ED11}" srcOrd="0" destOrd="0" presId="urn:microsoft.com/office/officeart/2005/8/layout/process4"/>
    <dgm:cxn modelId="{12EE6BE1-5DC8-4844-9E9C-EDB5B05DC444}" type="presParOf" srcId="{DB99D6B0-1ED1-461A-AC3F-26F43BA4ED11}" destId="{2173A7E6-755B-41FD-8ED1-A0D6D0532EEA}" srcOrd="0" destOrd="0" presId="urn:microsoft.com/office/officeart/2005/8/layout/process4"/>
    <dgm:cxn modelId="{27A29EC8-FB12-4A7A-8521-EB34A813C906}" type="presParOf" srcId="{E623E575-E69E-47D9-93F2-9092CDD93104}" destId="{1FD4A864-A018-4C23-8278-E97E41193DF9}" srcOrd="1" destOrd="0" presId="urn:microsoft.com/office/officeart/2005/8/layout/process4"/>
    <dgm:cxn modelId="{D4BD91BC-2603-450D-B230-3AB0C181C006}" type="presParOf" srcId="{E623E575-E69E-47D9-93F2-9092CDD93104}" destId="{9549723E-4548-4AA0-9C72-6F913D6C5CD4}" srcOrd="2" destOrd="0" presId="urn:microsoft.com/office/officeart/2005/8/layout/process4"/>
    <dgm:cxn modelId="{9FBB6CF0-9D77-4DAA-80AC-94E06013117D}" type="presParOf" srcId="{9549723E-4548-4AA0-9C72-6F913D6C5CD4}" destId="{20AD8F35-9542-47D3-8FA0-0800DF345F77}" srcOrd="0" destOrd="0" presId="urn:microsoft.com/office/officeart/2005/8/layout/process4"/>
    <dgm:cxn modelId="{CD017870-5B81-4AAF-9CD6-130849F97D3A}" type="presParOf" srcId="{9549723E-4548-4AA0-9C72-6F913D6C5CD4}" destId="{004E27C2-9DD9-4D30-BDC7-BA7DE7BF67DE}" srcOrd="1" destOrd="0" presId="urn:microsoft.com/office/officeart/2005/8/layout/process4"/>
    <dgm:cxn modelId="{5A862B47-0FE4-4164-9E55-25677579BBA7}" type="presParOf" srcId="{9549723E-4548-4AA0-9C72-6F913D6C5CD4}" destId="{467DA2CF-70B3-48B2-949B-B6B41CAD1C84}" srcOrd="2" destOrd="0" presId="urn:microsoft.com/office/officeart/2005/8/layout/process4"/>
    <dgm:cxn modelId="{4FE2E778-6B06-411C-9F1E-760BE19523D7}" type="presParOf" srcId="{467DA2CF-70B3-48B2-949B-B6B41CAD1C84}" destId="{7B9225DF-337D-49AA-8977-F6E456F4ACA8}" srcOrd="0" destOrd="0" presId="urn:microsoft.com/office/officeart/2005/8/layout/process4"/>
    <dgm:cxn modelId="{8830B238-6C5F-4A3F-AD4E-996ECF748C55}" type="presParOf" srcId="{467DA2CF-70B3-48B2-949B-B6B41CAD1C84}" destId="{1A8DC358-9D64-44CA-B381-EA1D3C0E16F5}" srcOrd="1" destOrd="0" presId="urn:microsoft.com/office/officeart/2005/8/layout/process4"/>
    <dgm:cxn modelId="{F784F19D-9782-4A7F-8928-ACC7411A5D9F}" type="presParOf" srcId="{467DA2CF-70B3-48B2-949B-B6B41CAD1C84}" destId="{D6069EBC-711F-4434-A83E-1C6AD900CDDD}" srcOrd="2" destOrd="0" presId="urn:microsoft.com/office/officeart/2005/8/layout/process4"/>
    <dgm:cxn modelId="{C5ABFB3D-9D2D-4FAF-A19A-3186A96898A3}" type="presParOf" srcId="{467DA2CF-70B3-48B2-949B-B6B41CAD1C84}" destId="{B6AC6236-FAD0-4435-9C7C-4E8A7231BA85}" srcOrd="3" destOrd="0" presId="urn:microsoft.com/office/officeart/2005/8/layout/process4"/>
    <dgm:cxn modelId="{A5801456-A196-41A8-972E-E6BECD20D255}" type="presParOf" srcId="{467DA2CF-70B3-48B2-949B-B6B41CAD1C84}" destId="{0F748891-1D87-4D03-8A48-51B989A92510}" srcOrd="4" destOrd="0" presId="urn:microsoft.com/office/officeart/2005/8/layout/process4"/>
    <dgm:cxn modelId="{A2D84125-82CF-4432-AAA9-164F06552F24}" type="presParOf" srcId="{E623E575-E69E-47D9-93F2-9092CDD93104}" destId="{48DF4730-BE9F-4C8A-A804-1EF4137DCE75}" srcOrd="3" destOrd="0" presId="urn:microsoft.com/office/officeart/2005/8/layout/process4"/>
    <dgm:cxn modelId="{7B51CF3A-899D-43DF-B7DA-D424092CA7D0}" type="presParOf" srcId="{E623E575-E69E-47D9-93F2-9092CDD93104}" destId="{C0FCE935-ED0C-4BF2-89F5-B7E9F9D26ED7}" srcOrd="4" destOrd="0" presId="urn:microsoft.com/office/officeart/2005/8/layout/process4"/>
    <dgm:cxn modelId="{A3BBA15B-DBEC-45F5-A4E1-5A515520C1B9}" type="presParOf" srcId="{C0FCE935-ED0C-4BF2-89F5-B7E9F9D26ED7}" destId="{228E56D8-7238-46DC-990E-6827AAF6751E}" srcOrd="0" destOrd="0" presId="urn:microsoft.com/office/officeart/2005/8/layout/process4"/>
    <dgm:cxn modelId="{6D9B5534-287E-4A38-BA18-2B693BA0DEEE}" type="presParOf" srcId="{C0FCE935-ED0C-4BF2-89F5-B7E9F9D26ED7}" destId="{E751300A-E192-49FE-9FE1-01C87C0691C7}" srcOrd="1" destOrd="0" presId="urn:microsoft.com/office/officeart/2005/8/layout/process4"/>
    <dgm:cxn modelId="{76C586CF-F4B8-40A3-BE87-63A9D1DE5F27}" type="presParOf" srcId="{C0FCE935-ED0C-4BF2-89F5-B7E9F9D26ED7}" destId="{95FF3C06-9BD6-483D-A35C-2DB274A9364A}" srcOrd="2" destOrd="0" presId="urn:microsoft.com/office/officeart/2005/8/layout/process4"/>
    <dgm:cxn modelId="{F45FAF5E-C350-4CCF-B3BB-594D72C45551}" type="presParOf" srcId="{95FF3C06-9BD6-483D-A35C-2DB274A9364A}" destId="{52077E0A-2719-489D-8390-447EEBD01D83}" srcOrd="0" destOrd="0" presId="urn:microsoft.com/office/officeart/2005/8/layout/process4"/>
    <dgm:cxn modelId="{90891914-8756-4CD9-B404-663FF634BE9B}" type="presParOf" srcId="{95FF3C06-9BD6-483D-A35C-2DB274A9364A}" destId="{518EE0CE-B441-4794-8698-174DE78B06EF}" srcOrd="1" destOrd="0" presId="urn:microsoft.com/office/officeart/2005/8/layout/process4"/>
    <dgm:cxn modelId="{8F4B5E91-6497-467B-A79E-010AD9C7B238}" type="presParOf" srcId="{95FF3C06-9BD6-483D-A35C-2DB274A9364A}" destId="{CB8DB631-ED49-4279-AE76-3BD002062DB0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B7A30B6-F51C-43CF-8954-7FEE753F70C3}" type="doc">
      <dgm:prSet loTypeId="urn:microsoft.com/office/officeart/2005/8/layout/process4" loCatId="process" qsTypeId="urn:microsoft.com/office/officeart/2005/8/quickstyle/3d3" qsCatId="3D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3B99D0C1-32C9-4084-9156-2B4C1827761A}">
      <dgm:prSet phldrT="[Text]"/>
      <dgm:spPr>
        <a:solidFill>
          <a:srgbClr val="379BB3"/>
        </a:solidFill>
      </dgm:spPr>
      <dgm:t>
        <a:bodyPr/>
        <a:lstStyle/>
        <a:p>
          <a:r>
            <a:rPr lang="en-US" dirty="0"/>
            <a:t>MISSION PROJECTS</a:t>
          </a:r>
          <a:endParaRPr lang="en-GB" dirty="0"/>
        </a:p>
      </dgm:t>
    </dgm:pt>
    <dgm:pt modelId="{F7ADD6A3-FD58-4CEB-A807-631A9CB5D1E9}" type="parTrans" cxnId="{92BC7344-0668-4539-A83B-27C2341390E2}">
      <dgm:prSet/>
      <dgm:spPr/>
      <dgm:t>
        <a:bodyPr/>
        <a:lstStyle/>
        <a:p>
          <a:endParaRPr lang="en-GB"/>
        </a:p>
      </dgm:t>
    </dgm:pt>
    <dgm:pt modelId="{B16F98A9-7A8A-493D-B921-282224A5DE44}" type="sibTrans" cxnId="{92BC7344-0668-4539-A83B-27C2341390E2}">
      <dgm:prSet/>
      <dgm:spPr/>
      <dgm:t>
        <a:bodyPr/>
        <a:lstStyle/>
        <a:p>
          <a:endParaRPr lang="en-GB"/>
        </a:p>
      </dgm:t>
    </dgm:pt>
    <dgm:pt modelId="{37C7875B-892D-41E8-8DA1-30685A54C81E}">
      <dgm:prSet phldrT="[Text]"/>
      <dgm:spPr/>
      <dgm:t>
        <a:bodyPr/>
        <a:lstStyle/>
        <a:p>
          <a:r>
            <a:rPr lang="en-US" dirty="0"/>
            <a:t>QUALITY OF LIFE</a:t>
          </a:r>
          <a:endParaRPr lang="en-GB" dirty="0"/>
        </a:p>
      </dgm:t>
    </dgm:pt>
    <dgm:pt modelId="{029F99B3-B4B8-4A64-A9ED-4A92530F7826}" type="parTrans" cxnId="{008DE763-E5B2-409A-9C7C-81E39B78EAC1}">
      <dgm:prSet/>
      <dgm:spPr/>
      <dgm:t>
        <a:bodyPr/>
        <a:lstStyle/>
        <a:p>
          <a:endParaRPr lang="en-GB"/>
        </a:p>
      </dgm:t>
    </dgm:pt>
    <dgm:pt modelId="{E7978FCB-F3B1-4738-BF05-CF1F37B594E2}" type="sibTrans" cxnId="{008DE763-E5B2-409A-9C7C-81E39B78EAC1}">
      <dgm:prSet/>
      <dgm:spPr/>
      <dgm:t>
        <a:bodyPr/>
        <a:lstStyle/>
        <a:p>
          <a:endParaRPr lang="en-GB"/>
        </a:p>
      </dgm:t>
    </dgm:pt>
    <dgm:pt modelId="{AE259B7A-FEFD-4FE0-B01F-327B60DD8F9B}">
      <dgm:prSet phldrT="[Text]"/>
      <dgm:spPr/>
      <dgm:t>
        <a:bodyPr/>
        <a:lstStyle/>
        <a:p>
          <a:r>
            <a:rPr lang="en-US" dirty="0"/>
            <a:t>ECONOMIC ABILITY</a:t>
          </a:r>
          <a:endParaRPr lang="en-GB" dirty="0"/>
        </a:p>
      </dgm:t>
    </dgm:pt>
    <dgm:pt modelId="{BBE74020-C45B-48B7-9B9D-DE51FC510726}" type="parTrans" cxnId="{0C53C834-EA27-459B-BA41-996C1EC3BEA3}">
      <dgm:prSet/>
      <dgm:spPr/>
      <dgm:t>
        <a:bodyPr/>
        <a:lstStyle/>
        <a:p>
          <a:endParaRPr lang="en-GB"/>
        </a:p>
      </dgm:t>
    </dgm:pt>
    <dgm:pt modelId="{142D75FA-AA48-4385-B3D4-BAE5F0B7A3A8}" type="sibTrans" cxnId="{0C53C834-EA27-459B-BA41-996C1EC3BEA3}">
      <dgm:prSet/>
      <dgm:spPr/>
      <dgm:t>
        <a:bodyPr/>
        <a:lstStyle/>
        <a:p>
          <a:endParaRPr lang="en-GB"/>
        </a:p>
      </dgm:t>
    </dgm:pt>
    <dgm:pt modelId="{ECEB3C3C-C391-4FAC-9447-5EACF6F52EC4}">
      <dgm:prSet phldrT="[Text]"/>
      <dgm:spPr>
        <a:solidFill>
          <a:srgbClr val="113037"/>
        </a:solidFill>
      </dgm:spPr>
      <dgm:t>
        <a:bodyPr/>
        <a:lstStyle/>
        <a:p>
          <a:r>
            <a:rPr lang="en-US" dirty="0"/>
            <a:t>SMART CITIES</a:t>
          </a:r>
          <a:endParaRPr lang="en-GB" dirty="0"/>
        </a:p>
      </dgm:t>
    </dgm:pt>
    <dgm:pt modelId="{CBA8270B-54B2-4A5D-BCB6-7C6E9BD70583}" type="parTrans" cxnId="{1FE8D01C-D4AE-476C-8C91-C33EC9931624}">
      <dgm:prSet/>
      <dgm:spPr/>
      <dgm:t>
        <a:bodyPr/>
        <a:lstStyle/>
        <a:p>
          <a:endParaRPr lang="en-GB"/>
        </a:p>
      </dgm:t>
    </dgm:pt>
    <dgm:pt modelId="{47376D1F-ECF8-4E9A-A8EF-C0B6DE886B60}" type="sibTrans" cxnId="{1FE8D01C-D4AE-476C-8C91-C33EC9931624}">
      <dgm:prSet/>
      <dgm:spPr/>
      <dgm:t>
        <a:bodyPr/>
        <a:lstStyle/>
        <a:p>
          <a:endParaRPr lang="en-GB"/>
        </a:p>
      </dgm:t>
    </dgm:pt>
    <dgm:pt modelId="{0D59A9F2-E189-45D8-B058-C00B1C3607F3}">
      <dgm:prSet phldrT="[Text]"/>
      <dgm:spPr/>
      <dgm:t>
        <a:bodyPr/>
        <a:lstStyle/>
        <a:p>
          <a:r>
            <a:rPr lang="en-US" dirty="0"/>
            <a:t>SERVICES</a:t>
          </a:r>
          <a:endParaRPr lang="en-GB" dirty="0"/>
        </a:p>
      </dgm:t>
    </dgm:pt>
    <dgm:pt modelId="{D970483B-16AE-49F2-A0D0-0861ED0FDE69}" type="parTrans" cxnId="{410B6E80-3C5B-4D62-8B42-A3193401AF33}">
      <dgm:prSet/>
      <dgm:spPr/>
      <dgm:t>
        <a:bodyPr/>
        <a:lstStyle/>
        <a:p>
          <a:endParaRPr lang="en-GB"/>
        </a:p>
      </dgm:t>
    </dgm:pt>
    <dgm:pt modelId="{902A68FD-740B-4524-92E6-65BD768922AD}" type="sibTrans" cxnId="{410B6E80-3C5B-4D62-8B42-A3193401AF33}">
      <dgm:prSet/>
      <dgm:spPr/>
      <dgm:t>
        <a:bodyPr/>
        <a:lstStyle/>
        <a:p>
          <a:endParaRPr lang="en-GB"/>
        </a:p>
      </dgm:t>
    </dgm:pt>
    <dgm:pt modelId="{CAD262FE-C072-438C-AE75-93CB4802D97E}">
      <dgm:prSet phldrT="[Text]"/>
      <dgm:spPr/>
      <dgm:t>
        <a:bodyPr/>
        <a:lstStyle/>
        <a:p>
          <a:r>
            <a:rPr lang="en-US" dirty="0"/>
            <a:t>FINANACE</a:t>
          </a:r>
          <a:endParaRPr lang="en-GB" dirty="0"/>
        </a:p>
      </dgm:t>
    </dgm:pt>
    <dgm:pt modelId="{A75DD5EE-5264-4EAA-A370-371A0510D8F4}" type="parTrans" cxnId="{C19CF7D0-AD90-434C-8144-2DFC6E89E2B8}">
      <dgm:prSet/>
      <dgm:spPr/>
      <dgm:t>
        <a:bodyPr/>
        <a:lstStyle/>
        <a:p>
          <a:endParaRPr lang="en-GB"/>
        </a:p>
      </dgm:t>
    </dgm:pt>
    <dgm:pt modelId="{631894CA-4EE4-4F0C-95C5-73ADB2860DD9}" type="sibTrans" cxnId="{C19CF7D0-AD90-434C-8144-2DFC6E89E2B8}">
      <dgm:prSet/>
      <dgm:spPr/>
      <dgm:t>
        <a:bodyPr/>
        <a:lstStyle/>
        <a:p>
          <a:endParaRPr lang="en-GB"/>
        </a:p>
      </dgm:t>
    </dgm:pt>
    <dgm:pt modelId="{9D42FF5A-680C-4666-8DBD-59684C009FAB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4400" b="1" dirty="0"/>
            <a:t>DATA</a:t>
          </a:r>
          <a:endParaRPr lang="en-GB" sz="4400" b="1" dirty="0"/>
        </a:p>
      </dgm:t>
    </dgm:pt>
    <dgm:pt modelId="{F46F147D-3A92-4B0D-9139-4E8D4C855913}" type="parTrans" cxnId="{CACE02D6-E6AD-46AC-996F-B29EBA0EE382}">
      <dgm:prSet/>
      <dgm:spPr/>
      <dgm:t>
        <a:bodyPr/>
        <a:lstStyle/>
        <a:p>
          <a:endParaRPr lang="en-GB"/>
        </a:p>
      </dgm:t>
    </dgm:pt>
    <dgm:pt modelId="{46BCBEED-86A2-432D-8403-A1E072F0F4F7}" type="sibTrans" cxnId="{CACE02D6-E6AD-46AC-996F-B29EBA0EE382}">
      <dgm:prSet/>
      <dgm:spPr/>
      <dgm:t>
        <a:bodyPr/>
        <a:lstStyle/>
        <a:p>
          <a:endParaRPr lang="en-GB"/>
        </a:p>
      </dgm:t>
    </dgm:pt>
    <dgm:pt modelId="{EC4B83EE-94B8-44DB-9245-11C86779721F}">
      <dgm:prSet/>
      <dgm:spPr/>
      <dgm:t>
        <a:bodyPr/>
        <a:lstStyle/>
        <a:p>
          <a:r>
            <a:rPr lang="en-US" dirty="0"/>
            <a:t>SUSTAINABILITY</a:t>
          </a:r>
          <a:endParaRPr lang="en-GB" dirty="0"/>
        </a:p>
      </dgm:t>
    </dgm:pt>
    <dgm:pt modelId="{2955732C-D45E-423D-A4F0-682F1F9CFE39}" type="parTrans" cxnId="{B28A4A13-912E-49AC-954E-C6B30C9A7ECD}">
      <dgm:prSet/>
      <dgm:spPr/>
      <dgm:t>
        <a:bodyPr/>
        <a:lstStyle/>
        <a:p>
          <a:endParaRPr lang="en-GB"/>
        </a:p>
      </dgm:t>
    </dgm:pt>
    <dgm:pt modelId="{1F2D00A3-9C71-4836-A6B6-F634A450692E}" type="sibTrans" cxnId="{B28A4A13-912E-49AC-954E-C6B30C9A7ECD}">
      <dgm:prSet/>
      <dgm:spPr/>
      <dgm:t>
        <a:bodyPr/>
        <a:lstStyle/>
        <a:p>
          <a:endParaRPr lang="en-GB"/>
        </a:p>
      </dgm:t>
    </dgm:pt>
    <dgm:pt modelId="{8D033B50-7FC3-4343-87B4-798941D0C06C}">
      <dgm:prSet/>
      <dgm:spPr/>
      <dgm:t>
        <a:bodyPr/>
        <a:lstStyle/>
        <a:p>
          <a:r>
            <a:rPr lang="en-US" dirty="0"/>
            <a:t>PLANNING</a:t>
          </a:r>
          <a:endParaRPr lang="en-GB" dirty="0"/>
        </a:p>
      </dgm:t>
    </dgm:pt>
    <dgm:pt modelId="{28725CC6-216E-429A-8D91-4E9475FCD518}" type="parTrans" cxnId="{2B13FFCE-68BA-4EFA-8D48-4C66FBCE94B0}">
      <dgm:prSet/>
      <dgm:spPr/>
      <dgm:t>
        <a:bodyPr/>
        <a:lstStyle/>
        <a:p>
          <a:endParaRPr lang="en-GB"/>
        </a:p>
      </dgm:t>
    </dgm:pt>
    <dgm:pt modelId="{ECC715DC-6B1D-4971-A629-B0EA08C020AF}" type="sibTrans" cxnId="{2B13FFCE-68BA-4EFA-8D48-4C66FBCE94B0}">
      <dgm:prSet/>
      <dgm:spPr/>
      <dgm:t>
        <a:bodyPr/>
        <a:lstStyle/>
        <a:p>
          <a:endParaRPr lang="en-GB"/>
        </a:p>
      </dgm:t>
    </dgm:pt>
    <dgm:pt modelId="{12F646AB-2EC8-4D30-B056-1ACEC21E6BB8}">
      <dgm:prSet/>
      <dgm:spPr/>
      <dgm:t>
        <a:bodyPr/>
        <a:lstStyle/>
        <a:p>
          <a:r>
            <a:rPr lang="en-US" dirty="0"/>
            <a:t>TECHNOLOGY</a:t>
          </a:r>
          <a:endParaRPr lang="en-GB" dirty="0"/>
        </a:p>
      </dgm:t>
    </dgm:pt>
    <dgm:pt modelId="{624AE7C8-A09D-4A2C-8F43-17C9A7B881D7}" type="parTrans" cxnId="{623CDF5C-E493-4D1E-B59E-8AB343B65059}">
      <dgm:prSet/>
      <dgm:spPr/>
      <dgm:t>
        <a:bodyPr/>
        <a:lstStyle/>
        <a:p>
          <a:endParaRPr lang="en-GB"/>
        </a:p>
      </dgm:t>
    </dgm:pt>
    <dgm:pt modelId="{7ECFC521-922A-4BB9-AA74-38AC23A7E412}" type="sibTrans" cxnId="{623CDF5C-E493-4D1E-B59E-8AB343B65059}">
      <dgm:prSet/>
      <dgm:spPr/>
      <dgm:t>
        <a:bodyPr/>
        <a:lstStyle/>
        <a:p>
          <a:endParaRPr lang="en-GB"/>
        </a:p>
      </dgm:t>
    </dgm:pt>
    <dgm:pt modelId="{C9AE2E49-3823-43FE-B9BC-BD312D3E5D7B}">
      <dgm:prSet/>
      <dgm:spPr/>
      <dgm:t>
        <a:bodyPr/>
        <a:lstStyle/>
        <a:p>
          <a:r>
            <a:rPr lang="en-US" dirty="0"/>
            <a:t>GOVERNANCE</a:t>
          </a:r>
          <a:endParaRPr lang="en-GB" dirty="0"/>
        </a:p>
      </dgm:t>
    </dgm:pt>
    <dgm:pt modelId="{CE3170FB-67B3-4633-8FEE-82D4E9CF7851}" type="parTrans" cxnId="{4617AF86-5019-4ABC-AD8D-7EF3A0C125DC}">
      <dgm:prSet/>
      <dgm:spPr/>
      <dgm:t>
        <a:bodyPr/>
        <a:lstStyle/>
        <a:p>
          <a:endParaRPr lang="en-GB"/>
        </a:p>
      </dgm:t>
    </dgm:pt>
    <dgm:pt modelId="{4A7820A5-018D-4FF0-9271-9BF4310A7BFB}" type="sibTrans" cxnId="{4617AF86-5019-4ABC-AD8D-7EF3A0C125DC}">
      <dgm:prSet/>
      <dgm:spPr/>
      <dgm:t>
        <a:bodyPr/>
        <a:lstStyle/>
        <a:p>
          <a:endParaRPr lang="en-GB"/>
        </a:p>
      </dgm:t>
    </dgm:pt>
    <dgm:pt modelId="{E623E575-E69E-47D9-93F2-9092CDD93104}" type="pres">
      <dgm:prSet presAssocID="{FB7A30B6-F51C-43CF-8954-7FEE753F70C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IN"/>
        </a:p>
      </dgm:t>
    </dgm:pt>
    <dgm:pt modelId="{DB99D6B0-1ED1-461A-AC3F-26F43BA4ED11}" type="pres">
      <dgm:prSet presAssocID="{9D42FF5A-680C-4666-8DBD-59684C009FAB}" presName="boxAndChildren" presStyleCnt="0"/>
      <dgm:spPr/>
    </dgm:pt>
    <dgm:pt modelId="{2173A7E6-755B-41FD-8ED1-A0D6D0532EEA}" type="pres">
      <dgm:prSet presAssocID="{9D42FF5A-680C-4666-8DBD-59684C009FAB}" presName="parentTextBox" presStyleLbl="node1" presStyleIdx="0" presStyleCnt="3" custScaleX="99970" custScaleY="57078"/>
      <dgm:spPr/>
      <dgm:t>
        <a:bodyPr/>
        <a:lstStyle/>
        <a:p>
          <a:endParaRPr lang="en-IN"/>
        </a:p>
      </dgm:t>
    </dgm:pt>
    <dgm:pt modelId="{1FD4A864-A018-4C23-8278-E97E41193DF9}" type="pres">
      <dgm:prSet presAssocID="{47376D1F-ECF8-4E9A-A8EF-C0B6DE886B60}" presName="sp" presStyleCnt="0"/>
      <dgm:spPr/>
    </dgm:pt>
    <dgm:pt modelId="{9549723E-4548-4AA0-9C72-6F913D6C5CD4}" type="pres">
      <dgm:prSet presAssocID="{ECEB3C3C-C391-4FAC-9447-5EACF6F52EC4}" presName="arrowAndChildren" presStyleCnt="0"/>
      <dgm:spPr/>
    </dgm:pt>
    <dgm:pt modelId="{20AD8F35-9542-47D3-8FA0-0800DF345F77}" type="pres">
      <dgm:prSet presAssocID="{ECEB3C3C-C391-4FAC-9447-5EACF6F52EC4}" presName="parentTextArrow" presStyleLbl="node1" presStyleIdx="0" presStyleCnt="3"/>
      <dgm:spPr/>
      <dgm:t>
        <a:bodyPr/>
        <a:lstStyle/>
        <a:p>
          <a:endParaRPr lang="en-IN"/>
        </a:p>
      </dgm:t>
    </dgm:pt>
    <dgm:pt modelId="{004E27C2-9DD9-4D30-BDC7-BA7DE7BF67DE}" type="pres">
      <dgm:prSet presAssocID="{ECEB3C3C-C391-4FAC-9447-5EACF6F52EC4}" presName="arrow" presStyleLbl="node1" presStyleIdx="1" presStyleCnt="3"/>
      <dgm:spPr/>
      <dgm:t>
        <a:bodyPr/>
        <a:lstStyle/>
        <a:p>
          <a:endParaRPr lang="en-IN"/>
        </a:p>
      </dgm:t>
    </dgm:pt>
    <dgm:pt modelId="{467DA2CF-70B3-48B2-949B-B6B41CAD1C84}" type="pres">
      <dgm:prSet presAssocID="{ECEB3C3C-C391-4FAC-9447-5EACF6F52EC4}" presName="descendantArrow" presStyleCnt="0"/>
      <dgm:spPr/>
    </dgm:pt>
    <dgm:pt modelId="{7B9225DF-337D-49AA-8977-F6E456F4ACA8}" type="pres">
      <dgm:prSet presAssocID="{0D59A9F2-E189-45D8-B058-C00B1C3607F3}" presName="childTextArrow" presStyleLbl="fgAccFollow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1A8DC358-9D64-44CA-B381-EA1D3C0E16F5}" type="pres">
      <dgm:prSet presAssocID="{CAD262FE-C072-438C-AE75-93CB4802D97E}" presName="childTextArrow" presStyleLbl="fgAccFollow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D6069EBC-711F-4434-A83E-1C6AD900CDDD}" type="pres">
      <dgm:prSet presAssocID="{8D033B50-7FC3-4343-87B4-798941D0C06C}" presName="childTextArrow" presStyleLbl="fgAccFollow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B6AC6236-FAD0-4435-9C7C-4E8A7231BA85}" type="pres">
      <dgm:prSet presAssocID="{12F646AB-2EC8-4D30-B056-1ACEC21E6BB8}" presName="childTextArrow" presStyleLbl="fgAccFollow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0F748891-1D87-4D03-8A48-51B989A92510}" type="pres">
      <dgm:prSet presAssocID="{C9AE2E49-3823-43FE-B9BC-BD312D3E5D7B}" presName="childTextArrow" presStyleLbl="fgAccFollow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48DF4730-BE9F-4C8A-A804-1EF4137DCE75}" type="pres">
      <dgm:prSet presAssocID="{B16F98A9-7A8A-493D-B921-282224A5DE44}" presName="sp" presStyleCnt="0"/>
      <dgm:spPr/>
    </dgm:pt>
    <dgm:pt modelId="{C0FCE935-ED0C-4BF2-89F5-B7E9F9D26ED7}" type="pres">
      <dgm:prSet presAssocID="{3B99D0C1-32C9-4084-9156-2B4C1827761A}" presName="arrowAndChildren" presStyleCnt="0"/>
      <dgm:spPr/>
    </dgm:pt>
    <dgm:pt modelId="{228E56D8-7238-46DC-990E-6827AAF6751E}" type="pres">
      <dgm:prSet presAssocID="{3B99D0C1-32C9-4084-9156-2B4C1827761A}" presName="parentTextArrow" presStyleLbl="node1" presStyleIdx="1" presStyleCnt="3"/>
      <dgm:spPr/>
      <dgm:t>
        <a:bodyPr/>
        <a:lstStyle/>
        <a:p>
          <a:endParaRPr lang="en-IN"/>
        </a:p>
      </dgm:t>
    </dgm:pt>
    <dgm:pt modelId="{E751300A-E192-49FE-9FE1-01C87C0691C7}" type="pres">
      <dgm:prSet presAssocID="{3B99D0C1-32C9-4084-9156-2B4C1827761A}" presName="arrow" presStyleLbl="node1" presStyleIdx="2" presStyleCnt="3"/>
      <dgm:spPr/>
      <dgm:t>
        <a:bodyPr/>
        <a:lstStyle/>
        <a:p>
          <a:endParaRPr lang="en-IN"/>
        </a:p>
      </dgm:t>
    </dgm:pt>
    <dgm:pt modelId="{95FF3C06-9BD6-483D-A35C-2DB274A9364A}" type="pres">
      <dgm:prSet presAssocID="{3B99D0C1-32C9-4084-9156-2B4C1827761A}" presName="descendantArrow" presStyleCnt="0"/>
      <dgm:spPr/>
    </dgm:pt>
    <dgm:pt modelId="{52077E0A-2719-489D-8390-447EEBD01D83}" type="pres">
      <dgm:prSet presAssocID="{37C7875B-892D-41E8-8DA1-30685A54C81E}" presName="childTextArrow" presStyleLbl="fgAccFollow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518EE0CE-B441-4794-8698-174DE78B06EF}" type="pres">
      <dgm:prSet presAssocID="{AE259B7A-FEFD-4FE0-B01F-327B60DD8F9B}" presName="childTextArrow" presStyleLbl="fgAccFollow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  <dgm:pt modelId="{CB8DB631-ED49-4279-AE76-3BD002062DB0}" type="pres">
      <dgm:prSet presAssocID="{EC4B83EE-94B8-44DB-9245-11C86779721F}" presName="childTextArrow" presStyleLbl="fgAccFollow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IN"/>
        </a:p>
      </dgm:t>
    </dgm:pt>
  </dgm:ptLst>
  <dgm:cxnLst>
    <dgm:cxn modelId="{4617AF86-5019-4ABC-AD8D-7EF3A0C125DC}" srcId="{ECEB3C3C-C391-4FAC-9447-5EACF6F52EC4}" destId="{C9AE2E49-3823-43FE-B9BC-BD312D3E5D7B}" srcOrd="4" destOrd="0" parTransId="{CE3170FB-67B3-4633-8FEE-82D4E9CF7851}" sibTransId="{4A7820A5-018D-4FF0-9271-9BF4310A7BFB}"/>
    <dgm:cxn modelId="{F4B17023-78F8-4205-8B38-DD61F9510E09}" type="presOf" srcId="{8D033B50-7FC3-4343-87B4-798941D0C06C}" destId="{D6069EBC-711F-4434-A83E-1C6AD900CDDD}" srcOrd="0" destOrd="0" presId="urn:microsoft.com/office/officeart/2005/8/layout/process4"/>
    <dgm:cxn modelId="{1583CC86-EFBF-4195-8259-474BA7DF7A62}" type="presOf" srcId="{CAD262FE-C072-438C-AE75-93CB4802D97E}" destId="{1A8DC358-9D64-44CA-B381-EA1D3C0E16F5}" srcOrd="0" destOrd="0" presId="urn:microsoft.com/office/officeart/2005/8/layout/process4"/>
    <dgm:cxn modelId="{0C53C834-EA27-459B-BA41-996C1EC3BEA3}" srcId="{3B99D0C1-32C9-4084-9156-2B4C1827761A}" destId="{AE259B7A-FEFD-4FE0-B01F-327B60DD8F9B}" srcOrd="1" destOrd="0" parTransId="{BBE74020-C45B-48B7-9B9D-DE51FC510726}" sibTransId="{142D75FA-AA48-4385-B3D4-BAE5F0B7A3A8}"/>
    <dgm:cxn modelId="{0D93C316-8261-4C7E-ACAF-C78106596FF7}" type="presOf" srcId="{9D42FF5A-680C-4666-8DBD-59684C009FAB}" destId="{2173A7E6-755B-41FD-8ED1-A0D6D0532EEA}" srcOrd="0" destOrd="0" presId="urn:microsoft.com/office/officeart/2005/8/layout/process4"/>
    <dgm:cxn modelId="{008DE763-E5B2-409A-9C7C-81E39B78EAC1}" srcId="{3B99D0C1-32C9-4084-9156-2B4C1827761A}" destId="{37C7875B-892D-41E8-8DA1-30685A54C81E}" srcOrd="0" destOrd="0" parTransId="{029F99B3-B4B8-4A64-A9ED-4A92530F7826}" sibTransId="{E7978FCB-F3B1-4738-BF05-CF1F37B594E2}"/>
    <dgm:cxn modelId="{2B13FFCE-68BA-4EFA-8D48-4C66FBCE94B0}" srcId="{ECEB3C3C-C391-4FAC-9447-5EACF6F52EC4}" destId="{8D033B50-7FC3-4343-87B4-798941D0C06C}" srcOrd="2" destOrd="0" parTransId="{28725CC6-216E-429A-8D91-4E9475FCD518}" sibTransId="{ECC715DC-6B1D-4971-A629-B0EA08C020AF}"/>
    <dgm:cxn modelId="{154333AA-9296-4B81-9404-B847B8503C95}" type="presOf" srcId="{EC4B83EE-94B8-44DB-9245-11C86779721F}" destId="{CB8DB631-ED49-4279-AE76-3BD002062DB0}" srcOrd="0" destOrd="0" presId="urn:microsoft.com/office/officeart/2005/8/layout/process4"/>
    <dgm:cxn modelId="{55317C30-A61B-488F-9357-FDDBA0DC3D83}" type="presOf" srcId="{0D59A9F2-E189-45D8-B058-C00B1C3607F3}" destId="{7B9225DF-337D-49AA-8977-F6E456F4ACA8}" srcOrd="0" destOrd="0" presId="urn:microsoft.com/office/officeart/2005/8/layout/process4"/>
    <dgm:cxn modelId="{B28A4A13-912E-49AC-954E-C6B30C9A7ECD}" srcId="{3B99D0C1-32C9-4084-9156-2B4C1827761A}" destId="{EC4B83EE-94B8-44DB-9245-11C86779721F}" srcOrd="2" destOrd="0" parTransId="{2955732C-D45E-423D-A4F0-682F1F9CFE39}" sibTransId="{1F2D00A3-9C71-4836-A6B6-F634A450692E}"/>
    <dgm:cxn modelId="{60990FEF-798B-4520-9A83-8C142EE402F9}" type="presOf" srcId="{ECEB3C3C-C391-4FAC-9447-5EACF6F52EC4}" destId="{20AD8F35-9542-47D3-8FA0-0800DF345F77}" srcOrd="0" destOrd="0" presId="urn:microsoft.com/office/officeart/2005/8/layout/process4"/>
    <dgm:cxn modelId="{2D531FAC-FECC-4D0E-9C7C-7965DD0E5075}" type="presOf" srcId="{AE259B7A-FEFD-4FE0-B01F-327B60DD8F9B}" destId="{518EE0CE-B441-4794-8698-174DE78B06EF}" srcOrd="0" destOrd="0" presId="urn:microsoft.com/office/officeart/2005/8/layout/process4"/>
    <dgm:cxn modelId="{1FE8D01C-D4AE-476C-8C91-C33EC9931624}" srcId="{FB7A30B6-F51C-43CF-8954-7FEE753F70C3}" destId="{ECEB3C3C-C391-4FAC-9447-5EACF6F52EC4}" srcOrd="1" destOrd="0" parTransId="{CBA8270B-54B2-4A5D-BCB6-7C6E9BD70583}" sibTransId="{47376D1F-ECF8-4E9A-A8EF-C0B6DE886B60}"/>
    <dgm:cxn modelId="{780014AC-02D1-46B0-9CB1-8D877BF6319D}" type="presOf" srcId="{12F646AB-2EC8-4D30-B056-1ACEC21E6BB8}" destId="{B6AC6236-FAD0-4435-9C7C-4E8A7231BA85}" srcOrd="0" destOrd="0" presId="urn:microsoft.com/office/officeart/2005/8/layout/process4"/>
    <dgm:cxn modelId="{AFB92B7D-01CE-424D-A5E2-42941F38C3A4}" type="presOf" srcId="{C9AE2E49-3823-43FE-B9BC-BD312D3E5D7B}" destId="{0F748891-1D87-4D03-8A48-51B989A92510}" srcOrd="0" destOrd="0" presId="urn:microsoft.com/office/officeart/2005/8/layout/process4"/>
    <dgm:cxn modelId="{F46739F5-2A8E-4494-AB5C-FCDFB8379BB9}" type="presOf" srcId="{ECEB3C3C-C391-4FAC-9447-5EACF6F52EC4}" destId="{004E27C2-9DD9-4D30-BDC7-BA7DE7BF67DE}" srcOrd="1" destOrd="0" presId="urn:microsoft.com/office/officeart/2005/8/layout/process4"/>
    <dgm:cxn modelId="{05F6D5E5-1999-4630-BA19-2049FEF3ED2A}" type="presOf" srcId="{37C7875B-892D-41E8-8DA1-30685A54C81E}" destId="{52077E0A-2719-489D-8390-447EEBD01D83}" srcOrd="0" destOrd="0" presId="urn:microsoft.com/office/officeart/2005/8/layout/process4"/>
    <dgm:cxn modelId="{CB53AC12-03F8-4079-9E08-D1ADFC9D8F4A}" type="presOf" srcId="{3B99D0C1-32C9-4084-9156-2B4C1827761A}" destId="{E751300A-E192-49FE-9FE1-01C87C0691C7}" srcOrd="1" destOrd="0" presId="urn:microsoft.com/office/officeart/2005/8/layout/process4"/>
    <dgm:cxn modelId="{96CF3371-16AC-4BF7-A336-E72FA0CDFEA8}" type="presOf" srcId="{FB7A30B6-F51C-43CF-8954-7FEE753F70C3}" destId="{E623E575-E69E-47D9-93F2-9092CDD93104}" srcOrd="0" destOrd="0" presId="urn:microsoft.com/office/officeart/2005/8/layout/process4"/>
    <dgm:cxn modelId="{C19CF7D0-AD90-434C-8144-2DFC6E89E2B8}" srcId="{ECEB3C3C-C391-4FAC-9447-5EACF6F52EC4}" destId="{CAD262FE-C072-438C-AE75-93CB4802D97E}" srcOrd="1" destOrd="0" parTransId="{A75DD5EE-5264-4EAA-A370-371A0510D8F4}" sibTransId="{631894CA-4EE4-4F0C-95C5-73ADB2860DD9}"/>
    <dgm:cxn modelId="{92BC7344-0668-4539-A83B-27C2341390E2}" srcId="{FB7A30B6-F51C-43CF-8954-7FEE753F70C3}" destId="{3B99D0C1-32C9-4084-9156-2B4C1827761A}" srcOrd="0" destOrd="0" parTransId="{F7ADD6A3-FD58-4CEB-A807-631A9CB5D1E9}" sibTransId="{B16F98A9-7A8A-493D-B921-282224A5DE44}"/>
    <dgm:cxn modelId="{534AF0B9-53B0-4E4E-9661-B49F9AA9E447}" type="presOf" srcId="{3B99D0C1-32C9-4084-9156-2B4C1827761A}" destId="{228E56D8-7238-46DC-990E-6827AAF6751E}" srcOrd="0" destOrd="0" presId="urn:microsoft.com/office/officeart/2005/8/layout/process4"/>
    <dgm:cxn modelId="{623CDF5C-E493-4D1E-B59E-8AB343B65059}" srcId="{ECEB3C3C-C391-4FAC-9447-5EACF6F52EC4}" destId="{12F646AB-2EC8-4D30-B056-1ACEC21E6BB8}" srcOrd="3" destOrd="0" parTransId="{624AE7C8-A09D-4A2C-8F43-17C9A7B881D7}" sibTransId="{7ECFC521-922A-4BB9-AA74-38AC23A7E412}"/>
    <dgm:cxn modelId="{CACE02D6-E6AD-46AC-996F-B29EBA0EE382}" srcId="{FB7A30B6-F51C-43CF-8954-7FEE753F70C3}" destId="{9D42FF5A-680C-4666-8DBD-59684C009FAB}" srcOrd="2" destOrd="0" parTransId="{F46F147D-3A92-4B0D-9139-4E8D4C855913}" sibTransId="{46BCBEED-86A2-432D-8403-A1E072F0F4F7}"/>
    <dgm:cxn modelId="{410B6E80-3C5B-4D62-8B42-A3193401AF33}" srcId="{ECEB3C3C-C391-4FAC-9447-5EACF6F52EC4}" destId="{0D59A9F2-E189-45D8-B058-C00B1C3607F3}" srcOrd="0" destOrd="0" parTransId="{D970483B-16AE-49F2-A0D0-0861ED0FDE69}" sibTransId="{902A68FD-740B-4524-92E6-65BD768922AD}"/>
    <dgm:cxn modelId="{F0120589-D25B-4A8B-8C5E-BA5ECBA7E639}" type="presParOf" srcId="{E623E575-E69E-47D9-93F2-9092CDD93104}" destId="{DB99D6B0-1ED1-461A-AC3F-26F43BA4ED11}" srcOrd="0" destOrd="0" presId="urn:microsoft.com/office/officeart/2005/8/layout/process4"/>
    <dgm:cxn modelId="{12EE6BE1-5DC8-4844-9E9C-EDB5B05DC444}" type="presParOf" srcId="{DB99D6B0-1ED1-461A-AC3F-26F43BA4ED11}" destId="{2173A7E6-755B-41FD-8ED1-A0D6D0532EEA}" srcOrd="0" destOrd="0" presId="urn:microsoft.com/office/officeart/2005/8/layout/process4"/>
    <dgm:cxn modelId="{27A29EC8-FB12-4A7A-8521-EB34A813C906}" type="presParOf" srcId="{E623E575-E69E-47D9-93F2-9092CDD93104}" destId="{1FD4A864-A018-4C23-8278-E97E41193DF9}" srcOrd="1" destOrd="0" presId="urn:microsoft.com/office/officeart/2005/8/layout/process4"/>
    <dgm:cxn modelId="{D4BD91BC-2603-450D-B230-3AB0C181C006}" type="presParOf" srcId="{E623E575-E69E-47D9-93F2-9092CDD93104}" destId="{9549723E-4548-4AA0-9C72-6F913D6C5CD4}" srcOrd="2" destOrd="0" presId="urn:microsoft.com/office/officeart/2005/8/layout/process4"/>
    <dgm:cxn modelId="{9FBB6CF0-9D77-4DAA-80AC-94E06013117D}" type="presParOf" srcId="{9549723E-4548-4AA0-9C72-6F913D6C5CD4}" destId="{20AD8F35-9542-47D3-8FA0-0800DF345F77}" srcOrd="0" destOrd="0" presId="urn:microsoft.com/office/officeart/2005/8/layout/process4"/>
    <dgm:cxn modelId="{CD017870-5B81-4AAF-9CD6-130849F97D3A}" type="presParOf" srcId="{9549723E-4548-4AA0-9C72-6F913D6C5CD4}" destId="{004E27C2-9DD9-4D30-BDC7-BA7DE7BF67DE}" srcOrd="1" destOrd="0" presId="urn:microsoft.com/office/officeart/2005/8/layout/process4"/>
    <dgm:cxn modelId="{5A862B47-0FE4-4164-9E55-25677579BBA7}" type="presParOf" srcId="{9549723E-4548-4AA0-9C72-6F913D6C5CD4}" destId="{467DA2CF-70B3-48B2-949B-B6B41CAD1C84}" srcOrd="2" destOrd="0" presId="urn:microsoft.com/office/officeart/2005/8/layout/process4"/>
    <dgm:cxn modelId="{4FE2E778-6B06-411C-9F1E-760BE19523D7}" type="presParOf" srcId="{467DA2CF-70B3-48B2-949B-B6B41CAD1C84}" destId="{7B9225DF-337D-49AA-8977-F6E456F4ACA8}" srcOrd="0" destOrd="0" presId="urn:microsoft.com/office/officeart/2005/8/layout/process4"/>
    <dgm:cxn modelId="{8830B238-6C5F-4A3F-AD4E-996ECF748C55}" type="presParOf" srcId="{467DA2CF-70B3-48B2-949B-B6B41CAD1C84}" destId="{1A8DC358-9D64-44CA-B381-EA1D3C0E16F5}" srcOrd="1" destOrd="0" presId="urn:microsoft.com/office/officeart/2005/8/layout/process4"/>
    <dgm:cxn modelId="{F784F19D-9782-4A7F-8928-ACC7411A5D9F}" type="presParOf" srcId="{467DA2CF-70B3-48B2-949B-B6B41CAD1C84}" destId="{D6069EBC-711F-4434-A83E-1C6AD900CDDD}" srcOrd="2" destOrd="0" presId="urn:microsoft.com/office/officeart/2005/8/layout/process4"/>
    <dgm:cxn modelId="{C5ABFB3D-9D2D-4FAF-A19A-3186A96898A3}" type="presParOf" srcId="{467DA2CF-70B3-48B2-949B-B6B41CAD1C84}" destId="{B6AC6236-FAD0-4435-9C7C-4E8A7231BA85}" srcOrd="3" destOrd="0" presId="urn:microsoft.com/office/officeart/2005/8/layout/process4"/>
    <dgm:cxn modelId="{A5801456-A196-41A8-972E-E6BECD20D255}" type="presParOf" srcId="{467DA2CF-70B3-48B2-949B-B6B41CAD1C84}" destId="{0F748891-1D87-4D03-8A48-51B989A92510}" srcOrd="4" destOrd="0" presId="urn:microsoft.com/office/officeart/2005/8/layout/process4"/>
    <dgm:cxn modelId="{A2D84125-82CF-4432-AAA9-164F06552F24}" type="presParOf" srcId="{E623E575-E69E-47D9-93F2-9092CDD93104}" destId="{48DF4730-BE9F-4C8A-A804-1EF4137DCE75}" srcOrd="3" destOrd="0" presId="urn:microsoft.com/office/officeart/2005/8/layout/process4"/>
    <dgm:cxn modelId="{7B51CF3A-899D-43DF-B7DA-D424092CA7D0}" type="presParOf" srcId="{E623E575-E69E-47D9-93F2-9092CDD93104}" destId="{C0FCE935-ED0C-4BF2-89F5-B7E9F9D26ED7}" srcOrd="4" destOrd="0" presId="urn:microsoft.com/office/officeart/2005/8/layout/process4"/>
    <dgm:cxn modelId="{A3BBA15B-DBEC-45F5-A4E1-5A515520C1B9}" type="presParOf" srcId="{C0FCE935-ED0C-4BF2-89F5-B7E9F9D26ED7}" destId="{228E56D8-7238-46DC-990E-6827AAF6751E}" srcOrd="0" destOrd="0" presId="urn:microsoft.com/office/officeart/2005/8/layout/process4"/>
    <dgm:cxn modelId="{6D9B5534-287E-4A38-BA18-2B693BA0DEEE}" type="presParOf" srcId="{C0FCE935-ED0C-4BF2-89F5-B7E9F9D26ED7}" destId="{E751300A-E192-49FE-9FE1-01C87C0691C7}" srcOrd="1" destOrd="0" presId="urn:microsoft.com/office/officeart/2005/8/layout/process4"/>
    <dgm:cxn modelId="{76C586CF-F4B8-40A3-BE87-63A9D1DE5F27}" type="presParOf" srcId="{C0FCE935-ED0C-4BF2-89F5-B7E9F9D26ED7}" destId="{95FF3C06-9BD6-483D-A35C-2DB274A9364A}" srcOrd="2" destOrd="0" presId="urn:microsoft.com/office/officeart/2005/8/layout/process4"/>
    <dgm:cxn modelId="{F45FAF5E-C350-4CCF-B3BB-594D72C45551}" type="presParOf" srcId="{95FF3C06-9BD6-483D-A35C-2DB274A9364A}" destId="{52077E0A-2719-489D-8390-447EEBD01D83}" srcOrd="0" destOrd="0" presId="urn:microsoft.com/office/officeart/2005/8/layout/process4"/>
    <dgm:cxn modelId="{90891914-8756-4CD9-B404-663FF634BE9B}" type="presParOf" srcId="{95FF3C06-9BD6-483D-A35C-2DB274A9364A}" destId="{518EE0CE-B441-4794-8698-174DE78B06EF}" srcOrd="1" destOrd="0" presId="urn:microsoft.com/office/officeart/2005/8/layout/process4"/>
    <dgm:cxn modelId="{8F4B5E91-6497-467B-A79E-010AD9C7B238}" type="presParOf" srcId="{95FF3C06-9BD6-483D-A35C-2DB274A9364A}" destId="{CB8DB631-ED49-4279-AE76-3BD002062DB0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A8267D-0A29-4E41-A889-3DA4C8ECA4C7}">
      <dsp:nvSpPr>
        <dsp:cNvPr id="0" name=""/>
        <dsp:cNvSpPr/>
      </dsp:nvSpPr>
      <dsp:spPr>
        <a:xfrm>
          <a:off x="942824" y="537676"/>
          <a:ext cx="4274825" cy="4274825"/>
        </a:xfrm>
        <a:prstGeom prst="blockArc">
          <a:avLst>
            <a:gd name="adj1" fmla="val 13114286"/>
            <a:gd name="adj2" fmla="val 16200000"/>
            <a:gd name="adj3" fmla="val 389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FE1DC0C-1761-4AF9-A04D-E7A9CD5DE092}">
      <dsp:nvSpPr>
        <dsp:cNvPr id="0" name=""/>
        <dsp:cNvSpPr/>
      </dsp:nvSpPr>
      <dsp:spPr>
        <a:xfrm>
          <a:off x="964109" y="510531"/>
          <a:ext cx="4274825" cy="4274825"/>
        </a:xfrm>
        <a:prstGeom prst="blockArc">
          <a:avLst>
            <a:gd name="adj1" fmla="val 10057537"/>
            <a:gd name="adj2" fmla="val 13057703"/>
            <a:gd name="adj3" fmla="val 389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DB985D4-B9CB-4DA1-B769-73B59B8A56BF}">
      <dsp:nvSpPr>
        <dsp:cNvPr id="0" name=""/>
        <dsp:cNvSpPr/>
      </dsp:nvSpPr>
      <dsp:spPr>
        <a:xfrm>
          <a:off x="972855" y="552435"/>
          <a:ext cx="4274825" cy="4274825"/>
        </a:xfrm>
        <a:prstGeom prst="blockArc">
          <a:avLst>
            <a:gd name="adj1" fmla="val 6997744"/>
            <a:gd name="adj2" fmla="val 10127754"/>
            <a:gd name="adj3" fmla="val 389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DEF9F57-8290-4E27-8F86-0A18FB13248D}">
      <dsp:nvSpPr>
        <dsp:cNvPr id="0" name=""/>
        <dsp:cNvSpPr/>
      </dsp:nvSpPr>
      <dsp:spPr>
        <a:xfrm>
          <a:off x="942824" y="537676"/>
          <a:ext cx="4274825" cy="4274825"/>
        </a:xfrm>
        <a:prstGeom prst="blockArc">
          <a:avLst>
            <a:gd name="adj1" fmla="val 3857143"/>
            <a:gd name="adj2" fmla="val 6942857"/>
            <a:gd name="adj3" fmla="val 389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A74F6FF-54BD-4EB8-A1C5-87BF2AB4E5D3}">
      <dsp:nvSpPr>
        <dsp:cNvPr id="0" name=""/>
        <dsp:cNvSpPr/>
      </dsp:nvSpPr>
      <dsp:spPr>
        <a:xfrm>
          <a:off x="942824" y="537676"/>
          <a:ext cx="4274825" cy="4274825"/>
        </a:xfrm>
        <a:prstGeom prst="blockArc">
          <a:avLst>
            <a:gd name="adj1" fmla="val 771429"/>
            <a:gd name="adj2" fmla="val 3857143"/>
            <a:gd name="adj3" fmla="val 389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7BBB287-DF8A-4F02-9FE2-948F25DC061A}">
      <dsp:nvSpPr>
        <dsp:cNvPr id="0" name=""/>
        <dsp:cNvSpPr/>
      </dsp:nvSpPr>
      <dsp:spPr>
        <a:xfrm>
          <a:off x="942824" y="537676"/>
          <a:ext cx="4274825" cy="4274825"/>
        </a:xfrm>
        <a:prstGeom prst="blockArc">
          <a:avLst>
            <a:gd name="adj1" fmla="val 19285714"/>
            <a:gd name="adj2" fmla="val 771429"/>
            <a:gd name="adj3" fmla="val 389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359CCF1-9B56-4540-A3B0-2763B051A462}">
      <dsp:nvSpPr>
        <dsp:cNvPr id="0" name=""/>
        <dsp:cNvSpPr/>
      </dsp:nvSpPr>
      <dsp:spPr>
        <a:xfrm>
          <a:off x="942824" y="537676"/>
          <a:ext cx="4274825" cy="4274825"/>
        </a:xfrm>
        <a:prstGeom prst="blockArc">
          <a:avLst>
            <a:gd name="adj1" fmla="val 16200000"/>
            <a:gd name="adj2" fmla="val 19285714"/>
            <a:gd name="adj3" fmla="val 3892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B170509-00F1-4AE8-993A-8F2BD1EBBAA4}">
      <dsp:nvSpPr>
        <dsp:cNvPr id="0" name=""/>
        <dsp:cNvSpPr/>
      </dsp:nvSpPr>
      <dsp:spPr>
        <a:xfrm>
          <a:off x="1773208" y="1708547"/>
          <a:ext cx="2614057" cy="1933084"/>
        </a:xfrm>
        <a:prstGeom prst="ellipse">
          <a:avLst/>
        </a:prstGeom>
        <a:blipFill dpi="0" rotWithShape="0">
          <a:blip xmlns:r="http://schemas.openxmlformats.org/officeDocument/2006/relationships" r:embed="rId1"/>
          <a:srcRect/>
          <a:stretch>
            <a:fillRect l="-574" t="18532" r="-574" b="18532"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4930" tIns="74930" rIns="74930" bIns="74930" numCol="1" spcCol="1270" anchor="ctr" anchorCtr="0">
          <a:noAutofit/>
        </a:bodyPr>
        <a:lstStyle/>
        <a:p>
          <a:pPr lvl="0" algn="ctr" defTabSz="2622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900" kern="1200" dirty="0"/>
        </a:p>
      </dsp:txBody>
      <dsp:txXfrm>
        <a:off x="2156028" y="1991641"/>
        <a:ext cx="1848417" cy="1366896"/>
      </dsp:txXfrm>
    </dsp:sp>
    <dsp:sp modelId="{FBC0243B-E276-4945-B71F-B93677DBFAEA}">
      <dsp:nvSpPr>
        <dsp:cNvPr id="0" name=""/>
        <dsp:cNvSpPr/>
      </dsp:nvSpPr>
      <dsp:spPr>
        <a:xfrm>
          <a:off x="2408226" y="1625"/>
          <a:ext cx="1344020" cy="1155282"/>
        </a:xfrm>
        <a:prstGeom prst="ellipse">
          <a:avLst/>
        </a:prstGeom>
        <a:blipFill rotWithShape="0">
          <a:blip xmlns:r="http://schemas.openxmlformats.org/officeDocument/2006/relationships" r:embed="rId2"/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000" kern="1200" dirty="0"/>
        </a:p>
      </dsp:txBody>
      <dsp:txXfrm>
        <a:off x="2605053" y="170812"/>
        <a:ext cx="950366" cy="816908"/>
      </dsp:txXfrm>
    </dsp:sp>
    <dsp:sp modelId="{10703AEF-6ED0-44CE-8A0F-55C021F5E168}">
      <dsp:nvSpPr>
        <dsp:cNvPr id="0" name=""/>
        <dsp:cNvSpPr/>
      </dsp:nvSpPr>
      <dsp:spPr>
        <a:xfrm>
          <a:off x="3917305" y="705787"/>
          <a:ext cx="1603023" cy="1325154"/>
        </a:xfrm>
        <a:prstGeom prst="ellipse">
          <a:avLst/>
        </a:prstGeom>
        <a:blipFill dpi="0" rotWithShape="0">
          <a:blip xmlns:r="http://schemas.openxmlformats.org/officeDocument/2006/relationships" r:embed="rId3"/>
          <a:srcRect/>
          <a:stretch>
            <a:fillRect l="-11009" t="1835" r="-11009" b="1835"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100" kern="1200"/>
        </a:p>
      </dsp:txBody>
      <dsp:txXfrm>
        <a:off x="4152062" y="899851"/>
        <a:ext cx="1133509" cy="937026"/>
      </dsp:txXfrm>
    </dsp:sp>
    <dsp:sp modelId="{6B6A9AEA-C3BF-4572-9FB6-DD0199A4173B}">
      <dsp:nvSpPr>
        <dsp:cNvPr id="0" name=""/>
        <dsp:cNvSpPr/>
      </dsp:nvSpPr>
      <dsp:spPr>
        <a:xfrm>
          <a:off x="4415648" y="2418270"/>
          <a:ext cx="1415729" cy="1446367"/>
        </a:xfrm>
        <a:prstGeom prst="ellipse">
          <a:avLst/>
        </a:prstGeom>
        <a:blipFill dpi="0" rotWithShape="0">
          <a:blip xmlns:r="http://schemas.openxmlformats.org/officeDocument/2006/relationships" r:embed="rId4"/>
          <a:srcRect/>
          <a:stretch>
            <a:fillRect l="229" t="5046" r="229" b="5046"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5100" kern="1200"/>
        </a:p>
      </dsp:txBody>
      <dsp:txXfrm>
        <a:off x="4622977" y="2630086"/>
        <a:ext cx="1001071" cy="1022735"/>
      </dsp:txXfrm>
    </dsp:sp>
    <dsp:sp modelId="{11CC6FDA-4227-4904-A47F-9D52958662E8}">
      <dsp:nvSpPr>
        <dsp:cNvPr id="0" name=""/>
        <dsp:cNvSpPr/>
      </dsp:nvSpPr>
      <dsp:spPr>
        <a:xfrm>
          <a:off x="3411939" y="3985718"/>
          <a:ext cx="1155282" cy="1155282"/>
        </a:xfrm>
        <a:prstGeom prst="ellipse">
          <a:avLst/>
        </a:prstGeom>
        <a:blipFill dpi="0" rotWithShape="0">
          <a:blip xmlns:r="http://schemas.openxmlformats.org/officeDocument/2006/relationships" r:embed="rId5"/>
          <a:srcRect/>
          <a:stretch>
            <a:fillRect l="5046" t="27523" r="5046" b="27523"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lvl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4900" kern="1200"/>
        </a:p>
      </dsp:txBody>
      <dsp:txXfrm>
        <a:off x="3581126" y="4154905"/>
        <a:ext cx="816908" cy="816908"/>
      </dsp:txXfrm>
    </dsp:sp>
    <dsp:sp modelId="{CF2AAC0A-3966-40BC-96A9-CACDBEF40421}">
      <dsp:nvSpPr>
        <dsp:cNvPr id="0" name=""/>
        <dsp:cNvSpPr/>
      </dsp:nvSpPr>
      <dsp:spPr>
        <a:xfrm>
          <a:off x="1744288" y="4062562"/>
          <a:ext cx="853210" cy="1001595"/>
        </a:xfrm>
        <a:prstGeom prst="ellipse">
          <a:avLst/>
        </a:prstGeom>
        <a:blipFill dpi="0" rotWithShape="0">
          <a:blip xmlns:r="http://schemas.openxmlformats.org/officeDocument/2006/relationships" r:embed="rId6"/>
          <a:srcRect/>
          <a:stretch>
            <a:fillRect l="2174" t="18519" r="2174" b="18519"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1900" kern="1200" dirty="0"/>
        </a:p>
      </dsp:txBody>
      <dsp:txXfrm>
        <a:off x="1869238" y="4209242"/>
        <a:ext cx="603310" cy="708235"/>
      </dsp:txXfrm>
    </dsp:sp>
    <dsp:sp modelId="{39F23011-D85C-4CC2-BAA6-F200090BF059}">
      <dsp:nvSpPr>
        <dsp:cNvPr id="0" name=""/>
        <dsp:cNvSpPr/>
      </dsp:nvSpPr>
      <dsp:spPr>
        <a:xfrm>
          <a:off x="468626" y="2559181"/>
          <a:ext cx="1171525" cy="1075787"/>
        </a:xfrm>
        <a:prstGeom prst="ellipse">
          <a:avLst/>
        </a:prstGeom>
        <a:blipFill dpi="0" rotWithShape="0">
          <a:blip xmlns:r="http://schemas.openxmlformats.org/officeDocument/2006/relationships" r:embed="rId7"/>
          <a:srcRect/>
          <a:stretch>
            <a:fillRect l="-4587" t="-1376" r="-4587" b="-1376"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3020" tIns="33020" rIns="33020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2600" kern="1200" dirty="0"/>
        </a:p>
      </dsp:txBody>
      <dsp:txXfrm>
        <a:off x="640192" y="2716726"/>
        <a:ext cx="828393" cy="760697"/>
      </dsp:txXfrm>
    </dsp:sp>
    <dsp:sp modelId="{F4AE4BD9-D6F6-450F-8DDB-7C6882EE16F0}">
      <dsp:nvSpPr>
        <dsp:cNvPr id="0" name=""/>
        <dsp:cNvSpPr/>
      </dsp:nvSpPr>
      <dsp:spPr>
        <a:xfrm>
          <a:off x="608744" y="867862"/>
          <a:ext cx="1665824" cy="1001005"/>
        </a:xfrm>
        <a:prstGeom prst="ellipse">
          <a:avLst/>
        </a:prstGeom>
        <a:blipFill rotWithShape="0">
          <a:blip xmlns:r="http://schemas.openxmlformats.org/officeDocument/2006/relationships" r:embed="rId8"/>
          <a:srcRect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990" tIns="46990" rIns="46990" bIns="46990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N" sz="3700" kern="1200" dirty="0"/>
        </a:p>
      </dsp:txBody>
      <dsp:txXfrm>
        <a:off x="852698" y="1014456"/>
        <a:ext cx="1177916" cy="7078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73A7E6-755B-41FD-8ED1-A0D6D0532EEA}">
      <dsp:nvSpPr>
        <dsp:cNvPr id="0" name=""/>
        <dsp:cNvSpPr/>
      </dsp:nvSpPr>
      <dsp:spPr>
        <a:xfrm>
          <a:off x="1713" y="3686952"/>
          <a:ext cx="11419539" cy="690705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2928" tIns="312928" rIns="312928" bIns="312928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400" b="1" kern="1200" dirty="0"/>
            <a:t>DATA</a:t>
          </a:r>
          <a:endParaRPr lang="en-GB" sz="4400" b="1" kern="1200" dirty="0"/>
        </a:p>
      </dsp:txBody>
      <dsp:txXfrm>
        <a:off x="1713" y="3686952"/>
        <a:ext cx="11419539" cy="690705"/>
      </dsp:txXfrm>
    </dsp:sp>
    <dsp:sp modelId="{004E27C2-9DD9-4D30-BDC7-BA7DE7BF67DE}">
      <dsp:nvSpPr>
        <dsp:cNvPr id="0" name=""/>
        <dsp:cNvSpPr/>
      </dsp:nvSpPr>
      <dsp:spPr>
        <a:xfrm rot="10800000">
          <a:off x="0" y="1843958"/>
          <a:ext cx="11422966" cy="1861145"/>
        </a:xfrm>
        <a:prstGeom prst="upArrowCallout">
          <a:avLst/>
        </a:prstGeom>
        <a:solidFill>
          <a:srgbClr val="113037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SMART CITIES</a:t>
          </a:r>
          <a:endParaRPr lang="en-GB" sz="2300" kern="1200" dirty="0"/>
        </a:p>
      </dsp:txBody>
      <dsp:txXfrm rot="-10800000">
        <a:off x="0" y="1843958"/>
        <a:ext cx="11422966" cy="653261"/>
      </dsp:txXfrm>
    </dsp:sp>
    <dsp:sp modelId="{7B9225DF-337D-49AA-8977-F6E456F4ACA8}">
      <dsp:nvSpPr>
        <dsp:cNvPr id="0" name=""/>
        <dsp:cNvSpPr/>
      </dsp:nvSpPr>
      <dsp:spPr>
        <a:xfrm>
          <a:off x="1394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SERVICES</a:t>
          </a:r>
          <a:endParaRPr lang="en-GB" sz="2600" kern="1200" dirty="0"/>
        </a:p>
      </dsp:txBody>
      <dsp:txXfrm>
        <a:off x="1394" y="2497220"/>
        <a:ext cx="2284035" cy="556482"/>
      </dsp:txXfrm>
    </dsp:sp>
    <dsp:sp modelId="{1A8DC358-9D64-44CA-B381-EA1D3C0E16F5}">
      <dsp:nvSpPr>
        <dsp:cNvPr id="0" name=""/>
        <dsp:cNvSpPr/>
      </dsp:nvSpPr>
      <dsp:spPr>
        <a:xfrm>
          <a:off x="2285429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FINANACE</a:t>
          </a:r>
          <a:endParaRPr lang="en-GB" sz="2600" kern="1200" dirty="0"/>
        </a:p>
      </dsp:txBody>
      <dsp:txXfrm>
        <a:off x="2285429" y="2497220"/>
        <a:ext cx="2284035" cy="556482"/>
      </dsp:txXfrm>
    </dsp:sp>
    <dsp:sp modelId="{D6069EBC-711F-4434-A83E-1C6AD900CDDD}">
      <dsp:nvSpPr>
        <dsp:cNvPr id="0" name=""/>
        <dsp:cNvSpPr/>
      </dsp:nvSpPr>
      <dsp:spPr>
        <a:xfrm>
          <a:off x="4569465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PLANNING</a:t>
          </a:r>
          <a:endParaRPr lang="en-GB" sz="2600" kern="1200" dirty="0"/>
        </a:p>
      </dsp:txBody>
      <dsp:txXfrm>
        <a:off x="4569465" y="2497220"/>
        <a:ext cx="2284035" cy="556482"/>
      </dsp:txXfrm>
    </dsp:sp>
    <dsp:sp modelId="{B6AC6236-FAD0-4435-9C7C-4E8A7231BA85}">
      <dsp:nvSpPr>
        <dsp:cNvPr id="0" name=""/>
        <dsp:cNvSpPr/>
      </dsp:nvSpPr>
      <dsp:spPr>
        <a:xfrm>
          <a:off x="6853500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TECHNOLOGY</a:t>
          </a:r>
          <a:endParaRPr lang="en-GB" sz="2600" kern="1200" dirty="0"/>
        </a:p>
      </dsp:txBody>
      <dsp:txXfrm>
        <a:off x="6853500" y="2497220"/>
        <a:ext cx="2284035" cy="556482"/>
      </dsp:txXfrm>
    </dsp:sp>
    <dsp:sp modelId="{0F748891-1D87-4D03-8A48-51B989A92510}">
      <dsp:nvSpPr>
        <dsp:cNvPr id="0" name=""/>
        <dsp:cNvSpPr/>
      </dsp:nvSpPr>
      <dsp:spPr>
        <a:xfrm>
          <a:off x="9137536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GOVERNANCE</a:t>
          </a:r>
          <a:endParaRPr lang="en-GB" sz="2600" kern="1200" dirty="0"/>
        </a:p>
      </dsp:txBody>
      <dsp:txXfrm>
        <a:off x="9137536" y="2497220"/>
        <a:ext cx="2284035" cy="556482"/>
      </dsp:txXfrm>
    </dsp:sp>
    <dsp:sp modelId="{E751300A-E192-49FE-9FE1-01C87C0691C7}">
      <dsp:nvSpPr>
        <dsp:cNvPr id="0" name=""/>
        <dsp:cNvSpPr/>
      </dsp:nvSpPr>
      <dsp:spPr>
        <a:xfrm rot="10800000">
          <a:off x="0" y="964"/>
          <a:ext cx="11422966" cy="1861145"/>
        </a:xfrm>
        <a:prstGeom prst="upArrowCallout">
          <a:avLst/>
        </a:prstGeom>
        <a:solidFill>
          <a:srgbClr val="379BB3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MISSION PROJECTS</a:t>
          </a:r>
          <a:endParaRPr lang="en-GB" sz="2300" kern="1200" dirty="0"/>
        </a:p>
      </dsp:txBody>
      <dsp:txXfrm rot="-10800000">
        <a:off x="0" y="964"/>
        <a:ext cx="11422966" cy="653261"/>
      </dsp:txXfrm>
    </dsp:sp>
    <dsp:sp modelId="{52077E0A-2719-489D-8390-447EEBD01D83}">
      <dsp:nvSpPr>
        <dsp:cNvPr id="0" name=""/>
        <dsp:cNvSpPr/>
      </dsp:nvSpPr>
      <dsp:spPr>
        <a:xfrm>
          <a:off x="5577" y="654226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QUALITY OF LIFE</a:t>
          </a:r>
          <a:endParaRPr lang="en-GB" sz="2600" kern="1200" dirty="0"/>
        </a:p>
      </dsp:txBody>
      <dsp:txXfrm>
        <a:off x="5577" y="654226"/>
        <a:ext cx="3803936" cy="556482"/>
      </dsp:txXfrm>
    </dsp:sp>
    <dsp:sp modelId="{518EE0CE-B441-4794-8698-174DE78B06EF}">
      <dsp:nvSpPr>
        <dsp:cNvPr id="0" name=""/>
        <dsp:cNvSpPr/>
      </dsp:nvSpPr>
      <dsp:spPr>
        <a:xfrm>
          <a:off x="3809514" y="654226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ECONOMIC ABILITY</a:t>
          </a:r>
          <a:endParaRPr lang="en-GB" sz="2600" kern="1200" dirty="0"/>
        </a:p>
      </dsp:txBody>
      <dsp:txXfrm>
        <a:off x="3809514" y="654226"/>
        <a:ext cx="3803936" cy="556482"/>
      </dsp:txXfrm>
    </dsp:sp>
    <dsp:sp modelId="{CB8DB631-ED49-4279-AE76-3BD002062DB0}">
      <dsp:nvSpPr>
        <dsp:cNvPr id="0" name=""/>
        <dsp:cNvSpPr/>
      </dsp:nvSpPr>
      <dsp:spPr>
        <a:xfrm>
          <a:off x="7613451" y="654226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SUSTAINABILITY</a:t>
          </a:r>
          <a:endParaRPr lang="en-GB" sz="2600" kern="1200" dirty="0"/>
        </a:p>
      </dsp:txBody>
      <dsp:txXfrm>
        <a:off x="7613451" y="654226"/>
        <a:ext cx="3803936" cy="55648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73A7E6-755B-41FD-8ED1-A0D6D0532EEA}">
      <dsp:nvSpPr>
        <dsp:cNvPr id="0" name=""/>
        <dsp:cNvSpPr/>
      </dsp:nvSpPr>
      <dsp:spPr>
        <a:xfrm>
          <a:off x="1713" y="3686952"/>
          <a:ext cx="11419539" cy="690705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2928" tIns="312928" rIns="312928" bIns="312928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400" b="1" kern="1200" dirty="0">
              <a:latin typeface="Roboto Black" panose="02000000000000000000"/>
            </a:rPr>
            <a:t>DATA</a:t>
          </a:r>
          <a:endParaRPr lang="en-GB" sz="4400" b="1" kern="1200" dirty="0">
            <a:latin typeface="Roboto Black" panose="02000000000000000000"/>
          </a:endParaRPr>
        </a:p>
      </dsp:txBody>
      <dsp:txXfrm>
        <a:off x="1713" y="3686952"/>
        <a:ext cx="11419539" cy="690705"/>
      </dsp:txXfrm>
    </dsp:sp>
    <dsp:sp modelId="{004E27C2-9DD9-4D30-BDC7-BA7DE7BF67DE}">
      <dsp:nvSpPr>
        <dsp:cNvPr id="0" name=""/>
        <dsp:cNvSpPr/>
      </dsp:nvSpPr>
      <dsp:spPr>
        <a:xfrm rot="10800000">
          <a:off x="0" y="1857600"/>
          <a:ext cx="11422966" cy="1861145"/>
        </a:xfrm>
        <a:prstGeom prst="upArrowCallout">
          <a:avLst/>
        </a:prstGeom>
        <a:solidFill>
          <a:srgbClr val="113037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>
              <a:latin typeface="Roboto Black" panose="02000000000000000000"/>
            </a:rPr>
            <a:t>SMART CITIES</a:t>
          </a:r>
          <a:endParaRPr lang="en-GB" sz="2400" kern="1200" dirty="0">
            <a:latin typeface="Roboto Black" panose="02000000000000000000"/>
          </a:endParaRPr>
        </a:p>
      </dsp:txBody>
      <dsp:txXfrm rot="-10800000">
        <a:off x="0" y="1857600"/>
        <a:ext cx="11422966" cy="653261"/>
      </dsp:txXfrm>
    </dsp:sp>
    <dsp:sp modelId="{7B9225DF-337D-49AA-8977-F6E456F4ACA8}">
      <dsp:nvSpPr>
        <dsp:cNvPr id="0" name=""/>
        <dsp:cNvSpPr/>
      </dsp:nvSpPr>
      <dsp:spPr>
        <a:xfrm>
          <a:off x="1394" y="251087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SERVICES</a:t>
          </a:r>
          <a:endParaRPr lang="en-GB" sz="2800" kern="1200" dirty="0">
            <a:latin typeface="Roboto Black" panose="02000000000000000000"/>
          </a:endParaRPr>
        </a:p>
      </dsp:txBody>
      <dsp:txXfrm>
        <a:off x="1394" y="2510870"/>
        <a:ext cx="2284035" cy="556482"/>
      </dsp:txXfrm>
    </dsp:sp>
    <dsp:sp modelId="{1A8DC358-9D64-44CA-B381-EA1D3C0E16F5}">
      <dsp:nvSpPr>
        <dsp:cNvPr id="0" name=""/>
        <dsp:cNvSpPr/>
      </dsp:nvSpPr>
      <dsp:spPr>
        <a:xfrm>
          <a:off x="2285429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FINANACE</a:t>
          </a:r>
          <a:endParaRPr lang="en-GB" sz="2800" kern="1200" dirty="0">
            <a:latin typeface="Roboto Black" panose="02000000000000000000"/>
          </a:endParaRPr>
        </a:p>
      </dsp:txBody>
      <dsp:txXfrm>
        <a:off x="2285429" y="2497220"/>
        <a:ext cx="2284035" cy="556482"/>
      </dsp:txXfrm>
    </dsp:sp>
    <dsp:sp modelId="{D6069EBC-711F-4434-A83E-1C6AD900CDDD}">
      <dsp:nvSpPr>
        <dsp:cNvPr id="0" name=""/>
        <dsp:cNvSpPr/>
      </dsp:nvSpPr>
      <dsp:spPr>
        <a:xfrm>
          <a:off x="4569465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PLANNING</a:t>
          </a:r>
          <a:endParaRPr lang="en-GB" sz="2800" kern="1200" dirty="0">
            <a:latin typeface="Roboto Black" panose="02000000000000000000"/>
          </a:endParaRPr>
        </a:p>
      </dsp:txBody>
      <dsp:txXfrm>
        <a:off x="4569465" y="2497220"/>
        <a:ext cx="2284035" cy="556482"/>
      </dsp:txXfrm>
    </dsp:sp>
    <dsp:sp modelId="{B6AC6236-FAD0-4435-9C7C-4E8A7231BA85}">
      <dsp:nvSpPr>
        <dsp:cNvPr id="0" name=""/>
        <dsp:cNvSpPr/>
      </dsp:nvSpPr>
      <dsp:spPr>
        <a:xfrm>
          <a:off x="6853500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TECHNOLOGY</a:t>
          </a:r>
          <a:endParaRPr lang="en-GB" sz="2800" kern="1200" dirty="0">
            <a:latin typeface="Roboto Black" panose="02000000000000000000"/>
          </a:endParaRPr>
        </a:p>
      </dsp:txBody>
      <dsp:txXfrm>
        <a:off x="6853500" y="2497220"/>
        <a:ext cx="2284035" cy="556482"/>
      </dsp:txXfrm>
    </dsp:sp>
    <dsp:sp modelId="{0F748891-1D87-4D03-8A48-51B989A92510}">
      <dsp:nvSpPr>
        <dsp:cNvPr id="0" name=""/>
        <dsp:cNvSpPr/>
      </dsp:nvSpPr>
      <dsp:spPr>
        <a:xfrm>
          <a:off x="9137536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GOVERNANCE</a:t>
          </a:r>
          <a:endParaRPr lang="en-GB" sz="2800" kern="1200" dirty="0">
            <a:latin typeface="Roboto Black" panose="02000000000000000000"/>
          </a:endParaRPr>
        </a:p>
      </dsp:txBody>
      <dsp:txXfrm>
        <a:off x="9137536" y="2497220"/>
        <a:ext cx="2284035" cy="556482"/>
      </dsp:txXfrm>
    </dsp:sp>
    <dsp:sp modelId="{E751300A-E192-49FE-9FE1-01C87C0691C7}">
      <dsp:nvSpPr>
        <dsp:cNvPr id="0" name=""/>
        <dsp:cNvSpPr/>
      </dsp:nvSpPr>
      <dsp:spPr>
        <a:xfrm rot="10800000">
          <a:off x="0" y="964"/>
          <a:ext cx="11422966" cy="1861145"/>
        </a:xfrm>
        <a:prstGeom prst="upArrowCallout">
          <a:avLst/>
        </a:prstGeom>
        <a:solidFill>
          <a:srgbClr val="379BB3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>
              <a:latin typeface="Roboto Black" panose="02000000000000000000"/>
            </a:rPr>
            <a:t>MISSION PROJECTS</a:t>
          </a:r>
          <a:endParaRPr lang="en-GB" sz="2400" kern="1200" dirty="0">
            <a:latin typeface="Roboto Black" panose="02000000000000000000"/>
          </a:endParaRPr>
        </a:p>
      </dsp:txBody>
      <dsp:txXfrm rot="-10800000">
        <a:off x="0" y="964"/>
        <a:ext cx="11422966" cy="653261"/>
      </dsp:txXfrm>
    </dsp:sp>
    <dsp:sp modelId="{52077E0A-2719-489D-8390-447EEBD01D83}">
      <dsp:nvSpPr>
        <dsp:cNvPr id="0" name=""/>
        <dsp:cNvSpPr/>
      </dsp:nvSpPr>
      <dsp:spPr>
        <a:xfrm>
          <a:off x="5577" y="667877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QUALITY OF LIFE</a:t>
          </a:r>
          <a:endParaRPr lang="en-GB" sz="2800" kern="1200" dirty="0">
            <a:latin typeface="Roboto Black" panose="02000000000000000000"/>
          </a:endParaRPr>
        </a:p>
      </dsp:txBody>
      <dsp:txXfrm>
        <a:off x="5577" y="667877"/>
        <a:ext cx="3803936" cy="556482"/>
      </dsp:txXfrm>
    </dsp:sp>
    <dsp:sp modelId="{518EE0CE-B441-4794-8698-174DE78B06EF}">
      <dsp:nvSpPr>
        <dsp:cNvPr id="0" name=""/>
        <dsp:cNvSpPr/>
      </dsp:nvSpPr>
      <dsp:spPr>
        <a:xfrm>
          <a:off x="3809514" y="667877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ECONOMIC ABILITY</a:t>
          </a:r>
          <a:endParaRPr lang="en-GB" sz="2800" kern="1200" dirty="0">
            <a:latin typeface="Roboto Black" panose="02000000000000000000"/>
          </a:endParaRPr>
        </a:p>
      </dsp:txBody>
      <dsp:txXfrm>
        <a:off x="3809514" y="667877"/>
        <a:ext cx="3803936" cy="556482"/>
      </dsp:txXfrm>
    </dsp:sp>
    <dsp:sp modelId="{CB8DB631-ED49-4279-AE76-3BD002062DB0}">
      <dsp:nvSpPr>
        <dsp:cNvPr id="0" name=""/>
        <dsp:cNvSpPr/>
      </dsp:nvSpPr>
      <dsp:spPr>
        <a:xfrm>
          <a:off x="7613451" y="667877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9136" tIns="35560" rIns="199136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>
              <a:latin typeface="Roboto Black" panose="02000000000000000000"/>
            </a:rPr>
            <a:t>SUSTAINABILITY</a:t>
          </a:r>
          <a:endParaRPr lang="en-GB" sz="2800" kern="1200" dirty="0">
            <a:latin typeface="Roboto Black" panose="02000000000000000000"/>
          </a:endParaRPr>
        </a:p>
      </dsp:txBody>
      <dsp:txXfrm>
        <a:off x="7613451" y="667877"/>
        <a:ext cx="3803936" cy="55648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73A7E6-755B-41FD-8ED1-A0D6D0532EEA}">
      <dsp:nvSpPr>
        <dsp:cNvPr id="0" name=""/>
        <dsp:cNvSpPr/>
      </dsp:nvSpPr>
      <dsp:spPr>
        <a:xfrm>
          <a:off x="1713" y="3686952"/>
          <a:ext cx="11419539" cy="690705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2928" tIns="312928" rIns="312928" bIns="312928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400" b="1" kern="1200" dirty="0"/>
            <a:t>DATA</a:t>
          </a:r>
          <a:endParaRPr lang="en-GB" sz="4400" b="1" kern="1200" dirty="0"/>
        </a:p>
      </dsp:txBody>
      <dsp:txXfrm>
        <a:off x="1713" y="3686952"/>
        <a:ext cx="11419539" cy="690705"/>
      </dsp:txXfrm>
    </dsp:sp>
    <dsp:sp modelId="{004E27C2-9DD9-4D30-BDC7-BA7DE7BF67DE}">
      <dsp:nvSpPr>
        <dsp:cNvPr id="0" name=""/>
        <dsp:cNvSpPr/>
      </dsp:nvSpPr>
      <dsp:spPr>
        <a:xfrm rot="10800000">
          <a:off x="0" y="1843958"/>
          <a:ext cx="11422966" cy="1861145"/>
        </a:xfrm>
        <a:prstGeom prst="upArrowCallout">
          <a:avLst/>
        </a:prstGeom>
        <a:solidFill>
          <a:srgbClr val="113037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SMART CITIES</a:t>
          </a:r>
          <a:endParaRPr lang="en-GB" sz="2300" kern="1200" dirty="0"/>
        </a:p>
      </dsp:txBody>
      <dsp:txXfrm rot="-10800000">
        <a:off x="0" y="1843958"/>
        <a:ext cx="11422966" cy="653261"/>
      </dsp:txXfrm>
    </dsp:sp>
    <dsp:sp modelId="{7B9225DF-337D-49AA-8977-F6E456F4ACA8}">
      <dsp:nvSpPr>
        <dsp:cNvPr id="0" name=""/>
        <dsp:cNvSpPr/>
      </dsp:nvSpPr>
      <dsp:spPr>
        <a:xfrm>
          <a:off x="1394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SERVICES</a:t>
          </a:r>
          <a:endParaRPr lang="en-GB" sz="2600" kern="1200" dirty="0"/>
        </a:p>
      </dsp:txBody>
      <dsp:txXfrm>
        <a:off x="1394" y="2497220"/>
        <a:ext cx="2284035" cy="556482"/>
      </dsp:txXfrm>
    </dsp:sp>
    <dsp:sp modelId="{1A8DC358-9D64-44CA-B381-EA1D3C0E16F5}">
      <dsp:nvSpPr>
        <dsp:cNvPr id="0" name=""/>
        <dsp:cNvSpPr/>
      </dsp:nvSpPr>
      <dsp:spPr>
        <a:xfrm>
          <a:off x="2285429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FINANACE</a:t>
          </a:r>
          <a:endParaRPr lang="en-GB" sz="2600" kern="1200" dirty="0"/>
        </a:p>
      </dsp:txBody>
      <dsp:txXfrm>
        <a:off x="2285429" y="2497220"/>
        <a:ext cx="2284035" cy="556482"/>
      </dsp:txXfrm>
    </dsp:sp>
    <dsp:sp modelId="{D6069EBC-711F-4434-A83E-1C6AD900CDDD}">
      <dsp:nvSpPr>
        <dsp:cNvPr id="0" name=""/>
        <dsp:cNvSpPr/>
      </dsp:nvSpPr>
      <dsp:spPr>
        <a:xfrm>
          <a:off x="4569465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PLANNING</a:t>
          </a:r>
          <a:endParaRPr lang="en-GB" sz="2600" kern="1200" dirty="0"/>
        </a:p>
      </dsp:txBody>
      <dsp:txXfrm>
        <a:off x="4569465" y="2497220"/>
        <a:ext cx="2284035" cy="556482"/>
      </dsp:txXfrm>
    </dsp:sp>
    <dsp:sp modelId="{B6AC6236-FAD0-4435-9C7C-4E8A7231BA85}">
      <dsp:nvSpPr>
        <dsp:cNvPr id="0" name=""/>
        <dsp:cNvSpPr/>
      </dsp:nvSpPr>
      <dsp:spPr>
        <a:xfrm>
          <a:off x="6853500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TECHNOLOGY</a:t>
          </a:r>
          <a:endParaRPr lang="en-GB" sz="2600" kern="1200" dirty="0"/>
        </a:p>
      </dsp:txBody>
      <dsp:txXfrm>
        <a:off x="6853500" y="2497220"/>
        <a:ext cx="2284035" cy="556482"/>
      </dsp:txXfrm>
    </dsp:sp>
    <dsp:sp modelId="{0F748891-1D87-4D03-8A48-51B989A92510}">
      <dsp:nvSpPr>
        <dsp:cNvPr id="0" name=""/>
        <dsp:cNvSpPr/>
      </dsp:nvSpPr>
      <dsp:spPr>
        <a:xfrm>
          <a:off x="9137536" y="2497220"/>
          <a:ext cx="2284035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GOVERNANCE</a:t>
          </a:r>
          <a:endParaRPr lang="en-GB" sz="2600" kern="1200" dirty="0"/>
        </a:p>
      </dsp:txBody>
      <dsp:txXfrm>
        <a:off x="9137536" y="2497220"/>
        <a:ext cx="2284035" cy="556482"/>
      </dsp:txXfrm>
    </dsp:sp>
    <dsp:sp modelId="{E751300A-E192-49FE-9FE1-01C87C0691C7}">
      <dsp:nvSpPr>
        <dsp:cNvPr id="0" name=""/>
        <dsp:cNvSpPr/>
      </dsp:nvSpPr>
      <dsp:spPr>
        <a:xfrm rot="10800000">
          <a:off x="0" y="964"/>
          <a:ext cx="11422966" cy="1861145"/>
        </a:xfrm>
        <a:prstGeom prst="upArrowCallout">
          <a:avLst/>
        </a:prstGeom>
        <a:solidFill>
          <a:srgbClr val="379BB3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/>
            <a:t>MISSION PROJECTS</a:t>
          </a:r>
          <a:endParaRPr lang="en-GB" sz="2300" kern="1200" dirty="0"/>
        </a:p>
      </dsp:txBody>
      <dsp:txXfrm rot="-10800000">
        <a:off x="0" y="964"/>
        <a:ext cx="11422966" cy="653261"/>
      </dsp:txXfrm>
    </dsp:sp>
    <dsp:sp modelId="{52077E0A-2719-489D-8390-447EEBD01D83}">
      <dsp:nvSpPr>
        <dsp:cNvPr id="0" name=""/>
        <dsp:cNvSpPr/>
      </dsp:nvSpPr>
      <dsp:spPr>
        <a:xfrm>
          <a:off x="5577" y="654226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QUALITY OF LIFE</a:t>
          </a:r>
          <a:endParaRPr lang="en-GB" sz="2600" kern="1200" dirty="0"/>
        </a:p>
      </dsp:txBody>
      <dsp:txXfrm>
        <a:off x="5577" y="654226"/>
        <a:ext cx="3803936" cy="556482"/>
      </dsp:txXfrm>
    </dsp:sp>
    <dsp:sp modelId="{518EE0CE-B441-4794-8698-174DE78B06EF}">
      <dsp:nvSpPr>
        <dsp:cNvPr id="0" name=""/>
        <dsp:cNvSpPr/>
      </dsp:nvSpPr>
      <dsp:spPr>
        <a:xfrm>
          <a:off x="3809514" y="654226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ECONOMIC ABILITY</a:t>
          </a:r>
          <a:endParaRPr lang="en-GB" sz="2600" kern="1200" dirty="0"/>
        </a:p>
      </dsp:txBody>
      <dsp:txXfrm>
        <a:off x="3809514" y="654226"/>
        <a:ext cx="3803936" cy="556482"/>
      </dsp:txXfrm>
    </dsp:sp>
    <dsp:sp modelId="{CB8DB631-ED49-4279-AE76-3BD002062DB0}">
      <dsp:nvSpPr>
        <dsp:cNvPr id="0" name=""/>
        <dsp:cNvSpPr/>
      </dsp:nvSpPr>
      <dsp:spPr>
        <a:xfrm>
          <a:off x="7613451" y="654226"/>
          <a:ext cx="3803936" cy="556482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SUSTAINABILITY</a:t>
          </a:r>
          <a:endParaRPr lang="en-GB" sz="2600" kern="1200" dirty="0"/>
        </a:p>
      </dsp:txBody>
      <dsp:txXfrm>
        <a:off x="7613451" y="654226"/>
        <a:ext cx="3803936" cy="556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A21747-25E1-4925-B4E5-0504D497F99C}" type="datetimeFigureOut">
              <a:rPr lang="en-IN" smtClean="0"/>
              <a:t>10-07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33AAB2-3AD4-44C7-9231-C3C82405712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58124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773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78843"/>
            <a:ext cx="9144000" cy="2031119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6006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76573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580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76200"/>
            <a:ext cx="12192000" cy="1419578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99522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403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84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11" name="Rectangle 10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9" name="Group 178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80" name="Group 179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300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01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302" name="Group 301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3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1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2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3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81" name="Group 180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82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7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8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9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9" name="Rectangle 8"/>
          <p:cNvSpPr/>
          <p:nvPr userDrawn="1"/>
        </p:nvSpPr>
        <p:spPr>
          <a:xfrm>
            <a:off x="0" y="-76200"/>
            <a:ext cx="12192000" cy="1419578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01594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3306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371600"/>
            <a:ext cx="12192000" cy="5486400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6975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606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-76201"/>
            <a:ext cx="12192000" cy="4659489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65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32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-76200"/>
            <a:ext cx="12192000" cy="1419578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63112" cy="7073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4444" y="1557867"/>
            <a:ext cx="5466644" cy="461909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57867"/>
            <a:ext cx="5466644" cy="46190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1856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326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-76200"/>
            <a:ext cx="12192000" cy="1419578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74400" cy="650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6308" y="1444096"/>
            <a:ext cx="543126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6308" y="2438400"/>
            <a:ext cx="5431267" cy="375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8307" y="1444096"/>
            <a:ext cx="545801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68307" y="2438400"/>
            <a:ext cx="5458015" cy="37592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14223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576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-76200"/>
            <a:ext cx="12192000" cy="1419578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6013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92418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39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5068711" cy="6858000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928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00940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6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63112" cy="7073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4444" y="1490133"/>
            <a:ext cx="11063112" cy="46868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4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3F657-5420-4DCB-AB18-1C07A07D0579}" type="datetimeFigureOut">
              <a:rPr lang="en-GB" smtClean="0"/>
              <a:t>10/07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435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53284-2CE0-42A9-AE0D-C052CDAFF7B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1847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Roboto Black" panose="02000000000000000000" pitchFamily="2" charset="0"/>
          <a:ea typeface="Roboto Black" panose="02000000000000000000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chart" Target="../charts/chart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20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1.jpe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2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23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4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25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26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15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14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27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28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tags" Target="../tags/tag53.xml"/><Relationship Id="rId7" Type="http://schemas.openxmlformats.org/officeDocument/2006/relationships/image" Target="../media/image29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31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3" Type="http://schemas.openxmlformats.org/officeDocument/2006/relationships/tags" Target="../tags/tag57.xml"/><Relationship Id="rId7" Type="http://schemas.openxmlformats.org/officeDocument/2006/relationships/image" Target="../media/image3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59.xml"/><Relationship Id="rId7" Type="http://schemas.openxmlformats.org/officeDocument/2006/relationships/image" Target="../media/image36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9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41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emf"/><Relationship Id="rId3" Type="http://schemas.openxmlformats.org/officeDocument/2006/relationships/tags" Target="../tags/tag62.xml"/><Relationship Id="rId7" Type="http://schemas.openxmlformats.org/officeDocument/2006/relationships/image" Target="../media/image49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1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1.jpg"/><Relationship Id="rId18" Type="http://schemas.openxmlformats.org/officeDocument/2006/relationships/image" Target="../media/image66.jpg"/><Relationship Id="rId26" Type="http://schemas.openxmlformats.org/officeDocument/2006/relationships/image" Target="../media/image74.jpg"/><Relationship Id="rId39" Type="http://schemas.openxmlformats.org/officeDocument/2006/relationships/image" Target="../media/image87.jpg"/><Relationship Id="rId21" Type="http://schemas.openxmlformats.org/officeDocument/2006/relationships/image" Target="../media/image69.jpg"/><Relationship Id="rId34" Type="http://schemas.openxmlformats.org/officeDocument/2006/relationships/image" Target="../media/image82.jpg"/><Relationship Id="rId42" Type="http://schemas.openxmlformats.org/officeDocument/2006/relationships/image" Target="../media/image90.jpg"/><Relationship Id="rId47" Type="http://schemas.openxmlformats.org/officeDocument/2006/relationships/image" Target="../media/image95.JPG"/><Relationship Id="rId50" Type="http://schemas.openxmlformats.org/officeDocument/2006/relationships/image" Target="../media/image98.jpg"/><Relationship Id="rId55" Type="http://schemas.openxmlformats.org/officeDocument/2006/relationships/image" Target="../media/image103.jpg"/><Relationship Id="rId7" Type="http://schemas.openxmlformats.org/officeDocument/2006/relationships/image" Target="../media/image55.png"/><Relationship Id="rId2" Type="http://schemas.openxmlformats.org/officeDocument/2006/relationships/tags" Target="../tags/tag63.xml"/><Relationship Id="rId16" Type="http://schemas.openxmlformats.org/officeDocument/2006/relationships/image" Target="../media/image64.jpg"/><Relationship Id="rId29" Type="http://schemas.openxmlformats.org/officeDocument/2006/relationships/image" Target="../media/image77.jpg"/><Relationship Id="rId11" Type="http://schemas.openxmlformats.org/officeDocument/2006/relationships/image" Target="../media/image59.jpg"/><Relationship Id="rId24" Type="http://schemas.openxmlformats.org/officeDocument/2006/relationships/image" Target="../media/image72.jpg"/><Relationship Id="rId32" Type="http://schemas.openxmlformats.org/officeDocument/2006/relationships/image" Target="../media/image80.jpg"/><Relationship Id="rId37" Type="http://schemas.openxmlformats.org/officeDocument/2006/relationships/image" Target="../media/image85.jpg"/><Relationship Id="rId40" Type="http://schemas.openxmlformats.org/officeDocument/2006/relationships/image" Target="../media/image88.jpg"/><Relationship Id="rId45" Type="http://schemas.openxmlformats.org/officeDocument/2006/relationships/image" Target="../media/image93.jpg"/><Relationship Id="rId53" Type="http://schemas.openxmlformats.org/officeDocument/2006/relationships/image" Target="../media/image101.jpg"/><Relationship Id="rId58" Type="http://schemas.openxmlformats.org/officeDocument/2006/relationships/image" Target="../media/image106.jpg"/><Relationship Id="rId5" Type="http://schemas.openxmlformats.org/officeDocument/2006/relationships/oleObject" Target="../embeddings/oleObject32.bin"/><Relationship Id="rId61" Type="http://schemas.openxmlformats.org/officeDocument/2006/relationships/image" Target="../media/image109.jpg"/><Relationship Id="rId19" Type="http://schemas.openxmlformats.org/officeDocument/2006/relationships/image" Target="../media/image67.jpg"/><Relationship Id="rId14" Type="http://schemas.openxmlformats.org/officeDocument/2006/relationships/image" Target="../media/image62.jpg"/><Relationship Id="rId22" Type="http://schemas.openxmlformats.org/officeDocument/2006/relationships/image" Target="../media/image70.jpg"/><Relationship Id="rId27" Type="http://schemas.openxmlformats.org/officeDocument/2006/relationships/image" Target="../media/image75.JPG"/><Relationship Id="rId30" Type="http://schemas.openxmlformats.org/officeDocument/2006/relationships/image" Target="../media/image78.jpg"/><Relationship Id="rId35" Type="http://schemas.openxmlformats.org/officeDocument/2006/relationships/image" Target="../media/image83.jpg"/><Relationship Id="rId43" Type="http://schemas.openxmlformats.org/officeDocument/2006/relationships/image" Target="../media/image91.jpeg"/><Relationship Id="rId48" Type="http://schemas.openxmlformats.org/officeDocument/2006/relationships/image" Target="../media/image96.JPG"/><Relationship Id="rId56" Type="http://schemas.openxmlformats.org/officeDocument/2006/relationships/image" Target="../media/image104.jpg"/><Relationship Id="rId8" Type="http://schemas.openxmlformats.org/officeDocument/2006/relationships/image" Target="../media/image56.png"/><Relationship Id="rId51" Type="http://schemas.openxmlformats.org/officeDocument/2006/relationships/image" Target="../media/image99.jpg"/><Relationship Id="rId3" Type="http://schemas.openxmlformats.org/officeDocument/2006/relationships/tags" Target="../tags/tag64.xml"/><Relationship Id="rId12" Type="http://schemas.openxmlformats.org/officeDocument/2006/relationships/image" Target="../media/image60.jpg"/><Relationship Id="rId17" Type="http://schemas.openxmlformats.org/officeDocument/2006/relationships/image" Target="../media/image65.jpg"/><Relationship Id="rId25" Type="http://schemas.openxmlformats.org/officeDocument/2006/relationships/image" Target="../media/image73.jpg"/><Relationship Id="rId33" Type="http://schemas.openxmlformats.org/officeDocument/2006/relationships/image" Target="../media/image81.JPG"/><Relationship Id="rId38" Type="http://schemas.openxmlformats.org/officeDocument/2006/relationships/image" Target="../media/image86.jpeg"/><Relationship Id="rId46" Type="http://schemas.openxmlformats.org/officeDocument/2006/relationships/image" Target="../media/image94.jpg"/><Relationship Id="rId59" Type="http://schemas.openxmlformats.org/officeDocument/2006/relationships/image" Target="../media/image107.jpg"/><Relationship Id="rId20" Type="http://schemas.openxmlformats.org/officeDocument/2006/relationships/image" Target="../media/image68.jpg"/><Relationship Id="rId41" Type="http://schemas.openxmlformats.org/officeDocument/2006/relationships/image" Target="../media/image89.jpg"/><Relationship Id="rId54" Type="http://schemas.openxmlformats.org/officeDocument/2006/relationships/image" Target="../media/image102.JPG"/><Relationship Id="rId62" Type="http://schemas.openxmlformats.org/officeDocument/2006/relationships/image" Target="../media/image110.jpg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5" Type="http://schemas.openxmlformats.org/officeDocument/2006/relationships/image" Target="../media/image63.jpg"/><Relationship Id="rId23" Type="http://schemas.openxmlformats.org/officeDocument/2006/relationships/image" Target="../media/image71.jpg"/><Relationship Id="rId28" Type="http://schemas.openxmlformats.org/officeDocument/2006/relationships/image" Target="../media/image76.jpg"/><Relationship Id="rId36" Type="http://schemas.openxmlformats.org/officeDocument/2006/relationships/image" Target="../media/image84.jpg"/><Relationship Id="rId49" Type="http://schemas.openxmlformats.org/officeDocument/2006/relationships/image" Target="../media/image97.jpg"/><Relationship Id="rId57" Type="http://schemas.openxmlformats.org/officeDocument/2006/relationships/image" Target="../media/image105.jpg"/><Relationship Id="rId10" Type="http://schemas.openxmlformats.org/officeDocument/2006/relationships/image" Target="../media/image58.png"/><Relationship Id="rId31" Type="http://schemas.openxmlformats.org/officeDocument/2006/relationships/image" Target="../media/image79.jpg"/><Relationship Id="rId44" Type="http://schemas.openxmlformats.org/officeDocument/2006/relationships/image" Target="../media/image92.jpg"/><Relationship Id="rId52" Type="http://schemas.openxmlformats.org/officeDocument/2006/relationships/image" Target="../media/image100.JPG"/><Relationship Id="rId60" Type="http://schemas.openxmlformats.org/officeDocument/2006/relationships/image" Target="../media/image108.jp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7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9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3F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343378"/>
            <a:ext cx="12192000" cy="471501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1102" name="Object 110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1557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3" name="Rectangle 110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301" name="Rectangle 300"/>
          <p:cNvSpPr/>
          <p:nvPr/>
        </p:nvSpPr>
        <p:spPr>
          <a:xfrm>
            <a:off x="0" y="-76200"/>
            <a:ext cx="12192000" cy="1419578"/>
          </a:xfrm>
          <a:prstGeom prst="rect">
            <a:avLst/>
          </a:prstGeom>
          <a:solidFill>
            <a:srgbClr val="113037"/>
          </a:solidFill>
          <a:ln>
            <a:solidFill>
              <a:srgbClr val="113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3" t="9393" r="11529" b="4728"/>
          <a:stretch/>
        </p:blipFill>
        <p:spPr>
          <a:xfrm>
            <a:off x="9281076" y="316089"/>
            <a:ext cx="1131801" cy="883356"/>
          </a:xfrm>
          <a:prstGeom prst="rect">
            <a:avLst/>
          </a:prstGeom>
        </p:spPr>
      </p:pic>
      <p:grpSp>
        <p:nvGrpSpPr>
          <p:cNvPr id="71" name="Group 5"/>
          <p:cNvGrpSpPr>
            <a:grpSpLocks noChangeAspect="1"/>
          </p:cNvGrpSpPr>
          <p:nvPr/>
        </p:nvGrpSpPr>
        <p:grpSpPr bwMode="auto">
          <a:xfrm>
            <a:off x="4919361" y="173921"/>
            <a:ext cx="2353278" cy="949324"/>
            <a:chOff x="2577" y="1650"/>
            <a:chExt cx="2526" cy="1019"/>
          </a:xfrm>
          <a:solidFill>
            <a:schemeClr val="bg1"/>
          </a:solidFill>
        </p:grpSpPr>
        <p:sp>
          <p:nvSpPr>
            <p:cNvPr id="73" name="Freeform 6"/>
            <p:cNvSpPr>
              <a:spLocks noEditPoints="1"/>
            </p:cNvSpPr>
            <p:nvPr/>
          </p:nvSpPr>
          <p:spPr bwMode="auto">
            <a:xfrm>
              <a:off x="3849" y="1700"/>
              <a:ext cx="31" cy="27"/>
            </a:xfrm>
            <a:custGeom>
              <a:avLst/>
              <a:gdLst>
                <a:gd name="T0" fmla="*/ 6 w 13"/>
                <a:gd name="T1" fmla="*/ 10 h 11"/>
                <a:gd name="T2" fmla="*/ 12 w 13"/>
                <a:gd name="T3" fmla="*/ 8 h 11"/>
                <a:gd name="T4" fmla="*/ 11 w 13"/>
                <a:gd name="T5" fmla="*/ 3 h 11"/>
                <a:gd name="T6" fmla="*/ 4 w 13"/>
                <a:gd name="T7" fmla="*/ 2 h 11"/>
                <a:gd name="T8" fmla="*/ 0 w 13"/>
                <a:gd name="T9" fmla="*/ 5 h 11"/>
                <a:gd name="T10" fmla="*/ 4 w 13"/>
                <a:gd name="T11" fmla="*/ 10 h 11"/>
                <a:gd name="T12" fmla="*/ 6 w 13"/>
                <a:gd name="T13" fmla="*/ 10 h 11"/>
                <a:gd name="T14" fmla="*/ 10 w 13"/>
                <a:gd name="T15" fmla="*/ 8 h 11"/>
                <a:gd name="T16" fmla="*/ 4 w 13"/>
                <a:gd name="T17" fmla="*/ 8 h 11"/>
                <a:gd name="T18" fmla="*/ 4 w 13"/>
                <a:gd name="T19" fmla="*/ 7 h 11"/>
                <a:gd name="T20" fmla="*/ 10 w 13"/>
                <a:gd name="T21" fmla="*/ 6 h 11"/>
                <a:gd name="T22" fmla="*/ 10 w 13"/>
                <a:gd name="T23" fmla="*/ 8 h 11"/>
                <a:gd name="T24" fmla="*/ 3 w 13"/>
                <a:gd name="T25" fmla="*/ 5 h 11"/>
                <a:gd name="T26" fmla="*/ 5 w 13"/>
                <a:gd name="T27" fmla="*/ 3 h 11"/>
                <a:gd name="T28" fmla="*/ 10 w 13"/>
                <a:gd name="T29" fmla="*/ 3 h 11"/>
                <a:gd name="T30" fmla="*/ 10 w 13"/>
                <a:gd name="T31" fmla="*/ 4 h 11"/>
                <a:gd name="T32" fmla="*/ 7 w 13"/>
                <a:gd name="T33" fmla="*/ 4 h 11"/>
                <a:gd name="T34" fmla="*/ 3 w 13"/>
                <a:gd name="T3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11">
                  <a:moveTo>
                    <a:pt x="6" y="10"/>
                  </a:moveTo>
                  <a:cubicBezTo>
                    <a:pt x="8" y="11"/>
                    <a:pt x="10" y="10"/>
                    <a:pt x="12" y="8"/>
                  </a:cubicBezTo>
                  <a:cubicBezTo>
                    <a:pt x="13" y="6"/>
                    <a:pt x="13" y="5"/>
                    <a:pt x="11" y="3"/>
                  </a:cubicBezTo>
                  <a:cubicBezTo>
                    <a:pt x="9" y="0"/>
                    <a:pt x="7" y="0"/>
                    <a:pt x="4" y="2"/>
                  </a:cubicBezTo>
                  <a:cubicBezTo>
                    <a:pt x="2" y="2"/>
                    <a:pt x="1" y="3"/>
                    <a:pt x="0" y="5"/>
                  </a:cubicBezTo>
                  <a:cubicBezTo>
                    <a:pt x="0" y="6"/>
                    <a:pt x="0" y="6"/>
                    <a:pt x="4" y="10"/>
                  </a:cubicBezTo>
                  <a:lnTo>
                    <a:pt x="6" y="10"/>
                  </a:lnTo>
                  <a:close/>
                  <a:moveTo>
                    <a:pt x="10" y="8"/>
                  </a:moveTo>
                  <a:cubicBezTo>
                    <a:pt x="8" y="9"/>
                    <a:pt x="6" y="9"/>
                    <a:pt x="4" y="8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5" y="5"/>
                    <a:pt x="8" y="5"/>
                    <a:pt x="10" y="6"/>
                  </a:cubicBezTo>
                  <a:cubicBezTo>
                    <a:pt x="11" y="7"/>
                    <a:pt x="11" y="7"/>
                    <a:pt x="10" y="8"/>
                  </a:cubicBezTo>
                  <a:moveTo>
                    <a:pt x="3" y="5"/>
                  </a:moveTo>
                  <a:cubicBezTo>
                    <a:pt x="3" y="4"/>
                    <a:pt x="4" y="3"/>
                    <a:pt x="5" y="3"/>
                  </a:cubicBezTo>
                  <a:cubicBezTo>
                    <a:pt x="5" y="3"/>
                    <a:pt x="8" y="2"/>
                    <a:pt x="10" y="3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5" y="4"/>
                    <a:pt x="4" y="5"/>
                    <a:pt x="3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7"/>
            <p:cNvSpPr>
              <a:spLocks/>
            </p:cNvSpPr>
            <p:nvPr/>
          </p:nvSpPr>
          <p:spPr bwMode="auto">
            <a:xfrm>
              <a:off x="3951" y="1715"/>
              <a:ext cx="10" cy="5"/>
            </a:xfrm>
            <a:custGeom>
              <a:avLst/>
              <a:gdLst>
                <a:gd name="T0" fmla="*/ 3 w 4"/>
                <a:gd name="T1" fmla="*/ 2 h 2"/>
                <a:gd name="T2" fmla="*/ 4 w 4"/>
                <a:gd name="T3" fmla="*/ 0 h 2"/>
                <a:gd name="T4" fmla="*/ 2 w 4"/>
                <a:gd name="T5" fmla="*/ 0 h 2"/>
                <a:gd name="T6" fmla="*/ 3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0" y="0"/>
                    <a:pt x="0" y="2"/>
                    <a:pt x="3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8"/>
            <p:cNvSpPr>
              <a:spLocks noEditPoints="1"/>
            </p:cNvSpPr>
            <p:nvPr/>
          </p:nvSpPr>
          <p:spPr bwMode="auto">
            <a:xfrm>
              <a:off x="3655" y="1650"/>
              <a:ext cx="370" cy="579"/>
            </a:xfrm>
            <a:custGeom>
              <a:avLst/>
              <a:gdLst>
                <a:gd name="T0" fmla="*/ 53 w 156"/>
                <a:gd name="T1" fmla="*/ 20 h 243"/>
                <a:gd name="T2" fmla="*/ 20 w 156"/>
                <a:gd name="T3" fmla="*/ 105 h 243"/>
                <a:gd name="T4" fmla="*/ 148 w 156"/>
                <a:gd name="T5" fmla="*/ 212 h 243"/>
                <a:gd name="T6" fmla="*/ 132 w 156"/>
                <a:gd name="T7" fmla="*/ 73 h 243"/>
                <a:gd name="T8" fmla="*/ 117 w 156"/>
                <a:gd name="T9" fmla="*/ 44 h 243"/>
                <a:gd name="T10" fmla="*/ 114 w 156"/>
                <a:gd name="T11" fmla="*/ 105 h 243"/>
                <a:gd name="T12" fmla="*/ 87 w 156"/>
                <a:gd name="T13" fmla="*/ 176 h 243"/>
                <a:gd name="T14" fmla="*/ 66 w 156"/>
                <a:gd name="T15" fmla="*/ 176 h 243"/>
                <a:gd name="T16" fmla="*/ 66 w 156"/>
                <a:gd name="T17" fmla="*/ 166 h 243"/>
                <a:gd name="T18" fmla="*/ 46 w 156"/>
                <a:gd name="T19" fmla="*/ 188 h 243"/>
                <a:gd name="T20" fmla="*/ 52 w 156"/>
                <a:gd name="T21" fmla="*/ 186 h 243"/>
                <a:gd name="T22" fmla="*/ 81 w 156"/>
                <a:gd name="T23" fmla="*/ 52 h 243"/>
                <a:gd name="T24" fmla="*/ 113 w 156"/>
                <a:gd name="T25" fmla="*/ 79 h 243"/>
                <a:gd name="T26" fmla="*/ 110 w 156"/>
                <a:gd name="T27" fmla="*/ 56 h 243"/>
                <a:gd name="T28" fmla="*/ 91 w 156"/>
                <a:gd name="T29" fmla="*/ 104 h 243"/>
                <a:gd name="T30" fmla="*/ 77 w 156"/>
                <a:gd name="T31" fmla="*/ 102 h 243"/>
                <a:gd name="T32" fmla="*/ 76 w 156"/>
                <a:gd name="T33" fmla="*/ 98 h 243"/>
                <a:gd name="T34" fmla="*/ 56 w 156"/>
                <a:gd name="T35" fmla="*/ 94 h 243"/>
                <a:gd name="T36" fmla="*/ 57 w 156"/>
                <a:gd name="T37" fmla="*/ 87 h 243"/>
                <a:gd name="T38" fmla="*/ 70 w 156"/>
                <a:gd name="T39" fmla="*/ 73 h 243"/>
                <a:gd name="T40" fmla="*/ 70 w 156"/>
                <a:gd name="T41" fmla="*/ 93 h 243"/>
                <a:gd name="T42" fmla="*/ 89 w 156"/>
                <a:gd name="T43" fmla="*/ 71 h 243"/>
                <a:gd name="T44" fmla="*/ 102 w 156"/>
                <a:gd name="T45" fmla="*/ 95 h 243"/>
                <a:gd name="T46" fmla="*/ 100 w 156"/>
                <a:gd name="T47" fmla="*/ 113 h 243"/>
                <a:gd name="T48" fmla="*/ 100 w 156"/>
                <a:gd name="T49" fmla="*/ 56 h 243"/>
                <a:gd name="T50" fmla="*/ 51 w 156"/>
                <a:gd name="T51" fmla="*/ 73 h 243"/>
                <a:gd name="T52" fmla="*/ 37 w 156"/>
                <a:gd name="T53" fmla="*/ 69 h 243"/>
                <a:gd name="T54" fmla="*/ 36 w 156"/>
                <a:gd name="T55" fmla="*/ 60 h 243"/>
                <a:gd name="T56" fmla="*/ 38 w 156"/>
                <a:gd name="T57" fmla="*/ 87 h 243"/>
                <a:gd name="T58" fmla="*/ 34 w 156"/>
                <a:gd name="T59" fmla="*/ 115 h 243"/>
                <a:gd name="T60" fmla="*/ 47 w 156"/>
                <a:gd name="T61" fmla="*/ 111 h 243"/>
                <a:gd name="T62" fmla="*/ 76 w 156"/>
                <a:gd name="T63" fmla="*/ 128 h 243"/>
                <a:gd name="T64" fmla="*/ 99 w 156"/>
                <a:gd name="T65" fmla="*/ 187 h 243"/>
                <a:gd name="T66" fmla="*/ 106 w 156"/>
                <a:gd name="T67" fmla="*/ 105 h 243"/>
                <a:gd name="T68" fmla="*/ 125 w 156"/>
                <a:gd name="T69" fmla="*/ 106 h 243"/>
                <a:gd name="T70" fmla="*/ 111 w 156"/>
                <a:gd name="T71" fmla="*/ 33 h 243"/>
                <a:gd name="T72" fmla="*/ 100 w 156"/>
                <a:gd name="T73" fmla="*/ 35 h 243"/>
                <a:gd name="T74" fmla="*/ 89 w 156"/>
                <a:gd name="T75" fmla="*/ 46 h 243"/>
                <a:gd name="T76" fmla="*/ 72 w 156"/>
                <a:gd name="T77" fmla="*/ 41 h 243"/>
                <a:gd name="T78" fmla="*/ 85 w 156"/>
                <a:gd name="T79" fmla="*/ 10 h 243"/>
                <a:gd name="T80" fmla="*/ 70 w 156"/>
                <a:gd name="T81" fmla="*/ 10 h 243"/>
                <a:gd name="T82" fmla="*/ 52 w 156"/>
                <a:gd name="T83" fmla="*/ 38 h 243"/>
                <a:gd name="T84" fmla="*/ 40 w 156"/>
                <a:gd name="T85" fmla="*/ 34 h 243"/>
                <a:gd name="T86" fmla="*/ 31 w 156"/>
                <a:gd name="T87" fmla="*/ 49 h 243"/>
                <a:gd name="T88" fmla="*/ 21 w 156"/>
                <a:gd name="T89" fmla="*/ 61 h 243"/>
                <a:gd name="T90" fmla="*/ 28 w 156"/>
                <a:gd name="T91" fmla="*/ 92 h 243"/>
                <a:gd name="T92" fmla="*/ 40 w 156"/>
                <a:gd name="T93" fmla="*/ 120 h 243"/>
                <a:gd name="T94" fmla="*/ 43 w 156"/>
                <a:gd name="T95" fmla="*/ 178 h 243"/>
                <a:gd name="T96" fmla="*/ 32 w 156"/>
                <a:gd name="T97" fmla="*/ 179 h 243"/>
                <a:gd name="T98" fmla="*/ 14 w 156"/>
                <a:gd name="T99" fmla="*/ 216 h 243"/>
                <a:gd name="T100" fmla="*/ 49 w 156"/>
                <a:gd name="T101" fmla="*/ 228 h 243"/>
                <a:gd name="T102" fmla="*/ 26 w 156"/>
                <a:gd name="T103" fmla="*/ 220 h 243"/>
                <a:gd name="T104" fmla="*/ 53 w 156"/>
                <a:gd name="T105" fmla="*/ 211 h 243"/>
                <a:gd name="T106" fmla="*/ 121 w 156"/>
                <a:gd name="T107" fmla="*/ 222 h 243"/>
                <a:gd name="T108" fmla="*/ 109 w 156"/>
                <a:gd name="T109" fmla="*/ 207 h 243"/>
                <a:gd name="T110" fmla="*/ 117 w 156"/>
                <a:gd name="T111" fmla="*/ 187 h 243"/>
                <a:gd name="T112" fmla="*/ 130 w 156"/>
                <a:gd name="T113" fmla="*/ 188 h 243"/>
                <a:gd name="T114" fmla="*/ 135 w 156"/>
                <a:gd name="T115" fmla="*/ 188 h 243"/>
                <a:gd name="T116" fmla="*/ 106 w 156"/>
                <a:gd name="T117" fmla="*/ 157 h 243"/>
                <a:gd name="T118" fmla="*/ 122 w 156"/>
                <a:gd name="T119" fmla="*/ 116 h 243"/>
                <a:gd name="T120" fmla="*/ 131 w 156"/>
                <a:gd name="T121" fmla="*/ 80 h 243"/>
                <a:gd name="T122" fmla="*/ 147 w 156"/>
                <a:gd name="T123" fmla="*/ 52 h 243"/>
                <a:gd name="T124" fmla="*/ 150 w 156"/>
                <a:gd name="T125" fmla="*/ 5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243">
                  <a:moveTo>
                    <a:pt x="152" y="48"/>
                  </a:moveTo>
                  <a:cubicBezTo>
                    <a:pt x="152" y="47"/>
                    <a:pt x="151" y="45"/>
                    <a:pt x="151" y="44"/>
                  </a:cubicBezTo>
                  <a:cubicBezTo>
                    <a:pt x="150" y="40"/>
                    <a:pt x="150" y="37"/>
                    <a:pt x="146" y="35"/>
                  </a:cubicBezTo>
                  <a:cubicBezTo>
                    <a:pt x="145" y="34"/>
                    <a:pt x="139" y="33"/>
                    <a:pt x="138" y="33"/>
                  </a:cubicBezTo>
                  <a:cubicBezTo>
                    <a:pt x="137" y="32"/>
                    <a:pt x="137" y="30"/>
                    <a:pt x="135" y="28"/>
                  </a:cubicBezTo>
                  <a:cubicBezTo>
                    <a:pt x="134" y="27"/>
                    <a:pt x="133" y="26"/>
                    <a:pt x="132" y="25"/>
                  </a:cubicBezTo>
                  <a:cubicBezTo>
                    <a:pt x="129" y="22"/>
                    <a:pt x="125" y="21"/>
                    <a:pt x="121" y="23"/>
                  </a:cubicBezTo>
                  <a:cubicBezTo>
                    <a:pt x="118" y="24"/>
                    <a:pt x="118" y="25"/>
                    <a:pt x="116" y="29"/>
                  </a:cubicBezTo>
                  <a:cubicBezTo>
                    <a:pt x="115" y="30"/>
                    <a:pt x="114" y="29"/>
                    <a:pt x="112" y="29"/>
                  </a:cubicBezTo>
                  <a:cubicBezTo>
                    <a:pt x="111" y="29"/>
                    <a:pt x="110" y="30"/>
                    <a:pt x="109" y="30"/>
                  </a:cubicBezTo>
                  <a:cubicBezTo>
                    <a:pt x="108" y="31"/>
                    <a:pt x="107" y="31"/>
                    <a:pt x="107" y="31"/>
                  </a:cubicBezTo>
                  <a:cubicBezTo>
                    <a:pt x="107" y="31"/>
                    <a:pt x="107" y="29"/>
                    <a:pt x="106" y="28"/>
                  </a:cubicBezTo>
                  <a:cubicBezTo>
                    <a:pt x="106" y="27"/>
                    <a:pt x="106" y="27"/>
                    <a:pt x="105" y="26"/>
                  </a:cubicBezTo>
                  <a:cubicBezTo>
                    <a:pt x="105" y="25"/>
                    <a:pt x="105" y="23"/>
                    <a:pt x="105" y="21"/>
                  </a:cubicBezTo>
                  <a:cubicBezTo>
                    <a:pt x="105" y="20"/>
                    <a:pt x="103" y="14"/>
                    <a:pt x="102" y="14"/>
                  </a:cubicBezTo>
                  <a:cubicBezTo>
                    <a:pt x="102" y="13"/>
                    <a:pt x="101" y="12"/>
                    <a:pt x="101" y="12"/>
                  </a:cubicBezTo>
                  <a:cubicBezTo>
                    <a:pt x="99" y="9"/>
                    <a:pt x="99" y="5"/>
                    <a:pt x="96" y="5"/>
                  </a:cubicBezTo>
                  <a:cubicBezTo>
                    <a:pt x="95" y="5"/>
                    <a:pt x="90" y="7"/>
                    <a:pt x="90" y="7"/>
                  </a:cubicBezTo>
                  <a:cubicBezTo>
                    <a:pt x="89" y="7"/>
                    <a:pt x="89" y="5"/>
                    <a:pt x="88" y="4"/>
                  </a:cubicBezTo>
                  <a:cubicBezTo>
                    <a:pt x="87" y="3"/>
                    <a:pt x="86" y="4"/>
                    <a:pt x="84" y="4"/>
                  </a:cubicBezTo>
                  <a:cubicBezTo>
                    <a:pt x="83" y="4"/>
                    <a:pt x="83" y="3"/>
                    <a:pt x="82" y="3"/>
                  </a:cubicBezTo>
                  <a:cubicBezTo>
                    <a:pt x="81" y="3"/>
                    <a:pt x="80" y="3"/>
                    <a:pt x="79" y="4"/>
                  </a:cubicBezTo>
                  <a:cubicBezTo>
                    <a:pt x="79" y="4"/>
                    <a:pt x="76" y="3"/>
                    <a:pt x="75" y="3"/>
                  </a:cubicBezTo>
                  <a:cubicBezTo>
                    <a:pt x="74" y="2"/>
                    <a:pt x="74" y="2"/>
                    <a:pt x="73" y="1"/>
                  </a:cubicBezTo>
                  <a:cubicBezTo>
                    <a:pt x="72" y="1"/>
                    <a:pt x="70" y="0"/>
                    <a:pt x="70" y="0"/>
                  </a:cubicBezTo>
                  <a:cubicBezTo>
                    <a:pt x="70" y="0"/>
                    <a:pt x="69" y="3"/>
                    <a:pt x="68" y="4"/>
                  </a:cubicBezTo>
                  <a:cubicBezTo>
                    <a:pt x="67" y="5"/>
                    <a:pt x="67" y="4"/>
                    <a:pt x="65" y="4"/>
                  </a:cubicBezTo>
                  <a:cubicBezTo>
                    <a:pt x="64" y="4"/>
                    <a:pt x="63" y="5"/>
                    <a:pt x="63" y="6"/>
                  </a:cubicBezTo>
                  <a:cubicBezTo>
                    <a:pt x="62" y="7"/>
                    <a:pt x="61" y="8"/>
                    <a:pt x="60" y="8"/>
                  </a:cubicBezTo>
                  <a:cubicBezTo>
                    <a:pt x="59" y="9"/>
                    <a:pt x="58" y="8"/>
                    <a:pt x="56" y="8"/>
                  </a:cubicBezTo>
                  <a:cubicBezTo>
                    <a:pt x="55" y="8"/>
                    <a:pt x="54" y="8"/>
                    <a:pt x="53" y="8"/>
                  </a:cubicBezTo>
                  <a:cubicBezTo>
                    <a:pt x="50" y="9"/>
                    <a:pt x="51" y="15"/>
                    <a:pt x="52" y="18"/>
                  </a:cubicBezTo>
                  <a:cubicBezTo>
                    <a:pt x="52" y="19"/>
                    <a:pt x="52" y="19"/>
                    <a:pt x="53" y="20"/>
                  </a:cubicBezTo>
                  <a:cubicBezTo>
                    <a:pt x="53" y="23"/>
                    <a:pt x="52" y="22"/>
                    <a:pt x="50" y="25"/>
                  </a:cubicBezTo>
                  <a:cubicBezTo>
                    <a:pt x="49" y="26"/>
                    <a:pt x="49" y="28"/>
                    <a:pt x="49" y="30"/>
                  </a:cubicBezTo>
                  <a:cubicBezTo>
                    <a:pt x="50" y="31"/>
                    <a:pt x="51" y="33"/>
                    <a:pt x="50" y="34"/>
                  </a:cubicBezTo>
                  <a:cubicBezTo>
                    <a:pt x="48" y="34"/>
                    <a:pt x="45" y="32"/>
                    <a:pt x="45" y="31"/>
                  </a:cubicBezTo>
                  <a:cubicBezTo>
                    <a:pt x="44" y="29"/>
                    <a:pt x="43" y="27"/>
                    <a:pt x="42" y="26"/>
                  </a:cubicBezTo>
                  <a:cubicBezTo>
                    <a:pt x="41" y="25"/>
                    <a:pt x="35" y="22"/>
                    <a:pt x="34" y="22"/>
                  </a:cubicBezTo>
                  <a:cubicBezTo>
                    <a:pt x="31" y="20"/>
                    <a:pt x="30" y="22"/>
                    <a:pt x="26" y="23"/>
                  </a:cubicBezTo>
                  <a:cubicBezTo>
                    <a:pt x="25" y="24"/>
                    <a:pt x="23" y="24"/>
                    <a:pt x="22" y="25"/>
                  </a:cubicBezTo>
                  <a:cubicBezTo>
                    <a:pt x="18" y="27"/>
                    <a:pt x="20" y="28"/>
                    <a:pt x="16" y="33"/>
                  </a:cubicBezTo>
                  <a:cubicBezTo>
                    <a:pt x="15" y="34"/>
                    <a:pt x="11" y="36"/>
                    <a:pt x="8" y="38"/>
                  </a:cubicBezTo>
                  <a:cubicBezTo>
                    <a:pt x="7" y="39"/>
                    <a:pt x="5" y="41"/>
                    <a:pt x="5" y="43"/>
                  </a:cubicBezTo>
                  <a:cubicBezTo>
                    <a:pt x="5" y="44"/>
                    <a:pt x="5" y="45"/>
                    <a:pt x="5" y="45"/>
                  </a:cubicBezTo>
                  <a:cubicBezTo>
                    <a:pt x="5" y="46"/>
                    <a:pt x="3" y="48"/>
                    <a:pt x="2" y="49"/>
                  </a:cubicBezTo>
                  <a:cubicBezTo>
                    <a:pt x="1" y="50"/>
                    <a:pt x="0" y="53"/>
                    <a:pt x="0" y="54"/>
                  </a:cubicBezTo>
                  <a:cubicBezTo>
                    <a:pt x="0" y="56"/>
                    <a:pt x="1" y="60"/>
                    <a:pt x="3" y="61"/>
                  </a:cubicBezTo>
                  <a:cubicBezTo>
                    <a:pt x="5" y="62"/>
                    <a:pt x="5" y="61"/>
                    <a:pt x="5" y="62"/>
                  </a:cubicBezTo>
                  <a:cubicBezTo>
                    <a:pt x="6" y="63"/>
                    <a:pt x="7" y="65"/>
                    <a:pt x="7" y="66"/>
                  </a:cubicBezTo>
                  <a:cubicBezTo>
                    <a:pt x="8" y="67"/>
                    <a:pt x="8" y="67"/>
                    <a:pt x="9" y="68"/>
                  </a:cubicBezTo>
                  <a:cubicBezTo>
                    <a:pt x="10" y="68"/>
                    <a:pt x="11" y="70"/>
                    <a:pt x="12" y="71"/>
                  </a:cubicBezTo>
                  <a:cubicBezTo>
                    <a:pt x="12" y="73"/>
                    <a:pt x="13" y="74"/>
                    <a:pt x="13" y="75"/>
                  </a:cubicBezTo>
                  <a:cubicBezTo>
                    <a:pt x="14" y="76"/>
                    <a:pt x="18" y="78"/>
                    <a:pt x="20" y="77"/>
                  </a:cubicBezTo>
                  <a:cubicBezTo>
                    <a:pt x="20" y="77"/>
                    <a:pt x="20" y="77"/>
                    <a:pt x="21" y="77"/>
                  </a:cubicBezTo>
                  <a:cubicBezTo>
                    <a:pt x="21" y="76"/>
                    <a:pt x="22" y="75"/>
                    <a:pt x="23" y="75"/>
                  </a:cubicBezTo>
                  <a:cubicBezTo>
                    <a:pt x="23" y="75"/>
                    <a:pt x="23" y="75"/>
                    <a:pt x="24" y="76"/>
                  </a:cubicBezTo>
                  <a:cubicBezTo>
                    <a:pt x="24" y="78"/>
                    <a:pt x="23" y="78"/>
                    <a:pt x="22" y="80"/>
                  </a:cubicBezTo>
                  <a:cubicBezTo>
                    <a:pt x="22" y="80"/>
                    <a:pt x="22" y="83"/>
                    <a:pt x="21" y="84"/>
                  </a:cubicBezTo>
                  <a:cubicBezTo>
                    <a:pt x="21" y="84"/>
                    <a:pt x="20" y="85"/>
                    <a:pt x="20" y="85"/>
                  </a:cubicBezTo>
                  <a:cubicBezTo>
                    <a:pt x="20" y="86"/>
                    <a:pt x="20" y="88"/>
                    <a:pt x="20" y="89"/>
                  </a:cubicBezTo>
                  <a:cubicBezTo>
                    <a:pt x="20" y="90"/>
                    <a:pt x="19" y="90"/>
                    <a:pt x="19" y="90"/>
                  </a:cubicBezTo>
                  <a:cubicBezTo>
                    <a:pt x="19" y="91"/>
                    <a:pt x="18" y="92"/>
                    <a:pt x="18" y="93"/>
                  </a:cubicBezTo>
                  <a:cubicBezTo>
                    <a:pt x="18" y="95"/>
                    <a:pt x="18" y="94"/>
                    <a:pt x="19" y="96"/>
                  </a:cubicBezTo>
                  <a:cubicBezTo>
                    <a:pt x="19" y="98"/>
                    <a:pt x="19" y="99"/>
                    <a:pt x="18" y="101"/>
                  </a:cubicBezTo>
                  <a:cubicBezTo>
                    <a:pt x="18" y="103"/>
                    <a:pt x="19" y="103"/>
                    <a:pt x="20" y="105"/>
                  </a:cubicBezTo>
                  <a:cubicBezTo>
                    <a:pt x="20" y="106"/>
                    <a:pt x="20" y="107"/>
                    <a:pt x="20" y="109"/>
                  </a:cubicBezTo>
                  <a:cubicBezTo>
                    <a:pt x="20" y="109"/>
                    <a:pt x="21" y="111"/>
                    <a:pt x="21" y="112"/>
                  </a:cubicBezTo>
                  <a:cubicBezTo>
                    <a:pt x="22" y="113"/>
                    <a:pt x="24" y="114"/>
                    <a:pt x="24" y="114"/>
                  </a:cubicBezTo>
                  <a:cubicBezTo>
                    <a:pt x="25" y="116"/>
                    <a:pt x="26" y="118"/>
                    <a:pt x="27" y="119"/>
                  </a:cubicBezTo>
                  <a:cubicBezTo>
                    <a:pt x="27" y="120"/>
                    <a:pt x="29" y="121"/>
                    <a:pt x="29" y="122"/>
                  </a:cubicBezTo>
                  <a:cubicBezTo>
                    <a:pt x="29" y="122"/>
                    <a:pt x="29" y="122"/>
                    <a:pt x="29" y="123"/>
                  </a:cubicBezTo>
                  <a:cubicBezTo>
                    <a:pt x="29" y="124"/>
                    <a:pt x="29" y="125"/>
                    <a:pt x="31" y="126"/>
                  </a:cubicBezTo>
                  <a:cubicBezTo>
                    <a:pt x="31" y="127"/>
                    <a:pt x="32" y="127"/>
                    <a:pt x="33" y="127"/>
                  </a:cubicBezTo>
                  <a:cubicBezTo>
                    <a:pt x="33" y="128"/>
                    <a:pt x="33" y="131"/>
                    <a:pt x="33" y="134"/>
                  </a:cubicBezTo>
                  <a:cubicBezTo>
                    <a:pt x="33" y="136"/>
                    <a:pt x="34" y="143"/>
                    <a:pt x="35" y="148"/>
                  </a:cubicBezTo>
                  <a:cubicBezTo>
                    <a:pt x="35" y="149"/>
                    <a:pt x="35" y="151"/>
                    <a:pt x="35" y="152"/>
                  </a:cubicBezTo>
                  <a:cubicBezTo>
                    <a:pt x="35" y="156"/>
                    <a:pt x="34" y="161"/>
                    <a:pt x="34" y="164"/>
                  </a:cubicBezTo>
                  <a:cubicBezTo>
                    <a:pt x="34" y="167"/>
                    <a:pt x="34" y="172"/>
                    <a:pt x="34" y="172"/>
                  </a:cubicBezTo>
                  <a:cubicBezTo>
                    <a:pt x="34" y="172"/>
                    <a:pt x="31" y="172"/>
                    <a:pt x="30" y="172"/>
                  </a:cubicBezTo>
                  <a:cubicBezTo>
                    <a:pt x="27" y="172"/>
                    <a:pt x="28" y="173"/>
                    <a:pt x="25" y="176"/>
                  </a:cubicBezTo>
                  <a:cubicBezTo>
                    <a:pt x="25" y="176"/>
                    <a:pt x="24" y="177"/>
                    <a:pt x="23" y="177"/>
                  </a:cubicBezTo>
                  <a:cubicBezTo>
                    <a:pt x="21" y="178"/>
                    <a:pt x="20" y="183"/>
                    <a:pt x="21" y="185"/>
                  </a:cubicBezTo>
                  <a:cubicBezTo>
                    <a:pt x="21" y="186"/>
                    <a:pt x="21" y="186"/>
                    <a:pt x="21" y="187"/>
                  </a:cubicBezTo>
                  <a:cubicBezTo>
                    <a:pt x="22" y="188"/>
                    <a:pt x="20" y="190"/>
                    <a:pt x="18" y="191"/>
                  </a:cubicBezTo>
                  <a:cubicBezTo>
                    <a:pt x="16" y="193"/>
                    <a:pt x="14" y="194"/>
                    <a:pt x="13" y="197"/>
                  </a:cubicBezTo>
                  <a:cubicBezTo>
                    <a:pt x="13" y="198"/>
                    <a:pt x="13" y="207"/>
                    <a:pt x="13" y="208"/>
                  </a:cubicBezTo>
                  <a:cubicBezTo>
                    <a:pt x="12" y="209"/>
                    <a:pt x="12" y="209"/>
                    <a:pt x="11" y="210"/>
                  </a:cubicBezTo>
                  <a:cubicBezTo>
                    <a:pt x="9" y="213"/>
                    <a:pt x="11" y="215"/>
                    <a:pt x="13" y="218"/>
                  </a:cubicBezTo>
                  <a:cubicBezTo>
                    <a:pt x="14" y="220"/>
                    <a:pt x="14" y="220"/>
                    <a:pt x="14" y="224"/>
                  </a:cubicBezTo>
                  <a:cubicBezTo>
                    <a:pt x="14" y="225"/>
                    <a:pt x="14" y="226"/>
                    <a:pt x="14" y="228"/>
                  </a:cubicBezTo>
                  <a:cubicBezTo>
                    <a:pt x="16" y="232"/>
                    <a:pt x="17" y="234"/>
                    <a:pt x="22" y="235"/>
                  </a:cubicBezTo>
                  <a:cubicBezTo>
                    <a:pt x="25" y="236"/>
                    <a:pt x="29" y="236"/>
                    <a:pt x="30" y="237"/>
                  </a:cubicBezTo>
                  <a:cubicBezTo>
                    <a:pt x="32" y="239"/>
                    <a:pt x="31" y="242"/>
                    <a:pt x="35" y="243"/>
                  </a:cubicBezTo>
                  <a:cubicBezTo>
                    <a:pt x="54" y="243"/>
                    <a:pt x="54" y="243"/>
                    <a:pt x="54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30" y="243"/>
                    <a:pt x="133" y="237"/>
                    <a:pt x="133" y="233"/>
                  </a:cubicBezTo>
                  <a:cubicBezTo>
                    <a:pt x="140" y="230"/>
                    <a:pt x="145" y="228"/>
                    <a:pt x="146" y="220"/>
                  </a:cubicBezTo>
                  <a:cubicBezTo>
                    <a:pt x="147" y="217"/>
                    <a:pt x="148" y="212"/>
                    <a:pt x="148" y="212"/>
                  </a:cubicBezTo>
                  <a:cubicBezTo>
                    <a:pt x="148" y="211"/>
                    <a:pt x="149" y="211"/>
                    <a:pt x="149" y="210"/>
                  </a:cubicBezTo>
                  <a:cubicBezTo>
                    <a:pt x="152" y="208"/>
                    <a:pt x="150" y="205"/>
                    <a:pt x="148" y="202"/>
                  </a:cubicBezTo>
                  <a:cubicBezTo>
                    <a:pt x="147" y="202"/>
                    <a:pt x="147" y="201"/>
                    <a:pt x="147" y="200"/>
                  </a:cubicBezTo>
                  <a:cubicBezTo>
                    <a:pt x="146" y="200"/>
                    <a:pt x="147" y="197"/>
                    <a:pt x="146" y="196"/>
                  </a:cubicBezTo>
                  <a:cubicBezTo>
                    <a:pt x="146" y="194"/>
                    <a:pt x="145" y="192"/>
                    <a:pt x="144" y="191"/>
                  </a:cubicBezTo>
                  <a:cubicBezTo>
                    <a:pt x="144" y="190"/>
                    <a:pt x="143" y="189"/>
                    <a:pt x="142" y="188"/>
                  </a:cubicBezTo>
                  <a:cubicBezTo>
                    <a:pt x="141" y="187"/>
                    <a:pt x="141" y="186"/>
                    <a:pt x="140" y="185"/>
                  </a:cubicBezTo>
                  <a:cubicBezTo>
                    <a:pt x="140" y="184"/>
                    <a:pt x="140" y="184"/>
                    <a:pt x="140" y="183"/>
                  </a:cubicBezTo>
                  <a:cubicBezTo>
                    <a:pt x="139" y="182"/>
                    <a:pt x="140" y="182"/>
                    <a:pt x="140" y="180"/>
                  </a:cubicBezTo>
                  <a:cubicBezTo>
                    <a:pt x="140" y="179"/>
                    <a:pt x="137" y="177"/>
                    <a:pt x="136" y="176"/>
                  </a:cubicBezTo>
                  <a:cubicBezTo>
                    <a:pt x="136" y="175"/>
                    <a:pt x="136" y="174"/>
                    <a:pt x="135" y="173"/>
                  </a:cubicBezTo>
                  <a:cubicBezTo>
                    <a:pt x="134" y="172"/>
                    <a:pt x="131" y="169"/>
                    <a:pt x="129" y="169"/>
                  </a:cubicBezTo>
                  <a:cubicBezTo>
                    <a:pt x="129" y="170"/>
                    <a:pt x="128" y="170"/>
                    <a:pt x="127" y="170"/>
                  </a:cubicBezTo>
                  <a:cubicBezTo>
                    <a:pt x="126" y="170"/>
                    <a:pt x="125" y="170"/>
                    <a:pt x="124" y="152"/>
                  </a:cubicBezTo>
                  <a:cubicBezTo>
                    <a:pt x="123" y="133"/>
                    <a:pt x="123" y="133"/>
                    <a:pt x="124" y="132"/>
                  </a:cubicBezTo>
                  <a:cubicBezTo>
                    <a:pt x="124" y="131"/>
                    <a:pt x="124" y="130"/>
                    <a:pt x="125" y="130"/>
                  </a:cubicBezTo>
                  <a:cubicBezTo>
                    <a:pt x="126" y="127"/>
                    <a:pt x="128" y="123"/>
                    <a:pt x="129" y="121"/>
                  </a:cubicBezTo>
                  <a:cubicBezTo>
                    <a:pt x="129" y="119"/>
                    <a:pt x="129" y="118"/>
                    <a:pt x="129" y="117"/>
                  </a:cubicBezTo>
                  <a:cubicBezTo>
                    <a:pt x="130" y="116"/>
                    <a:pt x="132" y="114"/>
                    <a:pt x="133" y="112"/>
                  </a:cubicBezTo>
                  <a:cubicBezTo>
                    <a:pt x="133" y="111"/>
                    <a:pt x="134" y="108"/>
                    <a:pt x="134" y="107"/>
                  </a:cubicBezTo>
                  <a:cubicBezTo>
                    <a:pt x="134" y="106"/>
                    <a:pt x="134" y="105"/>
                    <a:pt x="134" y="105"/>
                  </a:cubicBezTo>
                  <a:cubicBezTo>
                    <a:pt x="134" y="104"/>
                    <a:pt x="136" y="103"/>
                    <a:pt x="136" y="103"/>
                  </a:cubicBezTo>
                  <a:cubicBezTo>
                    <a:pt x="137" y="102"/>
                    <a:pt x="137" y="100"/>
                    <a:pt x="137" y="98"/>
                  </a:cubicBezTo>
                  <a:cubicBezTo>
                    <a:pt x="137" y="97"/>
                    <a:pt x="137" y="96"/>
                    <a:pt x="138" y="95"/>
                  </a:cubicBezTo>
                  <a:cubicBezTo>
                    <a:pt x="138" y="94"/>
                    <a:pt x="138" y="93"/>
                    <a:pt x="139" y="93"/>
                  </a:cubicBezTo>
                  <a:cubicBezTo>
                    <a:pt x="139" y="92"/>
                    <a:pt x="139" y="91"/>
                    <a:pt x="139" y="91"/>
                  </a:cubicBezTo>
                  <a:cubicBezTo>
                    <a:pt x="138" y="89"/>
                    <a:pt x="137" y="87"/>
                    <a:pt x="137" y="87"/>
                  </a:cubicBezTo>
                  <a:cubicBezTo>
                    <a:pt x="137" y="86"/>
                    <a:pt x="137" y="86"/>
                    <a:pt x="137" y="85"/>
                  </a:cubicBezTo>
                  <a:cubicBezTo>
                    <a:pt x="137" y="85"/>
                    <a:pt x="137" y="84"/>
                    <a:pt x="137" y="84"/>
                  </a:cubicBezTo>
                  <a:cubicBezTo>
                    <a:pt x="137" y="83"/>
                    <a:pt x="137" y="83"/>
                    <a:pt x="137" y="82"/>
                  </a:cubicBezTo>
                  <a:cubicBezTo>
                    <a:pt x="136" y="82"/>
                    <a:pt x="137" y="81"/>
                    <a:pt x="136" y="81"/>
                  </a:cubicBezTo>
                  <a:cubicBezTo>
                    <a:pt x="136" y="80"/>
                    <a:pt x="134" y="79"/>
                    <a:pt x="133" y="77"/>
                  </a:cubicBezTo>
                  <a:cubicBezTo>
                    <a:pt x="133" y="77"/>
                    <a:pt x="133" y="75"/>
                    <a:pt x="132" y="73"/>
                  </a:cubicBezTo>
                  <a:cubicBezTo>
                    <a:pt x="132" y="73"/>
                    <a:pt x="131" y="73"/>
                    <a:pt x="131" y="72"/>
                  </a:cubicBezTo>
                  <a:cubicBezTo>
                    <a:pt x="131" y="72"/>
                    <a:pt x="130" y="70"/>
                    <a:pt x="131" y="70"/>
                  </a:cubicBezTo>
                  <a:cubicBezTo>
                    <a:pt x="131" y="70"/>
                    <a:pt x="133" y="71"/>
                    <a:pt x="133" y="72"/>
                  </a:cubicBezTo>
                  <a:cubicBezTo>
                    <a:pt x="134" y="74"/>
                    <a:pt x="135" y="76"/>
                    <a:pt x="137" y="76"/>
                  </a:cubicBezTo>
                  <a:cubicBezTo>
                    <a:pt x="140" y="76"/>
                    <a:pt x="140" y="75"/>
                    <a:pt x="142" y="72"/>
                  </a:cubicBezTo>
                  <a:cubicBezTo>
                    <a:pt x="144" y="71"/>
                    <a:pt x="145" y="69"/>
                    <a:pt x="146" y="68"/>
                  </a:cubicBezTo>
                  <a:cubicBezTo>
                    <a:pt x="146" y="67"/>
                    <a:pt x="145" y="65"/>
                    <a:pt x="145" y="65"/>
                  </a:cubicBezTo>
                  <a:cubicBezTo>
                    <a:pt x="145" y="65"/>
                    <a:pt x="147" y="65"/>
                    <a:pt x="148" y="65"/>
                  </a:cubicBezTo>
                  <a:cubicBezTo>
                    <a:pt x="149" y="65"/>
                    <a:pt x="153" y="62"/>
                    <a:pt x="154" y="62"/>
                  </a:cubicBezTo>
                  <a:cubicBezTo>
                    <a:pt x="155" y="60"/>
                    <a:pt x="156" y="60"/>
                    <a:pt x="156" y="58"/>
                  </a:cubicBezTo>
                  <a:cubicBezTo>
                    <a:pt x="156" y="53"/>
                    <a:pt x="155" y="52"/>
                    <a:pt x="152" y="48"/>
                  </a:cubicBezTo>
                  <a:moveTo>
                    <a:pt x="139" y="36"/>
                  </a:moveTo>
                  <a:cubicBezTo>
                    <a:pt x="142" y="36"/>
                    <a:pt x="145" y="37"/>
                    <a:pt x="146" y="39"/>
                  </a:cubicBezTo>
                  <a:cubicBezTo>
                    <a:pt x="147" y="41"/>
                    <a:pt x="145" y="41"/>
                    <a:pt x="143" y="41"/>
                  </a:cubicBezTo>
                  <a:cubicBezTo>
                    <a:pt x="142" y="42"/>
                    <a:pt x="139" y="45"/>
                    <a:pt x="138" y="45"/>
                  </a:cubicBezTo>
                  <a:cubicBezTo>
                    <a:pt x="137" y="45"/>
                    <a:pt x="137" y="45"/>
                    <a:pt x="136" y="44"/>
                  </a:cubicBezTo>
                  <a:cubicBezTo>
                    <a:pt x="135" y="44"/>
                    <a:pt x="135" y="44"/>
                    <a:pt x="135" y="44"/>
                  </a:cubicBezTo>
                  <a:cubicBezTo>
                    <a:pt x="134" y="44"/>
                    <a:pt x="132" y="44"/>
                    <a:pt x="131" y="44"/>
                  </a:cubicBezTo>
                  <a:cubicBezTo>
                    <a:pt x="131" y="44"/>
                    <a:pt x="130" y="43"/>
                    <a:pt x="130" y="42"/>
                  </a:cubicBezTo>
                  <a:cubicBezTo>
                    <a:pt x="131" y="40"/>
                    <a:pt x="131" y="39"/>
                    <a:pt x="132" y="39"/>
                  </a:cubicBezTo>
                  <a:cubicBezTo>
                    <a:pt x="135" y="36"/>
                    <a:pt x="136" y="36"/>
                    <a:pt x="139" y="36"/>
                  </a:cubicBezTo>
                  <a:moveTo>
                    <a:pt x="116" y="34"/>
                  </a:moveTo>
                  <a:cubicBezTo>
                    <a:pt x="119" y="30"/>
                    <a:pt x="119" y="30"/>
                    <a:pt x="119" y="29"/>
                  </a:cubicBezTo>
                  <a:cubicBezTo>
                    <a:pt x="120" y="27"/>
                    <a:pt x="123" y="25"/>
                    <a:pt x="124" y="25"/>
                  </a:cubicBezTo>
                  <a:cubicBezTo>
                    <a:pt x="127" y="24"/>
                    <a:pt x="131" y="26"/>
                    <a:pt x="132" y="28"/>
                  </a:cubicBezTo>
                  <a:cubicBezTo>
                    <a:pt x="133" y="29"/>
                    <a:pt x="134" y="31"/>
                    <a:pt x="134" y="32"/>
                  </a:cubicBezTo>
                  <a:cubicBezTo>
                    <a:pt x="133" y="33"/>
                    <a:pt x="130" y="34"/>
                    <a:pt x="129" y="35"/>
                  </a:cubicBezTo>
                  <a:cubicBezTo>
                    <a:pt x="128" y="36"/>
                    <a:pt x="128" y="37"/>
                    <a:pt x="127" y="38"/>
                  </a:cubicBezTo>
                  <a:cubicBezTo>
                    <a:pt x="127" y="39"/>
                    <a:pt x="126" y="39"/>
                    <a:pt x="126" y="39"/>
                  </a:cubicBezTo>
                  <a:cubicBezTo>
                    <a:pt x="124" y="41"/>
                    <a:pt x="121" y="42"/>
                    <a:pt x="121" y="43"/>
                  </a:cubicBezTo>
                  <a:cubicBezTo>
                    <a:pt x="120" y="44"/>
                    <a:pt x="120" y="46"/>
                    <a:pt x="120" y="47"/>
                  </a:cubicBezTo>
                  <a:cubicBezTo>
                    <a:pt x="119" y="47"/>
                    <a:pt x="118" y="48"/>
                    <a:pt x="118" y="48"/>
                  </a:cubicBezTo>
                  <a:cubicBezTo>
                    <a:pt x="118" y="48"/>
                    <a:pt x="117" y="45"/>
                    <a:pt x="117" y="44"/>
                  </a:cubicBezTo>
                  <a:cubicBezTo>
                    <a:pt x="117" y="44"/>
                    <a:pt x="118" y="42"/>
                    <a:pt x="118" y="41"/>
                  </a:cubicBezTo>
                  <a:cubicBezTo>
                    <a:pt x="119" y="40"/>
                    <a:pt x="119" y="40"/>
                    <a:pt x="120" y="40"/>
                  </a:cubicBezTo>
                  <a:cubicBezTo>
                    <a:pt x="120" y="39"/>
                    <a:pt x="119" y="36"/>
                    <a:pt x="118" y="35"/>
                  </a:cubicBezTo>
                  <a:cubicBezTo>
                    <a:pt x="117" y="35"/>
                    <a:pt x="116" y="36"/>
                    <a:pt x="115" y="36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4" y="36"/>
                    <a:pt x="114" y="36"/>
                    <a:pt x="116" y="34"/>
                  </a:cubicBezTo>
                  <a:moveTo>
                    <a:pt x="122" y="86"/>
                  </a:moveTo>
                  <a:cubicBezTo>
                    <a:pt x="123" y="86"/>
                    <a:pt x="124" y="85"/>
                    <a:pt x="125" y="84"/>
                  </a:cubicBezTo>
                  <a:cubicBezTo>
                    <a:pt x="125" y="84"/>
                    <a:pt x="127" y="82"/>
                    <a:pt x="127" y="83"/>
                  </a:cubicBezTo>
                  <a:cubicBezTo>
                    <a:pt x="128" y="83"/>
                    <a:pt x="129" y="83"/>
                    <a:pt x="129" y="84"/>
                  </a:cubicBezTo>
                  <a:cubicBezTo>
                    <a:pt x="130" y="85"/>
                    <a:pt x="129" y="85"/>
                    <a:pt x="127" y="86"/>
                  </a:cubicBezTo>
                  <a:cubicBezTo>
                    <a:pt x="126" y="89"/>
                    <a:pt x="126" y="90"/>
                    <a:pt x="125" y="90"/>
                  </a:cubicBezTo>
                  <a:cubicBezTo>
                    <a:pt x="122" y="89"/>
                    <a:pt x="122" y="88"/>
                    <a:pt x="121" y="86"/>
                  </a:cubicBezTo>
                  <a:cubicBezTo>
                    <a:pt x="120" y="85"/>
                    <a:pt x="118" y="83"/>
                    <a:pt x="116" y="82"/>
                  </a:cubicBezTo>
                  <a:cubicBezTo>
                    <a:pt x="116" y="82"/>
                    <a:pt x="116" y="81"/>
                    <a:pt x="116" y="81"/>
                  </a:cubicBezTo>
                  <a:cubicBezTo>
                    <a:pt x="116" y="81"/>
                    <a:pt x="116" y="80"/>
                    <a:pt x="116" y="79"/>
                  </a:cubicBezTo>
                  <a:cubicBezTo>
                    <a:pt x="116" y="78"/>
                    <a:pt x="115" y="76"/>
                    <a:pt x="115" y="76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6" y="76"/>
                    <a:pt x="116" y="75"/>
                    <a:pt x="117" y="75"/>
                  </a:cubicBezTo>
                  <a:cubicBezTo>
                    <a:pt x="117" y="75"/>
                    <a:pt x="120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3" y="75"/>
                    <a:pt x="121" y="77"/>
                    <a:pt x="120" y="79"/>
                  </a:cubicBezTo>
                  <a:cubicBezTo>
                    <a:pt x="119" y="79"/>
                    <a:pt x="119" y="80"/>
                    <a:pt x="119" y="81"/>
                  </a:cubicBezTo>
                  <a:cubicBezTo>
                    <a:pt x="119" y="82"/>
                    <a:pt x="119" y="83"/>
                    <a:pt x="119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1" y="82"/>
                  </a:cubicBezTo>
                  <a:cubicBezTo>
                    <a:pt x="121" y="81"/>
                    <a:pt x="122" y="79"/>
                    <a:pt x="123" y="78"/>
                  </a:cubicBezTo>
                  <a:cubicBezTo>
                    <a:pt x="124" y="78"/>
                    <a:pt x="124" y="78"/>
                    <a:pt x="125" y="78"/>
                  </a:cubicBezTo>
                  <a:cubicBezTo>
                    <a:pt x="125" y="78"/>
                    <a:pt x="126" y="79"/>
                    <a:pt x="125" y="80"/>
                  </a:cubicBezTo>
                  <a:cubicBezTo>
                    <a:pt x="125" y="81"/>
                    <a:pt x="123" y="84"/>
                    <a:pt x="122" y="85"/>
                  </a:cubicBezTo>
                  <a:cubicBezTo>
                    <a:pt x="122" y="85"/>
                    <a:pt x="122" y="86"/>
                    <a:pt x="122" y="86"/>
                  </a:cubicBezTo>
                  <a:moveTo>
                    <a:pt x="117" y="113"/>
                  </a:moveTo>
                  <a:cubicBezTo>
                    <a:pt x="114" y="111"/>
                    <a:pt x="113" y="108"/>
                    <a:pt x="114" y="105"/>
                  </a:cubicBezTo>
                  <a:cubicBezTo>
                    <a:pt x="114" y="104"/>
                    <a:pt x="115" y="103"/>
                    <a:pt x="116" y="102"/>
                  </a:cubicBezTo>
                  <a:cubicBezTo>
                    <a:pt x="116" y="100"/>
                    <a:pt x="117" y="100"/>
                    <a:pt x="118" y="101"/>
                  </a:cubicBezTo>
                  <a:cubicBezTo>
                    <a:pt x="119" y="102"/>
                    <a:pt x="119" y="103"/>
                    <a:pt x="119" y="104"/>
                  </a:cubicBezTo>
                  <a:cubicBezTo>
                    <a:pt x="118" y="106"/>
                    <a:pt x="116" y="108"/>
                    <a:pt x="116" y="108"/>
                  </a:cubicBezTo>
                  <a:cubicBezTo>
                    <a:pt x="116" y="109"/>
                    <a:pt x="117" y="110"/>
                    <a:pt x="117" y="110"/>
                  </a:cubicBezTo>
                  <a:cubicBezTo>
                    <a:pt x="117" y="111"/>
                    <a:pt x="118" y="111"/>
                    <a:pt x="119" y="110"/>
                  </a:cubicBezTo>
                  <a:cubicBezTo>
                    <a:pt x="119" y="110"/>
                    <a:pt x="119" y="109"/>
                    <a:pt x="120" y="108"/>
                  </a:cubicBezTo>
                  <a:cubicBezTo>
                    <a:pt x="120" y="107"/>
                    <a:pt x="121" y="106"/>
                    <a:pt x="122" y="107"/>
                  </a:cubicBezTo>
                  <a:cubicBezTo>
                    <a:pt x="123" y="108"/>
                    <a:pt x="122" y="109"/>
                    <a:pt x="122" y="110"/>
                  </a:cubicBezTo>
                  <a:cubicBezTo>
                    <a:pt x="120" y="112"/>
                    <a:pt x="119" y="114"/>
                    <a:pt x="117" y="113"/>
                  </a:cubicBezTo>
                  <a:moveTo>
                    <a:pt x="122" y="120"/>
                  </a:moveTo>
                  <a:cubicBezTo>
                    <a:pt x="123" y="120"/>
                    <a:pt x="123" y="121"/>
                    <a:pt x="123" y="122"/>
                  </a:cubicBezTo>
                  <a:cubicBezTo>
                    <a:pt x="122" y="123"/>
                    <a:pt x="122" y="127"/>
                    <a:pt x="120" y="127"/>
                  </a:cubicBezTo>
                  <a:cubicBezTo>
                    <a:pt x="119" y="126"/>
                    <a:pt x="118" y="124"/>
                    <a:pt x="119" y="123"/>
                  </a:cubicBezTo>
                  <a:cubicBezTo>
                    <a:pt x="119" y="121"/>
                    <a:pt x="120" y="119"/>
                    <a:pt x="122" y="120"/>
                  </a:cubicBezTo>
                  <a:moveTo>
                    <a:pt x="94" y="179"/>
                  </a:moveTo>
                  <a:cubicBezTo>
                    <a:pt x="95" y="179"/>
                    <a:pt x="95" y="180"/>
                    <a:pt x="95" y="180"/>
                  </a:cubicBezTo>
                  <a:cubicBezTo>
                    <a:pt x="95" y="180"/>
                    <a:pt x="95" y="181"/>
                    <a:pt x="95" y="181"/>
                  </a:cubicBezTo>
                  <a:cubicBezTo>
                    <a:pt x="95" y="182"/>
                    <a:pt x="94" y="179"/>
                    <a:pt x="93" y="179"/>
                  </a:cubicBezTo>
                  <a:cubicBezTo>
                    <a:pt x="93" y="178"/>
                    <a:pt x="92" y="178"/>
                    <a:pt x="91" y="178"/>
                  </a:cubicBezTo>
                  <a:cubicBezTo>
                    <a:pt x="90" y="177"/>
                    <a:pt x="90" y="173"/>
                    <a:pt x="90" y="171"/>
                  </a:cubicBezTo>
                  <a:cubicBezTo>
                    <a:pt x="90" y="170"/>
                    <a:pt x="91" y="168"/>
                    <a:pt x="91" y="166"/>
                  </a:cubicBezTo>
                  <a:cubicBezTo>
                    <a:pt x="91" y="165"/>
                    <a:pt x="91" y="163"/>
                    <a:pt x="92" y="163"/>
                  </a:cubicBezTo>
                  <a:cubicBezTo>
                    <a:pt x="92" y="162"/>
                    <a:pt x="92" y="163"/>
                    <a:pt x="93" y="164"/>
                  </a:cubicBezTo>
                  <a:cubicBezTo>
                    <a:pt x="93" y="165"/>
                    <a:pt x="93" y="166"/>
                    <a:pt x="93" y="168"/>
                  </a:cubicBezTo>
                  <a:cubicBezTo>
                    <a:pt x="93" y="170"/>
                    <a:pt x="93" y="175"/>
                    <a:pt x="93" y="175"/>
                  </a:cubicBezTo>
                  <a:cubicBezTo>
                    <a:pt x="94" y="176"/>
                    <a:pt x="95" y="177"/>
                    <a:pt x="95" y="177"/>
                  </a:cubicBezTo>
                  <a:cubicBezTo>
                    <a:pt x="95" y="178"/>
                    <a:pt x="94" y="178"/>
                    <a:pt x="94" y="179"/>
                  </a:cubicBezTo>
                  <a:moveTo>
                    <a:pt x="92" y="151"/>
                  </a:moveTo>
                  <a:cubicBezTo>
                    <a:pt x="92" y="151"/>
                    <a:pt x="91" y="153"/>
                    <a:pt x="91" y="155"/>
                  </a:cubicBezTo>
                  <a:cubicBezTo>
                    <a:pt x="89" y="162"/>
                    <a:pt x="87" y="170"/>
                    <a:pt x="88" y="171"/>
                  </a:cubicBezTo>
                  <a:cubicBezTo>
                    <a:pt x="88" y="174"/>
                    <a:pt x="89" y="178"/>
                    <a:pt x="89" y="179"/>
                  </a:cubicBezTo>
                  <a:cubicBezTo>
                    <a:pt x="88" y="180"/>
                    <a:pt x="87" y="178"/>
                    <a:pt x="87" y="176"/>
                  </a:cubicBezTo>
                  <a:cubicBezTo>
                    <a:pt x="86" y="167"/>
                    <a:pt x="86" y="167"/>
                    <a:pt x="89" y="159"/>
                  </a:cubicBezTo>
                  <a:cubicBezTo>
                    <a:pt x="90" y="157"/>
                    <a:pt x="92" y="145"/>
                    <a:pt x="92" y="141"/>
                  </a:cubicBezTo>
                  <a:cubicBezTo>
                    <a:pt x="92" y="139"/>
                    <a:pt x="92" y="134"/>
                    <a:pt x="91" y="133"/>
                  </a:cubicBezTo>
                  <a:cubicBezTo>
                    <a:pt x="91" y="130"/>
                    <a:pt x="89" y="126"/>
                    <a:pt x="93" y="123"/>
                  </a:cubicBezTo>
                  <a:cubicBezTo>
                    <a:pt x="96" y="120"/>
                    <a:pt x="99" y="123"/>
                    <a:pt x="100" y="123"/>
                  </a:cubicBezTo>
                  <a:cubicBezTo>
                    <a:pt x="100" y="124"/>
                    <a:pt x="100" y="126"/>
                    <a:pt x="100" y="127"/>
                  </a:cubicBezTo>
                  <a:cubicBezTo>
                    <a:pt x="99" y="129"/>
                    <a:pt x="99" y="136"/>
                    <a:pt x="98" y="139"/>
                  </a:cubicBezTo>
                  <a:cubicBezTo>
                    <a:pt x="97" y="144"/>
                    <a:pt x="95" y="151"/>
                    <a:pt x="95" y="152"/>
                  </a:cubicBezTo>
                  <a:cubicBezTo>
                    <a:pt x="95" y="153"/>
                    <a:pt x="95" y="154"/>
                    <a:pt x="96" y="155"/>
                  </a:cubicBezTo>
                  <a:cubicBezTo>
                    <a:pt x="97" y="158"/>
                    <a:pt x="98" y="160"/>
                    <a:pt x="98" y="163"/>
                  </a:cubicBezTo>
                  <a:cubicBezTo>
                    <a:pt x="98" y="165"/>
                    <a:pt x="97" y="170"/>
                    <a:pt x="99" y="172"/>
                  </a:cubicBezTo>
                  <a:cubicBezTo>
                    <a:pt x="100" y="173"/>
                    <a:pt x="101" y="174"/>
                    <a:pt x="102" y="174"/>
                  </a:cubicBezTo>
                  <a:cubicBezTo>
                    <a:pt x="102" y="175"/>
                    <a:pt x="104" y="180"/>
                    <a:pt x="103" y="181"/>
                  </a:cubicBezTo>
                  <a:cubicBezTo>
                    <a:pt x="103" y="182"/>
                    <a:pt x="102" y="182"/>
                    <a:pt x="102" y="183"/>
                  </a:cubicBezTo>
                  <a:cubicBezTo>
                    <a:pt x="101" y="183"/>
                    <a:pt x="100" y="182"/>
                    <a:pt x="99" y="182"/>
                  </a:cubicBezTo>
                  <a:cubicBezTo>
                    <a:pt x="99" y="182"/>
                    <a:pt x="99" y="181"/>
                    <a:pt x="99" y="181"/>
                  </a:cubicBezTo>
                  <a:cubicBezTo>
                    <a:pt x="99" y="181"/>
                    <a:pt x="100" y="181"/>
                    <a:pt x="101" y="181"/>
                  </a:cubicBezTo>
                  <a:cubicBezTo>
                    <a:pt x="101" y="181"/>
                    <a:pt x="101" y="181"/>
                    <a:pt x="101" y="181"/>
                  </a:cubicBezTo>
                  <a:cubicBezTo>
                    <a:pt x="102" y="180"/>
                    <a:pt x="100" y="176"/>
                    <a:pt x="99" y="175"/>
                  </a:cubicBezTo>
                  <a:cubicBezTo>
                    <a:pt x="98" y="175"/>
                    <a:pt x="97" y="174"/>
                    <a:pt x="96" y="174"/>
                  </a:cubicBezTo>
                  <a:cubicBezTo>
                    <a:pt x="96" y="173"/>
                    <a:pt x="96" y="170"/>
                    <a:pt x="96" y="168"/>
                  </a:cubicBezTo>
                  <a:cubicBezTo>
                    <a:pt x="96" y="166"/>
                    <a:pt x="93" y="151"/>
                    <a:pt x="92" y="151"/>
                  </a:cubicBezTo>
                  <a:moveTo>
                    <a:pt x="73" y="145"/>
                  </a:moveTo>
                  <a:cubicBezTo>
                    <a:pt x="73" y="146"/>
                    <a:pt x="73" y="147"/>
                    <a:pt x="73" y="149"/>
                  </a:cubicBezTo>
                  <a:cubicBezTo>
                    <a:pt x="73" y="150"/>
                    <a:pt x="72" y="152"/>
                    <a:pt x="72" y="153"/>
                  </a:cubicBezTo>
                  <a:cubicBezTo>
                    <a:pt x="71" y="153"/>
                    <a:pt x="71" y="152"/>
                    <a:pt x="70" y="152"/>
                  </a:cubicBezTo>
                  <a:cubicBezTo>
                    <a:pt x="68" y="147"/>
                    <a:pt x="68" y="129"/>
                    <a:pt x="68" y="126"/>
                  </a:cubicBezTo>
                  <a:cubicBezTo>
                    <a:pt x="68" y="125"/>
                    <a:pt x="69" y="125"/>
                    <a:pt x="69" y="124"/>
                  </a:cubicBezTo>
                  <a:cubicBezTo>
                    <a:pt x="69" y="124"/>
                    <a:pt x="70" y="124"/>
                    <a:pt x="70" y="124"/>
                  </a:cubicBezTo>
                  <a:cubicBezTo>
                    <a:pt x="71" y="124"/>
                    <a:pt x="72" y="125"/>
                    <a:pt x="73" y="126"/>
                  </a:cubicBezTo>
                  <a:cubicBezTo>
                    <a:pt x="75" y="128"/>
                    <a:pt x="73" y="129"/>
                    <a:pt x="72" y="133"/>
                  </a:cubicBezTo>
                  <a:cubicBezTo>
                    <a:pt x="72" y="134"/>
                    <a:pt x="73" y="141"/>
                    <a:pt x="73" y="145"/>
                  </a:cubicBezTo>
                  <a:moveTo>
                    <a:pt x="66" y="176"/>
                  </a:moveTo>
                  <a:cubicBezTo>
                    <a:pt x="65" y="176"/>
                    <a:pt x="64" y="176"/>
                    <a:pt x="64" y="176"/>
                  </a:cubicBezTo>
                  <a:cubicBezTo>
                    <a:pt x="63" y="176"/>
                    <a:pt x="63" y="175"/>
                    <a:pt x="62" y="175"/>
                  </a:cubicBezTo>
                  <a:cubicBezTo>
                    <a:pt x="62" y="175"/>
                    <a:pt x="58" y="179"/>
                    <a:pt x="57" y="179"/>
                  </a:cubicBezTo>
                  <a:cubicBezTo>
                    <a:pt x="57" y="181"/>
                    <a:pt x="57" y="183"/>
                    <a:pt x="56" y="183"/>
                  </a:cubicBezTo>
                  <a:cubicBezTo>
                    <a:pt x="54" y="182"/>
                    <a:pt x="55" y="180"/>
                    <a:pt x="56" y="179"/>
                  </a:cubicBezTo>
                  <a:cubicBezTo>
                    <a:pt x="57" y="177"/>
                    <a:pt x="59" y="177"/>
                    <a:pt x="59" y="175"/>
                  </a:cubicBezTo>
                  <a:cubicBezTo>
                    <a:pt x="59" y="174"/>
                    <a:pt x="58" y="174"/>
                    <a:pt x="58" y="174"/>
                  </a:cubicBezTo>
                  <a:cubicBezTo>
                    <a:pt x="57" y="175"/>
                    <a:pt x="54" y="178"/>
                    <a:pt x="54" y="178"/>
                  </a:cubicBezTo>
                  <a:cubicBezTo>
                    <a:pt x="53" y="179"/>
                    <a:pt x="53" y="180"/>
                    <a:pt x="53" y="180"/>
                  </a:cubicBezTo>
                  <a:cubicBezTo>
                    <a:pt x="53" y="181"/>
                    <a:pt x="51" y="183"/>
                    <a:pt x="51" y="183"/>
                  </a:cubicBezTo>
                  <a:cubicBezTo>
                    <a:pt x="50" y="183"/>
                    <a:pt x="50" y="183"/>
                    <a:pt x="50" y="183"/>
                  </a:cubicBezTo>
                  <a:cubicBezTo>
                    <a:pt x="49" y="182"/>
                    <a:pt x="51" y="181"/>
                    <a:pt x="52" y="181"/>
                  </a:cubicBezTo>
                  <a:cubicBezTo>
                    <a:pt x="52" y="180"/>
                    <a:pt x="52" y="180"/>
                    <a:pt x="52" y="179"/>
                  </a:cubicBezTo>
                  <a:cubicBezTo>
                    <a:pt x="52" y="179"/>
                    <a:pt x="52" y="178"/>
                    <a:pt x="52" y="177"/>
                  </a:cubicBezTo>
                  <a:cubicBezTo>
                    <a:pt x="52" y="177"/>
                    <a:pt x="54" y="175"/>
                    <a:pt x="55" y="174"/>
                  </a:cubicBezTo>
                  <a:cubicBezTo>
                    <a:pt x="56" y="174"/>
                    <a:pt x="59" y="173"/>
                    <a:pt x="60" y="172"/>
                  </a:cubicBezTo>
                  <a:cubicBezTo>
                    <a:pt x="62" y="171"/>
                    <a:pt x="62" y="170"/>
                    <a:pt x="60" y="169"/>
                  </a:cubicBezTo>
                  <a:cubicBezTo>
                    <a:pt x="60" y="169"/>
                    <a:pt x="60" y="169"/>
                    <a:pt x="60" y="168"/>
                  </a:cubicBezTo>
                  <a:cubicBezTo>
                    <a:pt x="60" y="164"/>
                    <a:pt x="60" y="161"/>
                    <a:pt x="60" y="157"/>
                  </a:cubicBezTo>
                  <a:cubicBezTo>
                    <a:pt x="60" y="154"/>
                    <a:pt x="59" y="152"/>
                    <a:pt x="59" y="149"/>
                  </a:cubicBezTo>
                  <a:cubicBezTo>
                    <a:pt x="58" y="144"/>
                    <a:pt x="58" y="134"/>
                    <a:pt x="57" y="126"/>
                  </a:cubicBezTo>
                  <a:cubicBezTo>
                    <a:pt x="57" y="125"/>
                    <a:pt x="57" y="125"/>
                    <a:pt x="58" y="125"/>
                  </a:cubicBezTo>
                  <a:cubicBezTo>
                    <a:pt x="58" y="124"/>
                    <a:pt x="58" y="124"/>
                    <a:pt x="59" y="124"/>
                  </a:cubicBezTo>
                  <a:cubicBezTo>
                    <a:pt x="60" y="123"/>
                    <a:pt x="63" y="123"/>
                    <a:pt x="63" y="123"/>
                  </a:cubicBezTo>
                  <a:cubicBezTo>
                    <a:pt x="63" y="123"/>
                    <a:pt x="64" y="123"/>
                    <a:pt x="64" y="123"/>
                  </a:cubicBezTo>
                  <a:cubicBezTo>
                    <a:pt x="67" y="127"/>
                    <a:pt x="66" y="131"/>
                    <a:pt x="66" y="137"/>
                  </a:cubicBezTo>
                  <a:cubicBezTo>
                    <a:pt x="66" y="140"/>
                    <a:pt x="68" y="150"/>
                    <a:pt x="69" y="154"/>
                  </a:cubicBezTo>
                  <a:cubicBezTo>
                    <a:pt x="69" y="156"/>
                    <a:pt x="71" y="160"/>
                    <a:pt x="71" y="163"/>
                  </a:cubicBezTo>
                  <a:cubicBezTo>
                    <a:pt x="71" y="163"/>
                    <a:pt x="71" y="165"/>
                    <a:pt x="70" y="165"/>
                  </a:cubicBezTo>
                  <a:cubicBezTo>
                    <a:pt x="70" y="166"/>
                    <a:pt x="68" y="165"/>
                    <a:pt x="68" y="165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7" y="166"/>
                    <a:pt x="67" y="167"/>
                    <a:pt x="67" y="168"/>
                  </a:cubicBezTo>
                  <a:cubicBezTo>
                    <a:pt x="67" y="168"/>
                    <a:pt x="66" y="167"/>
                    <a:pt x="66" y="166"/>
                  </a:cubicBezTo>
                  <a:cubicBezTo>
                    <a:pt x="66" y="166"/>
                    <a:pt x="65" y="166"/>
                    <a:pt x="65" y="166"/>
                  </a:cubicBezTo>
                  <a:cubicBezTo>
                    <a:pt x="65" y="166"/>
                    <a:pt x="65" y="168"/>
                    <a:pt x="65" y="168"/>
                  </a:cubicBezTo>
                  <a:cubicBezTo>
                    <a:pt x="65" y="170"/>
                    <a:pt x="64" y="171"/>
                    <a:pt x="64" y="172"/>
                  </a:cubicBezTo>
                  <a:cubicBezTo>
                    <a:pt x="64" y="172"/>
                    <a:pt x="64" y="173"/>
                    <a:pt x="64" y="173"/>
                  </a:cubicBezTo>
                  <a:cubicBezTo>
                    <a:pt x="64" y="173"/>
                    <a:pt x="65" y="173"/>
                    <a:pt x="66" y="173"/>
                  </a:cubicBezTo>
                  <a:cubicBezTo>
                    <a:pt x="67" y="172"/>
                    <a:pt x="67" y="171"/>
                    <a:pt x="69" y="172"/>
                  </a:cubicBezTo>
                  <a:cubicBezTo>
                    <a:pt x="70" y="172"/>
                    <a:pt x="70" y="172"/>
                    <a:pt x="70" y="173"/>
                  </a:cubicBezTo>
                  <a:cubicBezTo>
                    <a:pt x="69" y="174"/>
                    <a:pt x="71" y="178"/>
                    <a:pt x="72" y="177"/>
                  </a:cubicBezTo>
                  <a:cubicBezTo>
                    <a:pt x="73" y="177"/>
                    <a:pt x="73" y="178"/>
                    <a:pt x="73" y="179"/>
                  </a:cubicBezTo>
                  <a:cubicBezTo>
                    <a:pt x="73" y="180"/>
                    <a:pt x="72" y="181"/>
                    <a:pt x="72" y="182"/>
                  </a:cubicBezTo>
                  <a:cubicBezTo>
                    <a:pt x="71" y="183"/>
                    <a:pt x="70" y="183"/>
                    <a:pt x="69" y="182"/>
                  </a:cubicBezTo>
                  <a:cubicBezTo>
                    <a:pt x="68" y="181"/>
                    <a:pt x="66" y="177"/>
                    <a:pt x="66" y="176"/>
                  </a:cubicBezTo>
                  <a:moveTo>
                    <a:pt x="67" y="186"/>
                  </a:moveTo>
                  <a:cubicBezTo>
                    <a:pt x="67" y="186"/>
                    <a:pt x="67" y="186"/>
                    <a:pt x="66" y="187"/>
                  </a:cubicBezTo>
                  <a:cubicBezTo>
                    <a:pt x="66" y="187"/>
                    <a:pt x="65" y="188"/>
                    <a:pt x="65" y="187"/>
                  </a:cubicBezTo>
                  <a:cubicBezTo>
                    <a:pt x="64" y="186"/>
                    <a:pt x="66" y="185"/>
                    <a:pt x="66" y="184"/>
                  </a:cubicBezTo>
                  <a:cubicBezTo>
                    <a:pt x="66" y="184"/>
                    <a:pt x="67" y="185"/>
                    <a:pt x="67" y="185"/>
                  </a:cubicBezTo>
                  <a:cubicBezTo>
                    <a:pt x="67" y="185"/>
                    <a:pt x="67" y="186"/>
                    <a:pt x="67" y="186"/>
                  </a:cubicBezTo>
                  <a:moveTo>
                    <a:pt x="59" y="183"/>
                  </a:moveTo>
                  <a:cubicBezTo>
                    <a:pt x="59" y="182"/>
                    <a:pt x="59" y="182"/>
                    <a:pt x="59" y="182"/>
                  </a:cubicBezTo>
                  <a:cubicBezTo>
                    <a:pt x="60" y="181"/>
                    <a:pt x="62" y="179"/>
                    <a:pt x="63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2" y="182"/>
                    <a:pt x="62" y="183"/>
                    <a:pt x="59" y="183"/>
                  </a:cubicBezTo>
                  <a:moveTo>
                    <a:pt x="61" y="187"/>
                  </a:moveTo>
                  <a:cubicBezTo>
                    <a:pt x="61" y="187"/>
                    <a:pt x="61" y="187"/>
                    <a:pt x="60" y="187"/>
                  </a:cubicBezTo>
                  <a:cubicBezTo>
                    <a:pt x="60" y="187"/>
                    <a:pt x="60" y="186"/>
                    <a:pt x="61" y="186"/>
                  </a:cubicBezTo>
                  <a:cubicBezTo>
                    <a:pt x="61" y="185"/>
                    <a:pt x="61" y="185"/>
                    <a:pt x="62" y="186"/>
                  </a:cubicBezTo>
                  <a:cubicBezTo>
                    <a:pt x="63" y="187"/>
                    <a:pt x="61" y="187"/>
                    <a:pt x="61" y="187"/>
                  </a:cubicBezTo>
                  <a:moveTo>
                    <a:pt x="47" y="188"/>
                  </a:moveTo>
                  <a:cubicBezTo>
                    <a:pt x="48" y="188"/>
                    <a:pt x="48" y="187"/>
                    <a:pt x="49" y="186"/>
                  </a:cubicBezTo>
                  <a:cubicBezTo>
                    <a:pt x="50" y="186"/>
                    <a:pt x="51" y="186"/>
                    <a:pt x="51" y="186"/>
                  </a:cubicBezTo>
                  <a:cubicBezTo>
                    <a:pt x="51" y="187"/>
                    <a:pt x="49" y="189"/>
                    <a:pt x="49" y="189"/>
                  </a:cubicBezTo>
                  <a:cubicBezTo>
                    <a:pt x="48" y="189"/>
                    <a:pt x="47" y="188"/>
                    <a:pt x="46" y="188"/>
                  </a:cubicBezTo>
                  <a:cubicBezTo>
                    <a:pt x="46" y="188"/>
                    <a:pt x="45" y="188"/>
                    <a:pt x="45" y="189"/>
                  </a:cubicBezTo>
                  <a:cubicBezTo>
                    <a:pt x="44" y="189"/>
                    <a:pt x="43" y="189"/>
                    <a:pt x="43" y="189"/>
                  </a:cubicBezTo>
                  <a:cubicBezTo>
                    <a:pt x="43" y="189"/>
                    <a:pt x="43" y="188"/>
                    <a:pt x="43" y="188"/>
                  </a:cubicBezTo>
                  <a:cubicBezTo>
                    <a:pt x="43" y="187"/>
                    <a:pt x="44" y="186"/>
                    <a:pt x="44" y="186"/>
                  </a:cubicBezTo>
                  <a:cubicBezTo>
                    <a:pt x="46" y="186"/>
                    <a:pt x="46" y="187"/>
                    <a:pt x="47" y="188"/>
                  </a:cubicBezTo>
                  <a:moveTo>
                    <a:pt x="45" y="183"/>
                  </a:moveTo>
                  <a:cubicBezTo>
                    <a:pt x="46" y="182"/>
                    <a:pt x="47" y="181"/>
                    <a:pt x="47" y="181"/>
                  </a:cubicBezTo>
                  <a:cubicBezTo>
                    <a:pt x="47" y="181"/>
                    <a:pt x="47" y="181"/>
                    <a:pt x="48" y="181"/>
                  </a:cubicBezTo>
                  <a:cubicBezTo>
                    <a:pt x="48" y="183"/>
                    <a:pt x="48" y="183"/>
                    <a:pt x="47" y="183"/>
                  </a:cubicBezTo>
                  <a:cubicBezTo>
                    <a:pt x="47" y="183"/>
                    <a:pt x="47" y="184"/>
                    <a:pt x="47" y="184"/>
                  </a:cubicBezTo>
                  <a:cubicBezTo>
                    <a:pt x="46" y="184"/>
                    <a:pt x="45" y="184"/>
                    <a:pt x="45" y="184"/>
                  </a:cubicBezTo>
                  <a:cubicBezTo>
                    <a:pt x="45" y="184"/>
                    <a:pt x="45" y="183"/>
                    <a:pt x="45" y="183"/>
                  </a:cubicBezTo>
                  <a:moveTo>
                    <a:pt x="44" y="201"/>
                  </a:moveTo>
                  <a:cubicBezTo>
                    <a:pt x="44" y="201"/>
                    <a:pt x="45" y="198"/>
                    <a:pt x="45" y="197"/>
                  </a:cubicBezTo>
                  <a:cubicBezTo>
                    <a:pt x="45" y="197"/>
                    <a:pt x="44" y="197"/>
                    <a:pt x="44" y="197"/>
                  </a:cubicBezTo>
                  <a:cubicBezTo>
                    <a:pt x="44" y="196"/>
                    <a:pt x="45" y="196"/>
                    <a:pt x="45" y="195"/>
                  </a:cubicBezTo>
                  <a:cubicBezTo>
                    <a:pt x="45" y="195"/>
                    <a:pt x="46" y="194"/>
                    <a:pt x="46" y="194"/>
                  </a:cubicBezTo>
                  <a:cubicBezTo>
                    <a:pt x="45" y="193"/>
                    <a:pt x="45" y="193"/>
                    <a:pt x="46" y="192"/>
                  </a:cubicBezTo>
                  <a:cubicBezTo>
                    <a:pt x="48" y="192"/>
                    <a:pt x="49" y="191"/>
                    <a:pt x="51" y="191"/>
                  </a:cubicBezTo>
                  <a:cubicBezTo>
                    <a:pt x="53" y="191"/>
                    <a:pt x="57" y="192"/>
                    <a:pt x="57" y="192"/>
                  </a:cubicBezTo>
                  <a:cubicBezTo>
                    <a:pt x="57" y="192"/>
                    <a:pt x="57" y="192"/>
                    <a:pt x="57" y="193"/>
                  </a:cubicBezTo>
                  <a:cubicBezTo>
                    <a:pt x="56" y="193"/>
                    <a:pt x="55" y="195"/>
                    <a:pt x="54" y="196"/>
                  </a:cubicBezTo>
                  <a:cubicBezTo>
                    <a:pt x="53" y="196"/>
                    <a:pt x="53" y="198"/>
                    <a:pt x="53" y="199"/>
                  </a:cubicBezTo>
                  <a:cubicBezTo>
                    <a:pt x="52" y="202"/>
                    <a:pt x="53" y="207"/>
                    <a:pt x="50" y="207"/>
                  </a:cubicBezTo>
                  <a:cubicBezTo>
                    <a:pt x="49" y="207"/>
                    <a:pt x="44" y="207"/>
                    <a:pt x="43" y="204"/>
                  </a:cubicBezTo>
                  <a:cubicBezTo>
                    <a:pt x="42" y="202"/>
                    <a:pt x="42" y="202"/>
                    <a:pt x="43" y="201"/>
                  </a:cubicBezTo>
                  <a:cubicBezTo>
                    <a:pt x="43" y="201"/>
                    <a:pt x="43" y="201"/>
                    <a:pt x="44" y="201"/>
                  </a:cubicBezTo>
                  <a:moveTo>
                    <a:pt x="52" y="186"/>
                  </a:moveTo>
                  <a:cubicBezTo>
                    <a:pt x="53" y="186"/>
                    <a:pt x="53" y="186"/>
                    <a:pt x="54" y="186"/>
                  </a:cubicBezTo>
                  <a:cubicBezTo>
                    <a:pt x="54" y="186"/>
                    <a:pt x="55" y="186"/>
                    <a:pt x="55" y="186"/>
                  </a:cubicBezTo>
                  <a:cubicBezTo>
                    <a:pt x="55" y="187"/>
                    <a:pt x="55" y="188"/>
                    <a:pt x="55" y="188"/>
                  </a:cubicBezTo>
                  <a:cubicBezTo>
                    <a:pt x="54" y="189"/>
                    <a:pt x="52" y="189"/>
                    <a:pt x="51" y="188"/>
                  </a:cubicBezTo>
                  <a:cubicBezTo>
                    <a:pt x="51" y="187"/>
                    <a:pt x="52" y="186"/>
                    <a:pt x="52" y="186"/>
                  </a:cubicBezTo>
                  <a:moveTo>
                    <a:pt x="57" y="188"/>
                  </a:moveTo>
                  <a:cubicBezTo>
                    <a:pt x="56" y="188"/>
                    <a:pt x="56" y="187"/>
                    <a:pt x="56" y="187"/>
                  </a:cubicBezTo>
                  <a:cubicBezTo>
                    <a:pt x="57" y="186"/>
                    <a:pt x="58" y="185"/>
                    <a:pt x="59" y="186"/>
                  </a:cubicBezTo>
                  <a:cubicBezTo>
                    <a:pt x="60" y="186"/>
                    <a:pt x="60" y="186"/>
                    <a:pt x="60" y="187"/>
                  </a:cubicBezTo>
                  <a:cubicBezTo>
                    <a:pt x="59" y="188"/>
                    <a:pt x="58" y="188"/>
                    <a:pt x="57" y="188"/>
                  </a:cubicBezTo>
                  <a:moveTo>
                    <a:pt x="33" y="65"/>
                  </a:moveTo>
                  <a:cubicBezTo>
                    <a:pt x="33" y="63"/>
                    <a:pt x="32" y="62"/>
                    <a:pt x="31" y="61"/>
                  </a:cubicBezTo>
                  <a:cubicBezTo>
                    <a:pt x="30" y="60"/>
                    <a:pt x="27" y="58"/>
                    <a:pt x="28" y="56"/>
                  </a:cubicBezTo>
                  <a:cubicBezTo>
                    <a:pt x="28" y="55"/>
                    <a:pt x="30" y="55"/>
                    <a:pt x="30" y="55"/>
                  </a:cubicBezTo>
                  <a:cubicBezTo>
                    <a:pt x="31" y="55"/>
                    <a:pt x="35" y="62"/>
                    <a:pt x="35" y="64"/>
                  </a:cubicBezTo>
                  <a:cubicBezTo>
                    <a:pt x="34" y="65"/>
                    <a:pt x="33" y="67"/>
                    <a:pt x="33" y="67"/>
                  </a:cubicBezTo>
                  <a:cubicBezTo>
                    <a:pt x="33" y="68"/>
                    <a:pt x="34" y="70"/>
                    <a:pt x="35" y="71"/>
                  </a:cubicBezTo>
                  <a:cubicBezTo>
                    <a:pt x="35" y="71"/>
                    <a:pt x="35" y="73"/>
                    <a:pt x="34" y="73"/>
                  </a:cubicBezTo>
                  <a:cubicBezTo>
                    <a:pt x="34" y="73"/>
                    <a:pt x="32" y="73"/>
                    <a:pt x="31" y="72"/>
                  </a:cubicBezTo>
                  <a:cubicBezTo>
                    <a:pt x="31" y="71"/>
                    <a:pt x="32" y="71"/>
                    <a:pt x="32" y="70"/>
                  </a:cubicBezTo>
                  <a:cubicBezTo>
                    <a:pt x="32" y="69"/>
                    <a:pt x="28" y="65"/>
                    <a:pt x="28" y="65"/>
                  </a:cubicBezTo>
                  <a:cubicBezTo>
                    <a:pt x="28" y="64"/>
                    <a:pt x="28" y="62"/>
                    <a:pt x="29" y="62"/>
                  </a:cubicBezTo>
                  <a:cubicBezTo>
                    <a:pt x="29" y="62"/>
                    <a:pt x="30" y="63"/>
                    <a:pt x="31" y="64"/>
                  </a:cubicBezTo>
                  <a:cubicBezTo>
                    <a:pt x="31" y="64"/>
                    <a:pt x="32" y="65"/>
                    <a:pt x="32" y="66"/>
                  </a:cubicBezTo>
                  <a:cubicBezTo>
                    <a:pt x="33" y="66"/>
                    <a:pt x="33" y="65"/>
                    <a:pt x="33" y="65"/>
                  </a:cubicBezTo>
                  <a:moveTo>
                    <a:pt x="75" y="55"/>
                  </a:moveTo>
                  <a:cubicBezTo>
                    <a:pt x="77" y="57"/>
                    <a:pt x="83" y="57"/>
                    <a:pt x="86" y="56"/>
                  </a:cubicBezTo>
                  <a:cubicBezTo>
                    <a:pt x="88" y="56"/>
                    <a:pt x="94" y="50"/>
                    <a:pt x="95" y="51"/>
                  </a:cubicBezTo>
                  <a:cubicBezTo>
                    <a:pt x="95" y="54"/>
                    <a:pt x="95" y="53"/>
                    <a:pt x="95" y="55"/>
                  </a:cubicBezTo>
                  <a:cubicBezTo>
                    <a:pt x="94" y="58"/>
                    <a:pt x="91" y="61"/>
                    <a:pt x="86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3" y="61"/>
                    <a:pt x="68" y="58"/>
                    <a:pt x="70" y="54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3" y="52"/>
                    <a:pt x="74" y="54"/>
                    <a:pt x="75" y="55"/>
                  </a:cubicBezTo>
                  <a:moveTo>
                    <a:pt x="72" y="49"/>
                  </a:moveTo>
                  <a:cubicBezTo>
                    <a:pt x="73" y="48"/>
                    <a:pt x="77" y="46"/>
                    <a:pt x="80" y="47"/>
                  </a:cubicBezTo>
                  <a:cubicBezTo>
                    <a:pt x="83" y="46"/>
                    <a:pt x="87" y="48"/>
                    <a:pt x="88" y="49"/>
                  </a:cubicBezTo>
                  <a:cubicBezTo>
                    <a:pt x="87" y="51"/>
                    <a:pt x="84" y="52"/>
                    <a:pt x="81" y="52"/>
                  </a:cubicBezTo>
                  <a:cubicBezTo>
                    <a:pt x="77" y="52"/>
                    <a:pt x="73" y="51"/>
                    <a:pt x="72" y="49"/>
                  </a:cubicBezTo>
                  <a:moveTo>
                    <a:pt x="119" y="95"/>
                  </a:moveTo>
                  <a:cubicBezTo>
                    <a:pt x="118" y="96"/>
                    <a:pt x="118" y="97"/>
                    <a:pt x="117" y="97"/>
                  </a:cubicBezTo>
                  <a:cubicBezTo>
                    <a:pt x="117" y="97"/>
                    <a:pt x="115" y="93"/>
                    <a:pt x="115" y="93"/>
                  </a:cubicBezTo>
                  <a:cubicBezTo>
                    <a:pt x="115" y="92"/>
                    <a:pt x="116" y="89"/>
                    <a:pt x="117" y="88"/>
                  </a:cubicBezTo>
                  <a:cubicBezTo>
                    <a:pt x="117" y="88"/>
                    <a:pt x="118" y="87"/>
                    <a:pt x="118" y="87"/>
                  </a:cubicBezTo>
                  <a:cubicBezTo>
                    <a:pt x="119" y="87"/>
                    <a:pt x="120" y="89"/>
                    <a:pt x="120" y="90"/>
                  </a:cubicBezTo>
                  <a:cubicBezTo>
                    <a:pt x="120" y="91"/>
                    <a:pt x="119" y="94"/>
                    <a:pt x="119" y="95"/>
                  </a:cubicBezTo>
                  <a:moveTo>
                    <a:pt x="122" y="91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24" y="92"/>
                    <a:pt x="124" y="93"/>
                    <a:pt x="124" y="94"/>
                  </a:cubicBezTo>
                  <a:cubicBezTo>
                    <a:pt x="124" y="95"/>
                    <a:pt x="122" y="99"/>
                    <a:pt x="121" y="100"/>
                  </a:cubicBezTo>
                  <a:cubicBezTo>
                    <a:pt x="121" y="100"/>
                    <a:pt x="120" y="100"/>
                    <a:pt x="120" y="100"/>
                  </a:cubicBezTo>
                  <a:cubicBezTo>
                    <a:pt x="119" y="100"/>
                    <a:pt x="119" y="99"/>
                    <a:pt x="119" y="99"/>
                  </a:cubicBezTo>
                  <a:cubicBezTo>
                    <a:pt x="119" y="97"/>
                    <a:pt x="122" y="92"/>
                    <a:pt x="122" y="91"/>
                  </a:cubicBezTo>
                  <a:moveTo>
                    <a:pt x="116" y="87"/>
                  </a:moveTo>
                  <a:cubicBezTo>
                    <a:pt x="116" y="88"/>
                    <a:pt x="114" y="90"/>
                    <a:pt x="114" y="91"/>
                  </a:cubicBezTo>
                  <a:cubicBezTo>
                    <a:pt x="113" y="92"/>
                    <a:pt x="113" y="93"/>
                    <a:pt x="113" y="94"/>
                  </a:cubicBezTo>
                  <a:cubicBezTo>
                    <a:pt x="114" y="95"/>
                    <a:pt x="115" y="96"/>
                    <a:pt x="115" y="97"/>
                  </a:cubicBezTo>
                  <a:cubicBezTo>
                    <a:pt x="115" y="98"/>
                    <a:pt x="115" y="98"/>
                    <a:pt x="115" y="99"/>
                  </a:cubicBezTo>
                  <a:cubicBezTo>
                    <a:pt x="115" y="100"/>
                    <a:pt x="113" y="106"/>
                    <a:pt x="111" y="107"/>
                  </a:cubicBezTo>
                  <a:cubicBezTo>
                    <a:pt x="110" y="108"/>
                    <a:pt x="110" y="106"/>
                    <a:pt x="109" y="105"/>
                  </a:cubicBezTo>
                  <a:cubicBezTo>
                    <a:pt x="109" y="103"/>
                    <a:pt x="110" y="103"/>
                    <a:pt x="112" y="101"/>
                  </a:cubicBezTo>
                  <a:cubicBezTo>
                    <a:pt x="112" y="100"/>
                    <a:pt x="113" y="98"/>
                    <a:pt x="112" y="97"/>
                  </a:cubicBezTo>
                  <a:cubicBezTo>
                    <a:pt x="112" y="97"/>
                    <a:pt x="111" y="98"/>
                    <a:pt x="110" y="98"/>
                  </a:cubicBezTo>
                  <a:cubicBezTo>
                    <a:pt x="110" y="99"/>
                    <a:pt x="109" y="98"/>
                    <a:pt x="109" y="97"/>
                  </a:cubicBezTo>
                  <a:cubicBezTo>
                    <a:pt x="110" y="95"/>
                    <a:pt x="111" y="95"/>
                    <a:pt x="112" y="93"/>
                  </a:cubicBezTo>
                  <a:cubicBezTo>
                    <a:pt x="113" y="92"/>
                    <a:pt x="112" y="90"/>
                    <a:pt x="113" y="89"/>
                  </a:cubicBezTo>
                  <a:cubicBezTo>
                    <a:pt x="113" y="88"/>
                    <a:pt x="114" y="85"/>
                    <a:pt x="115" y="84"/>
                  </a:cubicBezTo>
                  <a:cubicBezTo>
                    <a:pt x="116" y="84"/>
                    <a:pt x="116" y="86"/>
                    <a:pt x="116" y="87"/>
                  </a:cubicBezTo>
                  <a:moveTo>
                    <a:pt x="109" y="85"/>
                  </a:moveTo>
                  <a:cubicBezTo>
                    <a:pt x="109" y="84"/>
                    <a:pt x="110" y="83"/>
                    <a:pt x="111" y="81"/>
                  </a:cubicBezTo>
                  <a:cubicBezTo>
                    <a:pt x="112" y="80"/>
                    <a:pt x="113" y="79"/>
                    <a:pt x="113" y="79"/>
                  </a:cubicBezTo>
                  <a:cubicBezTo>
                    <a:pt x="115" y="80"/>
                    <a:pt x="113" y="84"/>
                    <a:pt x="112" y="85"/>
                  </a:cubicBezTo>
                  <a:cubicBezTo>
                    <a:pt x="111" y="88"/>
                    <a:pt x="111" y="91"/>
                    <a:pt x="110" y="90"/>
                  </a:cubicBezTo>
                  <a:cubicBezTo>
                    <a:pt x="110" y="90"/>
                    <a:pt x="108" y="86"/>
                    <a:pt x="109" y="85"/>
                  </a:cubicBezTo>
                  <a:moveTo>
                    <a:pt x="108" y="109"/>
                  </a:moveTo>
                  <a:cubicBezTo>
                    <a:pt x="108" y="110"/>
                    <a:pt x="108" y="110"/>
                    <a:pt x="108" y="110"/>
                  </a:cubicBezTo>
                  <a:cubicBezTo>
                    <a:pt x="108" y="110"/>
                    <a:pt x="108" y="109"/>
                    <a:pt x="108" y="109"/>
                  </a:cubicBezTo>
                  <a:cubicBezTo>
                    <a:pt x="108" y="109"/>
                    <a:pt x="108" y="109"/>
                    <a:pt x="108" y="109"/>
                  </a:cubicBezTo>
                  <a:cubicBezTo>
                    <a:pt x="108" y="109"/>
                    <a:pt x="108" y="109"/>
                    <a:pt x="108" y="108"/>
                  </a:cubicBezTo>
                  <a:cubicBezTo>
                    <a:pt x="108" y="108"/>
                    <a:pt x="108" y="108"/>
                    <a:pt x="108" y="108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09" y="109"/>
                    <a:pt x="109" y="109"/>
                    <a:pt x="108" y="109"/>
                  </a:cubicBezTo>
                  <a:moveTo>
                    <a:pt x="115" y="74"/>
                  </a:moveTo>
                  <a:cubicBezTo>
                    <a:pt x="115" y="74"/>
                    <a:pt x="114" y="72"/>
                    <a:pt x="114" y="72"/>
                  </a:cubicBezTo>
                  <a:cubicBezTo>
                    <a:pt x="114" y="71"/>
                    <a:pt x="115" y="70"/>
                    <a:pt x="116" y="69"/>
                  </a:cubicBezTo>
                  <a:cubicBezTo>
                    <a:pt x="117" y="69"/>
                    <a:pt x="118" y="69"/>
                    <a:pt x="118" y="69"/>
                  </a:cubicBezTo>
                  <a:cubicBezTo>
                    <a:pt x="119" y="69"/>
                    <a:pt x="120" y="70"/>
                    <a:pt x="120" y="71"/>
                  </a:cubicBezTo>
                  <a:cubicBezTo>
                    <a:pt x="119" y="72"/>
                    <a:pt x="116" y="74"/>
                    <a:pt x="115" y="74"/>
                  </a:cubicBezTo>
                  <a:moveTo>
                    <a:pt x="117" y="66"/>
                  </a:moveTo>
                  <a:cubicBezTo>
                    <a:pt x="116" y="67"/>
                    <a:pt x="115" y="67"/>
                    <a:pt x="114" y="68"/>
                  </a:cubicBezTo>
                  <a:cubicBezTo>
                    <a:pt x="114" y="70"/>
                    <a:pt x="113" y="72"/>
                    <a:pt x="112" y="70"/>
                  </a:cubicBezTo>
                  <a:cubicBezTo>
                    <a:pt x="112" y="70"/>
                    <a:pt x="111" y="67"/>
                    <a:pt x="111" y="66"/>
                  </a:cubicBezTo>
                  <a:cubicBezTo>
                    <a:pt x="111" y="66"/>
                    <a:pt x="113" y="65"/>
                    <a:pt x="114" y="64"/>
                  </a:cubicBezTo>
                  <a:cubicBezTo>
                    <a:pt x="114" y="63"/>
                    <a:pt x="117" y="61"/>
                    <a:pt x="118" y="62"/>
                  </a:cubicBezTo>
                  <a:cubicBezTo>
                    <a:pt x="119" y="62"/>
                    <a:pt x="118" y="65"/>
                    <a:pt x="117" y="66"/>
                  </a:cubicBezTo>
                  <a:moveTo>
                    <a:pt x="110" y="61"/>
                  </a:moveTo>
                  <a:cubicBezTo>
                    <a:pt x="110" y="60"/>
                    <a:pt x="112" y="58"/>
                    <a:pt x="113" y="57"/>
                  </a:cubicBezTo>
                  <a:cubicBezTo>
                    <a:pt x="114" y="56"/>
                    <a:pt x="115" y="57"/>
                    <a:pt x="116" y="58"/>
                  </a:cubicBezTo>
                  <a:cubicBezTo>
                    <a:pt x="116" y="59"/>
                    <a:pt x="116" y="59"/>
                    <a:pt x="116" y="60"/>
                  </a:cubicBezTo>
                  <a:cubicBezTo>
                    <a:pt x="116" y="60"/>
                    <a:pt x="114" y="61"/>
                    <a:pt x="113" y="61"/>
                  </a:cubicBezTo>
                  <a:cubicBezTo>
                    <a:pt x="112" y="62"/>
                    <a:pt x="112" y="62"/>
                    <a:pt x="112" y="62"/>
                  </a:cubicBezTo>
                  <a:cubicBezTo>
                    <a:pt x="111" y="62"/>
                    <a:pt x="111" y="62"/>
                    <a:pt x="110" y="61"/>
                  </a:cubicBezTo>
                  <a:moveTo>
                    <a:pt x="116" y="53"/>
                  </a:moveTo>
                  <a:cubicBezTo>
                    <a:pt x="116" y="54"/>
                    <a:pt x="110" y="56"/>
                    <a:pt x="110" y="56"/>
                  </a:cubicBezTo>
                  <a:cubicBezTo>
                    <a:pt x="109" y="55"/>
                    <a:pt x="109" y="55"/>
                    <a:pt x="109" y="54"/>
                  </a:cubicBezTo>
                  <a:cubicBezTo>
                    <a:pt x="109" y="54"/>
                    <a:pt x="109" y="54"/>
                    <a:pt x="109" y="53"/>
                  </a:cubicBezTo>
                  <a:cubicBezTo>
                    <a:pt x="109" y="53"/>
                    <a:pt x="109" y="52"/>
                    <a:pt x="110" y="51"/>
                  </a:cubicBezTo>
                  <a:cubicBezTo>
                    <a:pt x="110" y="51"/>
                    <a:pt x="114" y="49"/>
                    <a:pt x="114" y="49"/>
                  </a:cubicBezTo>
                  <a:cubicBezTo>
                    <a:pt x="115" y="49"/>
                    <a:pt x="115" y="50"/>
                    <a:pt x="116" y="50"/>
                  </a:cubicBezTo>
                  <a:cubicBezTo>
                    <a:pt x="117" y="51"/>
                    <a:pt x="117" y="52"/>
                    <a:pt x="116" y="53"/>
                  </a:cubicBezTo>
                  <a:moveTo>
                    <a:pt x="109" y="68"/>
                  </a:moveTo>
                  <a:cubicBezTo>
                    <a:pt x="110" y="69"/>
                    <a:pt x="110" y="70"/>
                    <a:pt x="110" y="71"/>
                  </a:cubicBezTo>
                  <a:cubicBezTo>
                    <a:pt x="110" y="72"/>
                    <a:pt x="109" y="74"/>
                    <a:pt x="109" y="74"/>
                  </a:cubicBezTo>
                  <a:cubicBezTo>
                    <a:pt x="109" y="74"/>
                    <a:pt x="109" y="74"/>
                    <a:pt x="109" y="74"/>
                  </a:cubicBezTo>
                  <a:cubicBezTo>
                    <a:pt x="110" y="74"/>
                    <a:pt x="110" y="74"/>
                    <a:pt x="110" y="74"/>
                  </a:cubicBezTo>
                  <a:cubicBezTo>
                    <a:pt x="111" y="73"/>
                    <a:pt x="112" y="74"/>
                    <a:pt x="112" y="75"/>
                  </a:cubicBezTo>
                  <a:cubicBezTo>
                    <a:pt x="112" y="76"/>
                    <a:pt x="111" y="79"/>
                    <a:pt x="109" y="80"/>
                  </a:cubicBezTo>
                  <a:cubicBezTo>
                    <a:pt x="109" y="81"/>
                    <a:pt x="106" y="78"/>
                    <a:pt x="106" y="77"/>
                  </a:cubicBezTo>
                  <a:cubicBezTo>
                    <a:pt x="106" y="76"/>
                    <a:pt x="106" y="75"/>
                    <a:pt x="106" y="74"/>
                  </a:cubicBezTo>
                  <a:cubicBezTo>
                    <a:pt x="106" y="73"/>
                    <a:pt x="105" y="73"/>
                    <a:pt x="106" y="71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68"/>
                    <a:pt x="109" y="68"/>
                    <a:pt x="109" y="68"/>
                  </a:cubicBezTo>
                  <a:moveTo>
                    <a:pt x="106" y="68"/>
                  </a:moveTo>
                  <a:cubicBezTo>
                    <a:pt x="106" y="69"/>
                    <a:pt x="105" y="70"/>
                    <a:pt x="105" y="70"/>
                  </a:cubicBezTo>
                  <a:cubicBezTo>
                    <a:pt x="104" y="69"/>
                    <a:pt x="104" y="68"/>
                    <a:pt x="105" y="68"/>
                  </a:cubicBezTo>
                  <a:cubicBezTo>
                    <a:pt x="105" y="65"/>
                    <a:pt x="106" y="61"/>
                    <a:pt x="108" y="62"/>
                  </a:cubicBezTo>
                  <a:cubicBezTo>
                    <a:pt x="109" y="63"/>
                    <a:pt x="107" y="67"/>
                    <a:pt x="106" y="68"/>
                  </a:cubicBezTo>
                  <a:moveTo>
                    <a:pt x="106" y="83"/>
                  </a:moveTo>
                  <a:cubicBezTo>
                    <a:pt x="106" y="84"/>
                    <a:pt x="106" y="85"/>
                    <a:pt x="105" y="85"/>
                  </a:cubicBezTo>
                  <a:cubicBezTo>
                    <a:pt x="105" y="85"/>
                    <a:pt x="103" y="83"/>
                    <a:pt x="103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81"/>
                    <a:pt x="103" y="81"/>
                    <a:pt x="104" y="81"/>
                  </a:cubicBezTo>
                  <a:cubicBezTo>
                    <a:pt x="105" y="80"/>
                    <a:pt x="106" y="82"/>
                    <a:pt x="106" y="83"/>
                  </a:cubicBezTo>
                  <a:moveTo>
                    <a:pt x="96" y="109"/>
                  </a:moveTo>
                  <a:cubicBezTo>
                    <a:pt x="96" y="110"/>
                    <a:pt x="96" y="110"/>
                    <a:pt x="96" y="111"/>
                  </a:cubicBezTo>
                  <a:cubicBezTo>
                    <a:pt x="95" y="111"/>
                    <a:pt x="91" y="106"/>
                    <a:pt x="91" y="105"/>
                  </a:cubicBezTo>
                  <a:cubicBezTo>
                    <a:pt x="91" y="105"/>
                    <a:pt x="91" y="105"/>
                    <a:pt x="91" y="104"/>
                  </a:cubicBezTo>
                  <a:cubicBezTo>
                    <a:pt x="92" y="103"/>
                    <a:pt x="92" y="104"/>
                    <a:pt x="93" y="104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5" y="104"/>
                    <a:pt x="94" y="101"/>
                    <a:pt x="94" y="100"/>
                  </a:cubicBezTo>
                  <a:cubicBezTo>
                    <a:pt x="93" y="99"/>
                    <a:pt x="92" y="99"/>
                    <a:pt x="91" y="98"/>
                  </a:cubicBezTo>
                  <a:cubicBezTo>
                    <a:pt x="91" y="98"/>
                    <a:pt x="91" y="97"/>
                    <a:pt x="91" y="97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92" y="96"/>
                    <a:pt x="96" y="99"/>
                    <a:pt x="97" y="100"/>
                  </a:cubicBezTo>
                  <a:cubicBezTo>
                    <a:pt x="97" y="101"/>
                    <a:pt x="97" y="101"/>
                    <a:pt x="97" y="102"/>
                  </a:cubicBezTo>
                  <a:cubicBezTo>
                    <a:pt x="97" y="103"/>
                    <a:pt x="96" y="105"/>
                    <a:pt x="96" y="106"/>
                  </a:cubicBezTo>
                  <a:cubicBezTo>
                    <a:pt x="96" y="106"/>
                    <a:pt x="96" y="108"/>
                    <a:pt x="96" y="109"/>
                  </a:cubicBezTo>
                  <a:moveTo>
                    <a:pt x="93" y="116"/>
                  </a:moveTo>
                  <a:cubicBezTo>
                    <a:pt x="92" y="115"/>
                    <a:pt x="91" y="114"/>
                    <a:pt x="91" y="114"/>
                  </a:cubicBezTo>
                  <a:cubicBezTo>
                    <a:pt x="91" y="113"/>
                    <a:pt x="91" y="112"/>
                    <a:pt x="92" y="112"/>
                  </a:cubicBezTo>
                  <a:cubicBezTo>
                    <a:pt x="92" y="112"/>
                    <a:pt x="92" y="111"/>
                    <a:pt x="92" y="111"/>
                  </a:cubicBezTo>
                  <a:cubicBezTo>
                    <a:pt x="93" y="111"/>
                    <a:pt x="93" y="112"/>
                    <a:pt x="93" y="113"/>
                  </a:cubicBezTo>
                  <a:cubicBezTo>
                    <a:pt x="94" y="115"/>
                    <a:pt x="95" y="116"/>
                    <a:pt x="94" y="118"/>
                  </a:cubicBezTo>
                  <a:cubicBezTo>
                    <a:pt x="93" y="119"/>
                    <a:pt x="92" y="120"/>
                    <a:pt x="91" y="119"/>
                  </a:cubicBezTo>
                  <a:cubicBezTo>
                    <a:pt x="91" y="119"/>
                    <a:pt x="93" y="118"/>
                    <a:pt x="93" y="117"/>
                  </a:cubicBezTo>
                  <a:cubicBezTo>
                    <a:pt x="93" y="117"/>
                    <a:pt x="93" y="117"/>
                    <a:pt x="93" y="116"/>
                  </a:cubicBezTo>
                  <a:moveTo>
                    <a:pt x="88" y="114"/>
                  </a:moveTo>
                  <a:cubicBezTo>
                    <a:pt x="87" y="113"/>
                    <a:pt x="86" y="110"/>
                    <a:pt x="86" y="109"/>
                  </a:cubicBezTo>
                  <a:cubicBezTo>
                    <a:pt x="86" y="109"/>
                    <a:pt x="87" y="109"/>
                    <a:pt x="87" y="109"/>
                  </a:cubicBezTo>
                  <a:cubicBezTo>
                    <a:pt x="89" y="110"/>
                    <a:pt x="90" y="112"/>
                    <a:pt x="89" y="113"/>
                  </a:cubicBezTo>
                  <a:cubicBezTo>
                    <a:pt x="89" y="113"/>
                    <a:pt x="89" y="114"/>
                    <a:pt x="88" y="114"/>
                  </a:cubicBezTo>
                  <a:moveTo>
                    <a:pt x="89" y="119"/>
                  </a:moveTo>
                  <a:cubicBezTo>
                    <a:pt x="89" y="120"/>
                    <a:pt x="88" y="122"/>
                    <a:pt x="88" y="122"/>
                  </a:cubicBezTo>
                  <a:cubicBezTo>
                    <a:pt x="87" y="122"/>
                    <a:pt x="87" y="122"/>
                    <a:pt x="87" y="119"/>
                  </a:cubicBezTo>
                  <a:cubicBezTo>
                    <a:pt x="88" y="117"/>
                    <a:pt x="88" y="117"/>
                    <a:pt x="88" y="118"/>
                  </a:cubicBezTo>
                  <a:cubicBezTo>
                    <a:pt x="89" y="118"/>
                    <a:pt x="89" y="119"/>
                    <a:pt x="89" y="119"/>
                  </a:cubicBezTo>
                  <a:moveTo>
                    <a:pt x="77" y="105"/>
                  </a:moveTo>
                  <a:cubicBezTo>
                    <a:pt x="77" y="106"/>
                    <a:pt x="73" y="109"/>
                    <a:pt x="73" y="108"/>
                  </a:cubicBezTo>
                  <a:cubicBezTo>
                    <a:pt x="73" y="108"/>
                    <a:pt x="74" y="105"/>
                    <a:pt x="75" y="104"/>
                  </a:cubicBezTo>
                  <a:cubicBezTo>
                    <a:pt x="75" y="103"/>
                    <a:pt x="76" y="102"/>
                    <a:pt x="77" y="102"/>
                  </a:cubicBezTo>
                  <a:cubicBezTo>
                    <a:pt x="78" y="103"/>
                    <a:pt x="78" y="104"/>
                    <a:pt x="77" y="105"/>
                  </a:cubicBezTo>
                  <a:moveTo>
                    <a:pt x="79" y="108"/>
                  </a:moveTo>
                  <a:cubicBezTo>
                    <a:pt x="80" y="108"/>
                    <a:pt x="79" y="111"/>
                    <a:pt x="79" y="112"/>
                  </a:cubicBezTo>
                  <a:cubicBezTo>
                    <a:pt x="78" y="113"/>
                    <a:pt x="74" y="118"/>
                    <a:pt x="74" y="117"/>
                  </a:cubicBezTo>
                  <a:cubicBezTo>
                    <a:pt x="73" y="117"/>
                    <a:pt x="74" y="115"/>
                    <a:pt x="74" y="115"/>
                  </a:cubicBezTo>
                  <a:cubicBezTo>
                    <a:pt x="74" y="114"/>
                    <a:pt x="74" y="113"/>
                    <a:pt x="75" y="112"/>
                  </a:cubicBezTo>
                  <a:cubicBezTo>
                    <a:pt x="76" y="111"/>
                    <a:pt x="78" y="108"/>
                    <a:pt x="79" y="108"/>
                  </a:cubicBezTo>
                  <a:moveTo>
                    <a:pt x="74" y="120"/>
                  </a:moveTo>
                  <a:cubicBezTo>
                    <a:pt x="75" y="120"/>
                    <a:pt x="75" y="119"/>
                    <a:pt x="76" y="118"/>
                  </a:cubicBezTo>
                  <a:cubicBezTo>
                    <a:pt x="77" y="117"/>
                    <a:pt x="79" y="115"/>
                    <a:pt x="79" y="115"/>
                  </a:cubicBezTo>
                  <a:cubicBezTo>
                    <a:pt x="80" y="115"/>
                    <a:pt x="82" y="118"/>
                    <a:pt x="83" y="119"/>
                  </a:cubicBezTo>
                  <a:cubicBezTo>
                    <a:pt x="83" y="119"/>
                    <a:pt x="83" y="121"/>
                    <a:pt x="83" y="122"/>
                  </a:cubicBezTo>
                  <a:cubicBezTo>
                    <a:pt x="83" y="122"/>
                    <a:pt x="82" y="122"/>
                    <a:pt x="82" y="122"/>
                  </a:cubicBezTo>
                  <a:cubicBezTo>
                    <a:pt x="81" y="120"/>
                    <a:pt x="80" y="117"/>
                    <a:pt x="79" y="117"/>
                  </a:cubicBezTo>
                  <a:cubicBezTo>
                    <a:pt x="78" y="118"/>
                    <a:pt x="74" y="125"/>
                    <a:pt x="73" y="125"/>
                  </a:cubicBezTo>
                  <a:cubicBezTo>
                    <a:pt x="73" y="125"/>
                    <a:pt x="72" y="124"/>
                    <a:pt x="72" y="124"/>
                  </a:cubicBezTo>
                  <a:cubicBezTo>
                    <a:pt x="72" y="123"/>
                    <a:pt x="73" y="121"/>
                    <a:pt x="74" y="120"/>
                  </a:cubicBezTo>
                  <a:moveTo>
                    <a:pt x="83" y="115"/>
                  </a:moveTo>
                  <a:cubicBezTo>
                    <a:pt x="82" y="115"/>
                    <a:pt x="81" y="113"/>
                    <a:pt x="81" y="112"/>
                  </a:cubicBezTo>
                  <a:cubicBezTo>
                    <a:pt x="81" y="111"/>
                    <a:pt x="81" y="111"/>
                    <a:pt x="83" y="111"/>
                  </a:cubicBezTo>
                  <a:cubicBezTo>
                    <a:pt x="83" y="111"/>
                    <a:pt x="85" y="113"/>
                    <a:pt x="85" y="114"/>
                  </a:cubicBezTo>
                  <a:cubicBezTo>
                    <a:pt x="85" y="115"/>
                    <a:pt x="85" y="115"/>
                    <a:pt x="84" y="115"/>
                  </a:cubicBezTo>
                  <a:cubicBezTo>
                    <a:pt x="83" y="116"/>
                    <a:pt x="83" y="115"/>
                    <a:pt x="83" y="115"/>
                  </a:cubicBezTo>
                  <a:moveTo>
                    <a:pt x="83" y="109"/>
                  </a:moveTo>
                  <a:cubicBezTo>
                    <a:pt x="83" y="109"/>
                    <a:pt x="82" y="108"/>
                    <a:pt x="81" y="107"/>
                  </a:cubicBezTo>
                  <a:cubicBezTo>
                    <a:pt x="81" y="106"/>
                    <a:pt x="79" y="104"/>
                    <a:pt x="80" y="103"/>
                  </a:cubicBezTo>
                  <a:cubicBezTo>
                    <a:pt x="81" y="103"/>
                    <a:pt x="84" y="105"/>
                    <a:pt x="85" y="106"/>
                  </a:cubicBezTo>
                  <a:cubicBezTo>
                    <a:pt x="85" y="107"/>
                    <a:pt x="85" y="107"/>
                    <a:pt x="85" y="108"/>
                  </a:cubicBezTo>
                  <a:cubicBezTo>
                    <a:pt x="85" y="109"/>
                    <a:pt x="84" y="109"/>
                    <a:pt x="83" y="109"/>
                  </a:cubicBezTo>
                  <a:moveTo>
                    <a:pt x="85" y="103"/>
                  </a:moveTo>
                  <a:cubicBezTo>
                    <a:pt x="84" y="102"/>
                    <a:pt x="83" y="102"/>
                    <a:pt x="82" y="101"/>
                  </a:cubicBezTo>
                  <a:cubicBezTo>
                    <a:pt x="81" y="101"/>
                    <a:pt x="77" y="96"/>
                    <a:pt x="77" y="96"/>
                  </a:cubicBezTo>
                  <a:cubicBezTo>
                    <a:pt x="77" y="96"/>
                    <a:pt x="76" y="97"/>
                    <a:pt x="76" y="98"/>
                  </a:cubicBezTo>
                  <a:cubicBezTo>
                    <a:pt x="76" y="98"/>
                    <a:pt x="76" y="99"/>
                    <a:pt x="75" y="99"/>
                  </a:cubicBezTo>
                  <a:cubicBezTo>
                    <a:pt x="75" y="99"/>
                    <a:pt x="74" y="100"/>
                    <a:pt x="74" y="101"/>
                  </a:cubicBezTo>
                  <a:cubicBezTo>
                    <a:pt x="73" y="102"/>
                    <a:pt x="72" y="103"/>
                    <a:pt x="71" y="102"/>
                  </a:cubicBezTo>
                  <a:cubicBezTo>
                    <a:pt x="70" y="100"/>
                    <a:pt x="73" y="96"/>
                    <a:pt x="74" y="94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5" y="92"/>
                    <a:pt x="76" y="92"/>
                    <a:pt x="76" y="92"/>
                  </a:cubicBezTo>
                  <a:cubicBezTo>
                    <a:pt x="78" y="91"/>
                    <a:pt x="78" y="93"/>
                    <a:pt x="79" y="95"/>
                  </a:cubicBezTo>
                  <a:cubicBezTo>
                    <a:pt x="80" y="95"/>
                    <a:pt x="81" y="96"/>
                    <a:pt x="82" y="96"/>
                  </a:cubicBezTo>
                  <a:cubicBezTo>
                    <a:pt x="83" y="97"/>
                    <a:pt x="83" y="98"/>
                    <a:pt x="85" y="99"/>
                  </a:cubicBezTo>
                  <a:cubicBezTo>
                    <a:pt x="86" y="100"/>
                    <a:pt x="88" y="102"/>
                    <a:pt x="89" y="102"/>
                  </a:cubicBezTo>
                  <a:cubicBezTo>
                    <a:pt x="89" y="103"/>
                    <a:pt x="89" y="104"/>
                    <a:pt x="89" y="105"/>
                  </a:cubicBezTo>
                  <a:cubicBezTo>
                    <a:pt x="88" y="107"/>
                    <a:pt x="87" y="104"/>
                    <a:pt x="85" y="103"/>
                  </a:cubicBezTo>
                  <a:moveTo>
                    <a:pt x="58" y="113"/>
                  </a:moveTo>
                  <a:cubicBezTo>
                    <a:pt x="58" y="113"/>
                    <a:pt x="57" y="113"/>
                    <a:pt x="57" y="113"/>
                  </a:cubicBezTo>
                  <a:cubicBezTo>
                    <a:pt x="56" y="112"/>
                    <a:pt x="59" y="108"/>
                    <a:pt x="60" y="108"/>
                  </a:cubicBezTo>
                  <a:cubicBezTo>
                    <a:pt x="60" y="108"/>
                    <a:pt x="61" y="109"/>
                    <a:pt x="60" y="109"/>
                  </a:cubicBezTo>
                  <a:cubicBezTo>
                    <a:pt x="60" y="110"/>
                    <a:pt x="59" y="112"/>
                    <a:pt x="58" y="113"/>
                  </a:cubicBezTo>
                  <a:moveTo>
                    <a:pt x="58" y="117"/>
                  </a:moveTo>
                  <a:cubicBezTo>
                    <a:pt x="58" y="118"/>
                    <a:pt x="57" y="117"/>
                    <a:pt x="57" y="116"/>
                  </a:cubicBezTo>
                  <a:cubicBezTo>
                    <a:pt x="57" y="116"/>
                    <a:pt x="57" y="116"/>
                    <a:pt x="58" y="116"/>
                  </a:cubicBezTo>
                  <a:cubicBezTo>
                    <a:pt x="58" y="115"/>
                    <a:pt x="60" y="114"/>
                    <a:pt x="60" y="115"/>
                  </a:cubicBezTo>
                  <a:cubicBezTo>
                    <a:pt x="61" y="116"/>
                    <a:pt x="59" y="117"/>
                    <a:pt x="58" y="117"/>
                  </a:cubicBezTo>
                  <a:moveTo>
                    <a:pt x="60" y="101"/>
                  </a:moveTo>
                  <a:cubicBezTo>
                    <a:pt x="60" y="103"/>
                    <a:pt x="59" y="104"/>
                    <a:pt x="59" y="105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7"/>
                    <a:pt x="56" y="104"/>
                    <a:pt x="56" y="103"/>
                  </a:cubicBezTo>
                  <a:cubicBezTo>
                    <a:pt x="56" y="102"/>
                    <a:pt x="57" y="100"/>
                    <a:pt x="57" y="99"/>
                  </a:cubicBezTo>
                  <a:cubicBezTo>
                    <a:pt x="58" y="98"/>
                    <a:pt x="60" y="98"/>
                    <a:pt x="60" y="98"/>
                  </a:cubicBezTo>
                  <a:cubicBezTo>
                    <a:pt x="61" y="98"/>
                    <a:pt x="61" y="100"/>
                    <a:pt x="60" y="101"/>
                  </a:cubicBezTo>
                  <a:moveTo>
                    <a:pt x="60" y="94"/>
                  </a:moveTo>
                  <a:cubicBezTo>
                    <a:pt x="60" y="95"/>
                    <a:pt x="57" y="97"/>
                    <a:pt x="56" y="97"/>
                  </a:cubicBezTo>
                  <a:cubicBezTo>
                    <a:pt x="55" y="98"/>
                    <a:pt x="55" y="97"/>
                    <a:pt x="55" y="95"/>
                  </a:cubicBezTo>
                  <a:cubicBezTo>
                    <a:pt x="55" y="95"/>
                    <a:pt x="56" y="95"/>
                    <a:pt x="56" y="94"/>
                  </a:cubicBezTo>
                  <a:cubicBezTo>
                    <a:pt x="56" y="94"/>
                    <a:pt x="56" y="92"/>
                    <a:pt x="56" y="92"/>
                  </a:cubicBezTo>
                  <a:cubicBezTo>
                    <a:pt x="57" y="91"/>
                    <a:pt x="59" y="89"/>
                    <a:pt x="60" y="89"/>
                  </a:cubicBezTo>
                  <a:cubicBezTo>
                    <a:pt x="62" y="89"/>
                    <a:pt x="61" y="93"/>
                    <a:pt x="60" y="94"/>
                  </a:cubicBezTo>
                  <a:moveTo>
                    <a:pt x="50" y="91"/>
                  </a:moveTo>
                  <a:cubicBezTo>
                    <a:pt x="50" y="90"/>
                    <a:pt x="51" y="89"/>
                    <a:pt x="51" y="89"/>
                  </a:cubicBezTo>
                  <a:cubicBezTo>
                    <a:pt x="52" y="87"/>
                    <a:pt x="53" y="86"/>
                    <a:pt x="53" y="87"/>
                  </a:cubicBezTo>
                  <a:cubicBezTo>
                    <a:pt x="54" y="88"/>
                    <a:pt x="53" y="91"/>
                    <a:pt x="52" y="93"/>
                  </a:cubicBezTo>
                  <a:cubicBezTo>
                    <a:pt x="51" y="93"/>
                    <a:pt x="51" y="93"/>
                    <a:pt x="50" y="93"/>
                  </a:cubicBezTo>
                  <a:cubicBezTo>
                    <a:pt x="50" y="91"/>
                    <a:pt x="50" y="91"/>
                    <a:pt x="50" y="91"/>
                  </a:cubicBezTo>
                  <a:moveTo>
                    <a:pt x="50" y="85"/>
                  </a:moveTo>
                  <a:cubicBezTo>
                    <a:pt x="49" y="85"/>
                    <a:pt x="49" y="85"/>
                    <a:pt x="48" y="84"/>
                  </a:cubicBezTo>
                  <a:cubicBezTo>
                    <a:pt x="48" y="84"/>
                    <a:pt x="48" y="84"/>
                    <a:pt x="48" y="82"/>
                  </a:cubicBezTo>
                  <a:cubicBezTo>
                    <a:pt x="49" y="81"/>
                    <a:pt x="49" y="81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ubicBezTo>
                    <a:pt x="50" y="83"/>
                    <a:pt x="50" y="84"/>
                    <a:pt x="50" y="85"/>
                  </a:cubicBezTo>
                  <a:moveTo>
                    <a:pt x="52" y="81"/>
                  </a:moveTo>
                  <a:cubicBezTo>
                    <a:pt x="52" y="81"/>
                    <a:pt x="52" y="81"/>
                    <a:pt x="52" y="80"/>
                  </a:cubicBezTo>
                  <a:cubicBezTo>
                    <a:pt x="52" y="80"/>
                    <a:pt x="54" y="77"/>
                    <a:pt x="55" y="78"/>
                  </a:cubicBezTo>
                  <a:cubicBezTo>
                    <a:pt x="56" y="78"/>
                    <a:pt x="55" y="80"/>
                    <a:pt x="55" y="81"/>
                  </a:cubicBezTo>
                  <a:cubicBezTo>
                    <a:pt x="54" y="82"/>
                    <a:pt x="53" y="82"/>
                    <a:pt x="52" y="81"/>
                  </a:cubicBezTo>
                  <a:moveTo>
                    <a:pt x="54" y="70"/>
                  </a:moveTo>
                  <a:cubicBezTo>
                    <a:pt x="54" y="69"/>
                    <a:pt x="54" y="69"/>
                    <a:pt x="54" y="69"/>
                  </a:cubicBezTo>
                  <a:cubicBezTo>
                    <a:pt x="55" y="68"/>
                    <a:pt x="56" y="67"/>
                    <a:pt x="57" y="67"/>
                  </a:cubicBezTo>
                  <a:cubicBezTo>
                    <a:pt x="61" y="68"/>
                    <a:pt x="57" y="71"/>
                    <a:pt x="55" y="72"/>
                  </a:cubicBezTo>
                  <a:cubicBezTo>
                    <a:pt x="55" y="72"/>
                    <a:pt x="55" y="73"/>
                    <a:pt x="55" y="73"/>
                  </a:cubicBezTo>
                  <a:cubicBezTo>
                    <a:pt x="54" y="72"/>
                    <a:pt x="54" y="70"/>
                    <a:pt x="54" y="70"/>
                  </a:cubicBezTo>
                  <a:moveTo>
                    <a:pt x="57" y="87"/>
                  </a:moveTo>
                  <a:cubicBezTo>
                    <a:pt x="57" y="87"/>
                    <a:pt x="56" y="87"/>
                    <a:pt x="56" y="87"/>
                  </a:cubicBezTo>
                  <a:cubicBezTo>
                    <a:pt x="56" y="87"/>
                    <a:pt x="56" y="86"/>
                    <a:pt x="56" y="85"/>
                  </a:cubicBezTo>
                  <a:cubicBezTo>
                    <a:pt x="56" y="83"/>
                    <a:pt x="58" y="80"/>
                    <a:pt x="60" y="80"/>
                  </a:cubicBezTo>
                  <a:cubicBezTo>
                    <a:pt x="61" y="80"/>
                    <a:pt x="62" y="80"/>
                    <a:pt x="62" y="81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1" y="84"/>
                    <a:pt x="58" y="87"/>
                    <a:pt x="57" y="87"/>
                  </a:cubicBezTo>
                  <a:moveTo>
                    <a:pt x="57" y="77"/>
                  </a:moveTo>
                  <a:cubicBezTo>
                    <a:pt x="57" y="76"/>
                    <a:pt x="58" y="74"/>
                    <a:pt x="59" y="73"/>
                  </a:cubicBezTo>
                  <a:cubicBezTo>
                    <a:pt x="59" y="72"/>
                    <a:pt x="62" y="71"/>
                    <a:pt x="63" y="72"/>
                  </a:cubicBezTo>
                  <a:cubicBezTo>
                    <a:pt x="64" y="72"/>
                    <a:pt x="64" y="73"/>
                    <a:pt x="64" y="73"/>
                  </a:cubicBezTo>
                  <a:cubicBezTo>
                    <a:pt x="63" y="74"/>
                    <a:pt x="63" y="75"/>
                    <a:pt x="63" y="75"/>
                  </a:cubicBezTo>
                  <a:cubicBezTo>
                    <a:pt x="62" y="77"/>
                    <a:pt x="58" y="79"/>
                    <a:pt x="57" y="77"/>
                  </a:cubicBezTo>
                  <a:moveTo>
                    <a:pt x="77" y="69"/>
                  </a:moveTo>
                  <a:cubicBezTo>
                    <a:pt x="77" y="70"/>
                    <a:pt x="78" y="70"/>
                    <a:pt x="78" y="70"/>
                  </a:cubicBezTo>
                  <a:cubicBezTo>
                    <a:pt x="79" y="71"/>
                    <a:pt x="80" y="70"/>
                    <a:pt x="80" y="69"/>
                  </a:cubicBezTo>
                  <a:cubicBezTo>
                    <a:pt x="81" y="69"/>
                    <a:pt x="80" y="66"/>
                    <a:pt x="80" y="65"/>
                  </a:cubicBezTo>
                  <a:cubicBezTo>
                    <a:pt x="80" y="65"/>
                    <a:pt x="85" y="66"/>
                    <a:pt x="85" y="66"/>
                  </a:cubicBezTo>
                  <a:cubicBezTo>
                    <a:pt x="86" y="67"/>
                    <a:pt x="86" y="69"/>
                    <a:pt x="86" y="70"/>
                  </a:cubicBezTo>
                  <a:cubicBezTo>
                    <a:pt x="84" y="72"/>
                    <a:pt x="83" y="72"/>
                    <a:pt x="81" y="72"/>
                  </a:cubicBezTo>
                  <a:cubicBezTo>
                    <a:pt x="79" y="72"/>
                    <a:pt x="77" y="72"/>
                    <a:pt x="76" y="72"/>
                  </a:cubicBezTo>
                  <a:cubicBezTo>
                    <a:pt x="75" y="72"/>
                    <a:pt x="74" y="71"/>
                    <a:pt x="73" y="70"/>
                  </a:cubicBezTo>
                  <a:cubicBezTo>
                    <a:pt x="72" y="69"/>
                    <a:pt x="72" y="66"/>
                    <a:pt x="73" y="66"/>
                  </a:cubicBezTo>
                  <a:cubicBezTo>
                    <a:pt x="74" y="65"/>
                    <a:pt x="76" y="66"/>
                    <a:pt x="77" y="66"/>
                  </a:cubicBezTo>
                  <a:cubicBezTo>
                    <a:pt x="77" y="67"/>
                    <a:pt x="76" y="68"/>
                    <a:pt x="77" y="69"/>
                  </a:cubicBezTo>
                  <a:moveTo>
                    <a:pt x="74" y="74"/>
                  </a:moveTo>
                  <a:cubicBezTo>
                    <a:pt x="74" y="74"/>
                    <a:pt x="75" y="74"/>
                    <a:pt x="75" y="74"/>
                  </a:cubicBezTo>
                  <a:cubicBezTo>
                    <a:pt x="78" y="75"/>
                    <a:pt x="79" y="76"/>
                    <a:pt x="77" y="77"/>
                  </a:cubicBezTo>
                  <a:cubicBezTo>
                    <a:pt x="76" y="78"/>
                    <a:pt x="74" y="80"/>
                    <a:pt x="73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71" y="85"/>
                    <a:pt x="70" y="85"/>
                    <a:pt x="70" y="85"/>
                  </a:cubicBezTo>
                  <a:cubicBezTo>
                    <a:pt x="68" y="85"/>
                    <a:pt x="69" y="82"/>
                    <a:pt x="70" y="80"/>
                  </a:cubicBezTo>
                  <a:cubicBezTo>
                    <a:pt x="70" y="80"/>
                    <a:pt x="73" y="74"/>
                    <a:pt x="74" y="74"/>
                  </a:cubicBezTo>
                  <a:moveTo>
                    <a:pt x="69" y="78"/>
                  </a:moveTo>
                  <a:cubicBezTo>
                    <a:pt x="67" y="79"/>
                    <a:pt x="66" y="82"/>
                    <a:pt x="66" y="84"/>
                  </a:cubicBezTo>
                  <a:cubicBezTo>
                    <a:pt x="67" y="84"/>
                    <a:pt x="67" y="85"/>
                    <a:pt x="67" y="86"/>
                  </a:cubicBezTo>
                  <a:cubicBezTo>
                    <a:pt x="67" y="86"/>
                    <a:pt x="65" y="91"/>
                    <a:pt x="64" y="91"/>
                  </a:cubicBezTo>
                  <a:cubicBezTo>
                    <a:pt x="63" y="91"/>
                    <a:pt x="62" y="91"/>
                    <a:pt x="63" y="89"/>
                  </a:cubicBezTo>
                  <a:cubicBezTo>
                    <a:pt x="64" y="81"/>
                    <a:pt x="63" y="80"/>
                    <a:pt x="65" y="76"/>
                  </a:cubicBezTo>
                  <a:cubicBezTo>
                    <a:pt x="67" y="73"/>
                    <a:pt x="68" y="72"/>
                    <a:pt x="70" y="73"/>
                  </a:cubicBezTo>
                  <a:cubicBezTo>
                    <a:pt x="73" y="74"/>
                    <a:pt x="71" y="74"/>
                    <a:pt x="69" y="78"/>
                  </a:cubicBezTo>
                  <a:moveTo>
                    <a:pt x="65" y="69"/>
                  </a:moveTo>
                  <a:cubicBezTo>
                    <a:pt x="65" y="70"/>
                    <a:pt x="65" y="70"/>
                    <a:pt x="64" y="70"/>
                  </a:cubicBezTo>
                  <a:cubicBezTo>
                    <a:pt x="64" y="69"/>
                    <a:pt x="63" y="69"/>
                    <a:pt x="64" y="68"/>
                  </a:cubicBezTo>
                  <a:cubicBezTo>
                    <a:pt x="64" y="68"/>
                    <a:pt x="64" y="68"/>
                    <a:pt x="65" y="68"/>
                  </a:cubicBezTo>
                  <a:cubicBezTo>
                    <a:pt x="65" y="68"/>
                    <a:pt x="65" y="69"/>
                    <a:pt x="65" y="69"/>
                  </a:cubicBezTo>
                  <a:moveTo>
                    <a:pt x="64" y="98"/>
                  </a:moveTo>
                  <a:cubicBezTo>
                    <a:pt x="64" y="97"/>
                    <a:pt x="64" y="96"/>
                    <a:pt x="64" y="95"/>
                  </a:cubicBezTo>
                  <a:cubicBezTo>
                    <a:pt x="65" y="94"/>
                    <a:pt x="66" y="92"/>
                    <a:pt x="67" y="93"/>
                  </a:cubicBezTo>
                  <a:cubicBezTo>
                    <a:pt x="68" y="93"/>
                    <a:pt x="68" y="96"/>
                    <a:pt x="68" y="97"/>
                  </a:cubicBezTo>
                  <a:cubicBezTo>
                    <a:pt x="68" y="99"/>
                    <a:pt x="67" y="99"/>
                    <a:pt x="64" y="100"/>
                  </a:cubicBezTo>
                  <a:cubicBezTo>
                    <a:pt x="63" y="100"/>
                    <a:pt x="63" y="100"/>
                    <a:pt x="62" y="100"/>
                  </a:cubicBezTo>
                  <a:cubicBezTo>
                    <a:pt x="62" y="100"/>
                    <a:pt x="63" y="99"/>
                    <a:pt x="64" y="98"/>
                  </a:cubicBezTo>
                  <a:moveTo>
                    <a:pt x="67" y="102"/>
                  </a:moveTo>
                  <a:cubicBezTo>
                    <a:pt x="68" y="101"/>
                    <a:pt x="69" y="101"/>
                    <a:pt x="69" y="101"/>
                  </a:cubicBezTo>
                  <a:cubicBezTo>
                    <a:pt x="69" y="101"/>
                    <a:pt x="70" y="104"/>
                    <a:pt x="69" y="104"/>
                  </a:cubicBezTo>
                  <a:cubicBezTo>
                    <a:pt x="69" y="105"/>
                    <a:pt x="69" y="105"/>
                    <a:pt x="69" y="106"/>
                  </a:cubicBezTo>
                  <a:cubicBezTo>
                    <a:pt x="68" y="107"/>
                    <a:pt x="64" y="109"/>
                    <a:pt x="64" y="109"/>
                  </a:cubicBezTo>
                  <a:cubicBezTo>
                    <a:pt x="63" y="109"/>
                    <a:pt x="63" y="108"/>
                    <a:pt x="63" y="107"/>
                  </a:cubicBezTo>
                  <a:cubicBezTo>
                    <a:pt x="62" y="105"/>
                    <a:pt x="65" y="103"/>
                    <a:pt x="67" y="102"/>
                  </a:cubicBezTo>
                  <a:moveTo>
                    <a:pt x="63" y="114"/>
                  </a:moveTo>
                  <a:cubicBezTo>
                    <a:pt x="63" y="114"/>
                    <a:pt x="63" y="114"/>
                    <a:pt x="64" y="113"/>
                  </a:cubicBezTo>
                  <a:cubicBezTo>
                    <a:pt x="64" y="113"/>
                    <a:pt x="67" y="111"/>
                    <a:pt x="68" y="111"/>
                  </a:cubicBezTo>
                  <a:cubicBezTo>
                    <a:pt x="69" y="111"/>
                    <a:pt x="69" y="111"/>
                    <a:pt x="69" y="112"/>
                  </a:cubicBezTo>
                  <a:cubicBezTo>
                    <a:pt x="69" y="113"/>
                    <a:pt x="65" y="116"/>
                    <a:pt x="64" y="116"/>
                  </a:cubicBezTo>
                  <a:cubicBezTo>
                    <a:pt x="64" y="116"/>
                    <a:pt x="63" y="116"/>
                    <a:pt x="63" y="114"/>
                  </a:cubicBezTo>
                  <a:moveTo>
                    <a:pt x="64" y="120"/>
                  </a:moveTo>
                  <a:cubicBezTo>
                    <a:pt x="65" y="119"/>
                    <a:pt x="69" y="116"/>
                    <a:pt x="70" y="116"/>
                  </a:cubicBezTo>
                  <a:cubicBezTo>
                    <a:pt x="71" y="117"/>
                    <a:pt x="70" y="119"/>
                    <a:pt x="70" y="120"/>
                  </a:cubicBezTo>
                  <a:cubicBezTo>
                    <a:pt x="69" y="121"/>
                    <a:pt x="67" y="123"/>
                    <a:pt x="66" y="123"/>
                  </a:cubicBezTo>
                  <a:cubicBezTo>
                    <a:pt x="65" y="123"/>
                    <a:pt x="65" y="123"/>
                    <a:pt x="64" y="121"/>
                  </a:cubicBezTo>
                  <a:cubicBezTo>
                    <a:pt x="64" y="121"/>
                    <a:pt x="64" y="120"/>
                    <a:pt x="64" y="120"/>
                  </a:cubicBezTo>
                  <a:moveTo>
                    <a:pt x="70" y="93"/>
                  </a:moveTo>
                  <a:cubicBezTo>
                    <a:pt x="69" y="93"/>
                    <a:pt x="70" y="90"/>
                    <a:pt x="70" y="89"/>
                  </a:cubicBezTo>
                  <a:cubicBezTo>
                    <a:pt x="72" y="87"/>
                    <a:pt x="79" y="80"/>
                    <a:pt x="79" y="80"/>
                  </a:cubicBezTo>
                  <a:cubicBezTo>
                    <a:pt x="79" y="80"/>
                    <a:pt x="80" y="80"/>
                    <a:pt x="80" y="80"/>
                  </a:cubicBezTo>
                  <a:cubicBezTo>
                    <a:pt x="81" y="81"/>
                    <a:pt x="84" y="82"/>
                    <a:pt x="84" y="82"/>
                  </a:cubicBezTo>
                  <a:cubicBezTo>
                    <a:pt x="84" y="83"/>
                    <a:pt x="85" y="85"/>
                    <a:pt x="86" y="86"/>
                  </a:cubicBezTo>
                  <a:cubicBezTo>
                    <a:pt x="86" y="86"/>
                    <a:pt x="86" y="87"/>
                    <a:pt x="86" y="87"/>
                  </a:cubicBezTo>
                  <a:cubicBezTo>
                    <a:pt x="87" y="87"/>
                    <a:pt x="89" y="88"/>
                    <a:pt x="89" y="88"/>
                  </a:cubicBezTo>
                  <a:cubicBezTo>
                    <a:pt x="90" y="88"/>
                    <a:pt x="89" y="90"/>
                    <a:pt x="89" y="91"/>
                  </a:cubicBezTo>
                  <a:cubicBezTo>
                    <a:pt x="88" y="91"/>
                    <a:pt x="86" y="90"/>
                    <a:pt x="86" y="90"/>
                  </a:cubicBezTo>
                  <a:cubicBezTo>
                    <a:pt x="83" y="88"/>
                    <a:pt x="83" y="86"/>
                    <a:pt x="79" y="85"/>
                  </a:cubicBezTo>
                  <a:cubicBezTo>
                    <a:pt x="77" y="85"/>
                    <a:pt x="77" y="86"/>
                    <a:pt x="75" y="88"/>
                  </a:cubicBezTo>
                  <a:cubicBezTo>
                    <a:pt x="75" y="89"/>
                    <a:pt x="72" y="91"/>
                    <a:pt x="72" y="91"/>
                  </a:cubicBezTo>
                  <a:cubicBezTo>
                    <a:pt x="72" y="92"/>
                    <a:pt x="71" y="94"/>
                    <a:pt x="70" y="93"/>
                  </a:cubicBezTo>
                  <a:moveTo>
                    <a:pt x="89" y="99"/>
                  </a:moveTo>
                  <a:cubicBezTo>
                    <a:pt x="89" y="99"/>
                    <a:pt x="88" y="100"/>
                    <a:pt x="88" y="100"/>
                  </a:cubicBezTo>
                  <a:cubicBezTo>
                    <a:pt x="87" y="99"/>
                    <a:pt x="86" y="97"/>
                    <a:pt x="86" y="96"/>
                  </a:cubicBezTo>
                  <a:cubicBezTo>
                    <a:pt x="86" y="96"/>
                    <a:pt x="85" y="95"/>
                    <a:pt x="84" y="95"/>
                  </a:cubicBezTo>
                  <a:cubicBezTo>
                    <a:pt x="82" y="94"/>
                    <a:pt x="82" y="95"/>
                    <a:pt x="81" y="93"/>
                  </a:cubicBezTo>
                  <a:cubicBezTo>
                    <a:pt x="81" y="93"/>
                    <a:pt x="79" y="89"/>
                    <a:pt x="80" y="89"/>
                  </a:cubicBezTo>
                  <a:cubicBezTo>
                    <a:pt x="80" y="88"/>
                    <a:pt x="83" y="91"/>
                    <a:pt x="83" y="91"/>
                  </a:cubicBezTo>
                  <a:cubicBezTo>
                    <a:pt x="84" y="92"/>
                    <a:pt x="85" y="92"/>
                    <a:pt x="86" y="92"/>
                  </a:cubicBezTo>
                  <a:cubicBezTo>
                    <a:pt x="87" y="92"/>
                    <a:pt x="88" y="94"/>
                    <a:pt x="89" y="95"/>
                  </a:cubicBezTo>
                  <a:cubicBezTo>
                    <a:pt x="90" y="96"/>
                    <a:pt x="90" y="97"/>
                    <a:pt x="89" y="99"/>
                  </a:cubicBezTo>
                  <a:moveTo>
                    <a:pt x="89" y="86"/>
                  </a:moveTo>
                  <a:cubicBezTo>
                    <a:pt x="87" y="86"/>
                    <a:pt x="87" y="83"/>
                    <a:pt x="86" y="82"/>
                  </a:cubicBezTo>
                  <a:cubicBezTo>
                    <a:pt x="86" y="81"/>
                    <a:pt x="81" y="78"/>
                    <a:pt x="81" y="77"/>
                  </a:cubicBezTo>
                  <a:cubicBezTo>
                    <a:pt x="81" y="76"/>
                    <a:pt x="81" y="74"/>
                    <a:pt x="83" y="74"/>
                  </a:cubicBezTo>
                  <a:cubicBezTo>
                    <a:pt x="84" y="74"/>
                    <a:pt x="89" y="81"/>
                    <a:pt x="90" y="82"/>
                  </a:cubicBezTo>
                  <a:cubicBezTo>
                    <a:pt x="90" y="82"/>
                    <a:pt x="90" y="85"/>
                    <a:pt x="89" y="86"/>
                  </a:cubicBezTo>
                  <a:moveTo>
                    <a:pt x="87" y="65"/>
                  </a:moveTo>
                  <a:cubicBezTo>
                    <a:pt x="88" y="65"/>
                    <a:pt x="90" y="63"/>
                    <a:pt x="91" y="63"/>
                  </a:cubicBezTo>
                  <a:cubicBezTo>
                    <a:pt x="92" y="62"/>
                    <a:pt x="92" y="63"/>
                    <a:pt x="92" y="63"/>
                  </a:cubicBezTo>
                  <a:cubicBezTo>
                    <a:pt x="93" y="65"/>
                    <a:pt x="92" y="70"/>
                    <a:pt x="89" y="71"/>
                  </a:cubicBezTo>
                  <a:cubicBezTo>
                    <a:pt x="89" y="71"/>
                    <a:pt x="89" y="71"/>
                    <a:pt x="88" y="71"/>
                  </a:cubicBezTo>
                  <a:cubicBezTo>
                    <a:pt x="87" y="71"/>
                    <a:pt x="87" y="66"/>
                    <a:pt x="87" y="65"/>
                  </a:cubicBezTo>
                  <a:moveTo>
                    <a:pt x="89" y="75"/>
                  </a:moveTo>
                  <a:cubicBezTo>
                    <a:pt x="89" y="75"/>
                    <a:pt x="90" y="75"/>
                    <a:pt x="90" y="75"/>
                  </a:cubicBezTo>
                  <a:cubicBezTo>
                    <a:pt x="91" y="74"/>
                    <a:pt x="92" y="76"/>
                    <a:pt x="93" y="77"/>
                  </a:cubicBezTo>
                  <a:cubicBezTo>
                    <a:pt x="94" y="77"/>
                    <a:pt x="95" y="77"/>
                    <a:pt x="95" y="78"/>
                  </a:cubicBezTo>
                  <a:cubicBezTo>
                    <a:pt x="96" y="78"/>
                    <a:pt x="96" y="79"/>
                    <a:pt x="96" y="80"/>
                  </a:cubicBezTo>
                  <a:cubicBezTo>
                    <a:pt x="95" y="81"/>
                    <a:pt x="94" y="80"/>
                    <a:pt x="93" y="79"/>
                  </a:cubicBezTo>
                  <a:cubicBezTo>
                    <a:pt x="92" y="79"/>
                    <a:pt x="91" y="79"/>
                    <a:pt x="90" y="79"/>
                  </a:cubicBezTo>
                  <a:cubicBezTo>
                    <a:pt x="90" y="78"/>
                    <a:pt x="89" y="76"/>
                    <a:pt x="89" y="75"/>
                  </a:cubicBezTo>
                  <a:moveTo>
                    <a:pt x="99" y="105"/>
                  </a:moveTo>
                  <a:cubicBezTo>
                    <a:pt x="100" y="105"/>
                    <a:pt x="100" y="106"/>
                    <a:pt x="101" y="107"/>
                  </a:cubicBezTo>
                  <a:cubicBezTo>
                    <a:pt x="102" y="108"/>
                    <a:pt x="102" y="110"/>
                    <a:pt x="101" y="110"/>
                  </a:cubicBezTo>
                  <a:cubicBezTo>
                    <a:pt x="99" y="111"/>
                    <a:pt x="98" y="108"/>
                    <a:pt x="98" y="106"/>
                  </a:cubicBezTo>
                  <a:cubicBezTo>
                    <a:pt x="98" y="106"/>
                    <a:pt x="99" y="106"/>
                    <a:pt x="99" y="105"/>
                  </a:cubicBezTo>
                  <a:moveTo>
                    <a:pt x="97" y="89"/>
                  </a:moveTo>
                  <a:cubicBezTo>
                    <a:pt x="95" y="90"/>
                    <a:pt x="96" y="88"/>
                    <a:pt x="94" y="87"/>
                  </a:cubicBezTo>
                  <a:cubicBezTo>
                    <a:pt x="93" y="86"/>
                    <a:pt x="91" y="86"/>
                    <a:pt x="91" y="84"/>
                  </a:cubicBezTo>
                  <a:cubicBezTo>
                    <a:pt x="92" y="83"/>
                    <a:pt x="92" y="82"/>
                    <a:pt x="93" y="82"/>
                  </a:cubicBezTo>
                  <a:cubicBezTo>
                    <a:pt x="95" y="82"/>
                    <a:pt x="97" y="86"/>
                    <a:pt x="98" y="87"/>
                  </a:cubicBezTo>
                  <a:cubicBezTo>
                    <a:pt x="98" y="88"/>
                    <a:pt x="98" y="88"/>
                    <a:pt x="97" y="89"/>
                  </a:cubicBezTo>
                  <a:moveTo>
                    <a:pt x="99" y="98"/>
                  </a:moveTo>
                  <a:cubicBezTo>
                    <a:pt x="98" y="97"/>
                    <a:pt x="98" y="96"/>
                    <a:pt x="99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1" y="96"/>
                    <a:pt x="101" y="97"/>
                    <a:pt x="101" y="98"/>
                  </a:cubicBezTo>
                  <a:cubicBezTo>
                    <a:pt x="102" y="100"/>
                    <a:pt x="103" y="103"/>
                    <a:pt x="102" y="104"/>
                  </a:cubicBezTo>
                  <a:cubicBezTo>
                    <a:pt x="101" y="105"/>
                    <a:pt x="99" y="100"/>
                    <a:pt x="99" y="98"/>
                  </a:cubicBezTo>
                  <a:moveTo>
                    <a:pt x="102" y="95"/>
                  </a:moveTo>
                  <a:cubicBezTo>
                    <a:pt x="102" y="95"/>
                    <a:pt x="99" y="92"/>
                    <a:pt x="98" y="92"/>
                  </a:cubicBezTo>
                  <a:cubicBezTo>
                    <a:pt x="98" y="92"/>
                    <a:pt x="98" y="92"/>
                    <a:pt x="98" y="92"/>
                  </a:cubicBezTo>
                  <a:cubicBezTo>
                    <a:pt x="100" y="90"/>
                    <a:pt x="102" y="90"/>
                    <a:pt x="103" y="92"/>
                  </a:cubicBezTo>
                  <a:cubicBezTo>
                    <a:pt x="103" y="92"/>
                    <a:pt x="103" y="94"/>
                    <a:pt x="103" y="94"/>
                  </a:cubicBezTo>
                  <a:cubicBezTo>
                    <a:pt x="103" y="95"/>
                    <a:pt x="103" y="95"/>
                    <a:pt x="102" y="95"/>
                  </a:cubicBezTo>
                  <a:moveTo>
                    <a:pt x="101" y="88"/>
                  </a:moveTo>
                  <a:cubicBezTo>
                    <a:pt x="100" y="88"/>
                    <a:pt x="99" y="85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9" y="84"/>
                    <a:pt x="99" y="84"/>
                  </a:cubicBezTo>
                  <a:cubicBezTo>
                    <a:pt x="100" y="83"/>
                    <a:pt x="101" y="83"/>
                    <a:pt x="101" y="83"/>
                  </a:cubicBezTo>
                  <a:cubicBezTo>
                    <a:pt x="102" y="83"/>
                    <a:pt x="103" y="84"/>
                    <a:pt x="103" y="85"/>
                  </a:cubicBezTo>
                  <a:cubicBezTo>
                    <a:pt x="103" y="86"/>
                    <a:pt x="103" y="88"/>
                    <a:pt x="101" y="88"/>
                  </a:cubicBezTo>
                  <a:moveTo>
                    <a:pt x="101" y="81"/>
                  </a:moveTo>
                  <a:cubicBezTo>
                    <a:pt x="99" y="81"/>
                    <a:pt x="99" y="82"/>
                    <a:pt x="98" y="80"/>
                  </a:cubicBezTo>
                  <a:cubicBezTo>
                    <a:pt x="98" y="79"/>
                    <a:pt x="97" y="79"/>
                    <a:pt x="97" y="77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7"/>
                    <a:pt x="97" y="76"/>
                    <a:pt x="97" y="76"/>
                  </a:cubicBezTo>
                  <a:cubicBezTo>
                    <a:pt x="98" y="76"/>
                    <a:pt x="99" y="76"/>
                    <a:pt x="99" y="76"/>
                  </a:cubicBezTo>
                  <a:cubicBezTo>
                    <a:pt x="100" y="77"/>
                    <a:pt x="100" y="78"/>
                    <a:pt x="101" y="79"/>
                  </a:cubicBezTo>
                  <a:cubicBezTo>
                    <a:pt x="101" y="80"/>
                    <a:pt x="101" y="80"/>
                    <a:pt x="101" y="81"/>
                  </a:cubicBezTo>
                  <a:moveTo>
                    <a:pt x="96" y="75"/>
                  </a:moveTo>
                  <a:cubicBezTo>
                    <a:pt x="96" y="75"/>
                    <a:pt x="95" y="76"/>
                    <a:pt x="94" y="75"/>
                  </a:cubicBezTo>
                  <a:cubicBezTo>
                    <a:pt x="92" y="74"/>
                    <a:pt x="93" y="72"/>
                    <a:pt x="94" y="71"/>
                  </a:cubicBezTo>
                  <a:cubicBezTo>
                    <a:pt x="95" y="71"/>
                    <a:pt x="95" y="71"/>
                    <a:pt x="96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8" y="72"/>
                    <a:pt x="97" y="74"/>
                    <a:pt x="96" y="75"/>
                  </a:cubicBezTo>
                  <a:moveTo>
                    <a:pt x="91" y="88"/>
                  </a:moveTo>
                  <a:cubicBezTo>
                    <a:pt x="91" y="88"/>
                    <a:pt x="91" y="88"/>
                    <a:pt x="92" y="88"/>
                  </a:cubicBezTo>
                  <a:cubicBezTo>
                    <a:pt x="92" y="88"/>
                    <a:pt x="92" y="88"/>
                    <a:pt x="93" y="88"/>
                  </a:cubicBezTo>
                  <a:cubicBezTo>
                    <a:pt x="94" y="89"/>
                    <a:pt x="93" y="89"/>
                    <a:pt x="94" y="91"/>
                  </a:cubicBezTo>
                  <a:cubicBezTo>
                    <a:pt x="94" y="92"/>
                    <a:pt x="95" y="92"/>
                    <a:pt x="96" y="93"/>
                  </a:cubicBezTo>
                  <a:cubicBezTo>
                    <a:pt x="96" y="93"/>
                    <a:pt x="97" y="95"/>
                    <a:pt x="96" y="95"/>
                  </a:cubicBezTo>
                  <a:cubicBezTo>
                    <a:pt x="96" y="96"/>
                    <a:pt x="95" y="94"/>
                    <a:pt x="94" y="93"/>
                  </a:cubicBezTo>
                  <a:cubicBezTo>
                    <a:pt x="93" y="93"/>
                    <a:pt x="92" y="92"/>
                    <a:pt x="91" y="91"/>
                  </a:cubicBezTo>
                  <a:cubicBezTo>
                    <a:pt x="91" y="91"/>
                    <a:pt x="90" y="89"/>
                    <a:pt x="91" y="88"/>
                  </a:cubicBezTo>
                  <a:moveTo>
                    <a:pt x="97" y="114"/>
                  </a:moveTo>
                  <a:cubicBezTo>
                    <a:pt x="97" y="114"/>
                    <a:pt x="97" y="113"/>
                    <a:pt x="97" y="113"/>
                  </a:cubicBezTo>
                  <a:cubicBezTo>
                    <a:pt x="98" y="111"/>
                    <a:pt x="99" y="112"/>
                    <a:pt x="100" y="113"/>
                  </a:cubicBezTo>
                  <a:cubicBezTo>
                    <a:pt x="102" y="116"/>
                    <a:pt x="102" y="117"/>
                    <a:pt x="100" y="119"/>
                  </a:cubicBezTo>
                  <a:cubicBezTo>
                    <a:pt x="99" y="120"/>
                    <a:pt x="99" y="120"/>
                    <a:pt x="98" y="120"/>
                  </a:cubicBezTo>
                  <a:cubicBezTo>
                    <a:pt x="97" y="118"/>
                    <a:pt x="97" y="116"/>
                    <a:pt x="97" y="114"/>
                  </a:cubicBezTo>
                  <a:moveTo>
                    <a:pt x="102" y="138"/>
                  </a:moveTo>
                  <a:cubicBezTo>
                    <a:pt x="102" y="137"/>
                    <a:pt x="102" y="136"/>
                    <a:pt x="102" y="135"/>
                  </a:cubicBezTo>
                  <a:cubicBezTo>
                    <a:pt x="102" y="134"/>
                    <a:pt x="103" y="132"/>
                    <a:pt x="103" y="130"/>
                  </a:cubicBezTo>
                  <a:cubicBezTo>
                    <a:pt x="103" y="129"/>
                    <a:pt x="101" y="122"/>
                    <a:pt x="102" y="122"/>
                  </a:cubicBezTo>
                  <a:cubicBezTo>
                    <a:pt x="103" y="122"/>
                    <a:pt x="103" y="123"/>
                    <a:pt x="103" y="124"/>
                  </a:cubicBezTo>
                  <a:cubicBezTo>
                    <a:pt x="104" y="132"/>
                    <a:pt x="103" y="148"/>
                    <a:pt x="101" y="155"/>
                  </a:cubicBezTo>
                  <a:cubicBezTo>
                    <a:pt x="100" y="157"/>
                    <a:pt x="100" y="159"/>
                    <a:pt x="99" y="157"/>
                  </a:cubicBezTo>
                  <a:cubicBezTo>
                    <a:pt x="98" y="155"/>
                    <a:pt x="98" y="154"/>
                    <a:pt x="98" y="154"/>
                  </a:cubicBezTo>
                  <a:cubicBezTo>
                    <a:pt x="99" y="149"/>
                    <a:pt x="102" y="140"/>
                    <a:pt x="102" y="138"/>
                  </a:cubicBezTo>
                  <a:moveTo>
                    <a:pt x="104" y="77"/>
                  </a:moveTo>
                  <a:cubicBezTo>
                    <a:pt x="103" y="77"/>
                    <a:pt x="103" y="78"/>
                    <a:pt x="102" y="77"/>
                  </a:cubicBezTo>
                  <a:cubicBezTo>
                    <a:pt x="102" y="77"/>
                    <a:pt x="101" y="75"/>
                    <a:pt x="101" y="74"/>
                  </a:cubicBezTo>
                  <a:cubicBezTo>
                    <a:pt x="101" y="74"/>
                    <a:pt x="101" y="74"/>
                    <a:pt x="102" y="74"/>
                  </a:cubicBezTo>
                  <a:cubicBezTo>
                    <a:pt x="102" y="74"/>
                    <a:pt x="103" y="74"/>
                    <a:pt x="103" y="74"/>
                  </a:cubicBezTo>
                  <a:cubicBezTo>
                    <a:pt x="103" y="75"/>
                    <a:pt x="104" y="76"/>
                    <a:pt x="104" y="77"/>
                  </a:cubicBezTo>
                  <a:moveTo>
                    <a:pt x="100" y="71"/>
                  </a:moveTo>
                  <a:cubicBezTo>
                    <a:pt x="100" y="71"/>
                    <a:pt x="99" y="70"/>
                    <a:pt x="99" y="70"/>
                  </a:cubicBezTo>
                  <a:cubicBezTo>
                    <a:pt x="99" y="69"/>
                    <a:pt x="99" y="69"/>
                    <a:pt x="100" y="69"/>
                  </a:cubicBezTo>
                  <a:cubicBezTo>
                    <a:pt x="100" y="69"/>
                    <a:pt x="102" y="69"/>
                    <a:pt x="102" y="70"/>
                  </a:cubicBezTo>
                  <a:cubicBezTo>
                    <a:pt x="102" y="71"/>
                    <a:pt x="101" y="71"/>
                    <a:pt x="100" y="71"/>
                  </a:cubicBezTo>
                  <a:moveTo>
                    <a:pt x="99" y="61"/>
                  </a:moveTo>
                  <a:cubicBezTo>
                    <a:pt x="98" y="62"/>
                    <a:pt x="97" y="63"/>
                    <a:pt x="96" y="64"/>
                  </a:cubicBezTo>
                  <a:cubicBezTo>
                    <a:pt x="96" y="65"/>
                    <a:pt x="95" y="65"/>
                    <a:pt x="95" y="65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5" y="65"/>
                    <a:pt x="93" y="62"/>
                    <a:pt x="93" y="61"/>
                  </a:cubicBezTo>
                  <a:cubicBezTo>
                    <a:pt x="92" y="60"/>
                    <a:pt x="92" y="59"/>
                    <a:pt x="95" y="58"/>
                  </a:cubicBezTo>
                  <a:cubicBezTo>
                    <a:pt x="95" y="57"/>
                    <a:pt x="96" y="57"/>
                    <a:pt x="97" y="58"/>
                  </a:cubicBezTo>
                  <a:cubicBezTo>
                    <a:pt x="98" y="59"/>
                    <a:pt x="97" y="57"/>
                    <a:pt x="98" y="56"/>
                  </a:cubicBezTo>
                  <a:cubicBezTo>
                    <a:pt x="98" y="55"/>
                    <a:pt x="98" y="54"/>
                    <a:pt x="99" y="54"/>
                  </a:cubicBezTo>
                  <a:cubicBezTo>
                    <a:pt x="100" y="54"/>
                    <a:pt x="100" y="55"/>
                    <a:pt x="100" y="56"/>
                  </a:cubicBezTo>
                  <a:cubicBezTo>
                    <a:pt x="101" y="57"/>
                    <a:pt x="100" y="60"/>
                    <a:pt x="99" y="61"/>
                  </a:cubicBezTo>
                  <a:moveTo>
                    <a:pt x="70" y="65"/>
                  </a:moveTo>
                  <a:cubicBezTo>
                    <a:pt x="71" y="66"/>
                    <a:pt x="71" y="66"/>
                    <a:pt x="71" y="69"/>
                  </a:cubicBezTo>
                  <a:cubicBezTo>
                    <a:pt x="71" y="71"/>
                    <a:pt x="70" y="72"/>
                    <a:pt x="70" y="71"/>
                  </a:cubicBezTo>
                  <a:cubicBezTo>
                    <a:pt x="69" y="71"/>
                    <a:pt x="68" y="71"/>
                    <a:pt x="68" y="70"/>
                  </a:cubicBezTo>
                  <a:cubicBezTo>
                    <a:pt x="67" y="69"/>
                    <a:pt x="66" y="68"/>
                    <a:pt x="66" y="67"/>
                  </a:cubicBezTo>
                  <a:cubicBezTo>
                    <a:pt x="65" y="66"/>
                    <a:pt x="64" y="66"/>
                    <a:pt x="63" y="65"/>
                  </a:cubicBezTo>
                  <a:cubicBezTo>
                    <a:pt x="63" y="64"/>
                    <a:pt x="63" y="64"/>
                    <a:pt x="64" y="63"/>
                  </a:cubicBezTo>
                  <a:cubicBezTo>
                    <a:pt x="65" y="62"/>
                    <a:pt x="67" y="63"/>
                    <a:pt x="70" y="65"/>
                  </a:cubicBezTo>
                  <a:moveTo>
                    <a:pt x="65" y="61"/>
                  </a:moveTo>
                  <a:cubicBezTo>
                    <a:pt x="65" y="61"/>
                    <a:pt x="63" y="62"/>
                    <a:pt x="63" y="62"/>
                  </a:cubicBezTo>
                  <a:cubicBezTo>
                    <a:pt x="62" y="63"/>
                    <a:pt x="62" y="64"/>
                    <a:pt x="62" y="65"/>
                  </a:cubicBezTo>
                  <a:cubicBezTo>
                    <a:pt x="62" y="66"/>
                    <a:pt x="61" y="66"/>
                    <a:pt x="61" y="66"/>
                  </a:cubicBezTo>
                  <a:cubicBezTo>
                    <a:pt x="60" y="66"/>
                    <a:pt x="58" y="64"/>
                    <a:pt x="58" y="64"/>
                  </a:cubicBezTo>
                  <a:cubicBezTo>
                    <a:pt x="58" y="63"/>
                    <a:pt x="58" y="61"/>
                    <a:pt x="58" y="60"/>
                  </a:cubicBezTo>
                  <a:cubicBezTo>
                    <a:pt x="57" y="59"/>
                    <a:pt x="54" y="59"/>
                    <a:pt x="55" y="58"/>
                  </a:cubicBezTo>
                  <a:cubicBezTo>
                    <a:pt x="56" y="57"/>
                    <a:pt x="56" y="58"/>
                    <a:pt x="58" y="58"/>
                  </a:cubicBezTo>
                  <a:cubicBezTo>
                    <a:pt x="58" y="58"/>
                    <a:pt x="59" y="58"/>
                    <a:pt x="60" y="57"/>
                  </a:cubicBezTo>
                  <a:cubicBezTo>
                    <a:pt x="60" y="57"/>
                    <a:pt x="61" y="57"/>
                    <a:pt x="61" y="57"/>
                  </a:cubicBezTo>
                  <a:cubicBezTo>
                    <a:pt x="61" y="57"/>
                    <a:pt x="64" y="60"/>
                    <a:pt x="65" y="60"/>
                  </a:cubicBezTo>
                  <a:cubicBezTo>
                    <a:pt x="65" y="61"/>
                    <a:pt x="65" y="61"/>
                    <a:pt x="65" y="61"/>
                  </a:cubicBezTo>
                  <a:moveTo>
                    <a:pt x="60" y="54"/>
                  </a:moveTo>
                  <a:cubicBezTo>
                    <a:pt x="59" y="54"/>
                    <a:pt x="59" y="54"/>
                    <a:pt x="59" y="55"/>
                  </a:cubicBezTo>
                  <a:cubicBezTo>
                    <a:pt x="59" y="55"/>
                    <a:pt x="58" y="56"/>
                    <a:pt x="57" y="55"/>
                  </a:cubicBezTo>
                  <a:cubicBezTo>
                    <a:pt x="56" y="55"/>
                    <a:pt x="55" y="53"/>
                    <a:pt x="54" y="52"/>
                  </a:cubicBezTo>
                  <a:cubicBezTo>
                    <a:pt x="53" y="51"/>
                    <a:pt x="53" y="50"/>
                    <a:pt x="54" y="49"/>
                  </a:cubicBezTo>
                  <a:cubicBezTo>
                    <a:pt x="54" y="48"/>
                    <a:pt x="57" y="47"/>
                    <a:pt x="58" y="47"/>
                  </a:cubicBezTo>
                  <a:cubicBezTo>
                    <a:pt x="59" y="47"/>
                    <a:pt x="59" y="47"/>
                    <a:pt x="59" y="48"/>
                  </a:cubicBezTo>
                  <a:cubicBezTo>
                    <a:pt x="60" y="48"/>
                    <a:pt x="60" y="53"/>
                    <a:pt x="60" y="54"/>
                  </a:cubicBezTo>
                  <a:moveTo>
                    <a:pt x="54" y="75"/>
                  </a:moveTo>
                  <a:cubicBezTo>
                    <a:pt x="54" y="77"/>
                    <a:pt x="52" y="78"/>
                    <a:pt x="51" y="77"/>
                  </a:cubicBezTo>
                  <a:cubicBezTo>
                    <a:pt x="50" y="77"/>
                    <a:pt x="50" y="75"/>
                    <a:pt x="50" y="75"/>
                  </a:cubicBezTo>
                  <a:cubicBezTo>
                    <a:pt x="50" y="74"/>
                    <a:pt x="51" y="73"/>
                    <a:pt x="51" y="73"/>
                  </a:cubicBezTo>
                  <a:cubicBezTo>
                    <a:pt x="53" y="73"/>
                    <a:pt x="54" y="74"/>
                    <a:pt x="54" y="75"/>
                  </a:cubicBezTo>
                  <a:moveTo>
                    <a:pt x="50" y="72"/>
                  </a:moveTo>
                  <a:cubicBezTo>
                    <a:pt x="50" y="73"/>
                    <a:pt x="49" y="73"/>
                    <a:pt x="48" y="72"/>
                  </a:cubicBezTo>
                  <a:cubicBezTo>
                    <a:pt x="46" y="71"/>
                    <a:pt x="46" y="70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8" y="67"/>
                    <a:pt x="51" y="68"/>
                    <a:pt x="51" y="69"/>
                  </a:cubicBezTo>
                  <a:cubicBezTo>
                    <a:pt x="52" y="69"/>
                    <a:pt x="51" y="71"/>
                    <a:pt x="50" y="72"/>
                  </a:cubicBezTo>
                  <a:moveTo>
                    <a:pt x="48" y="75"/>
                  </a:moveTo>
                  <a:cubicBezTo>
                    <a:pt x="49" y="76"/>
                    <a:pt x="49" y="79"/>
                    <a:pt x="47" y="79"/>
                  </a:cubicBezTo>
                  <a:cubicBezTo>
                    <a:pt x="45" y="80"/>
                    <a:pt x="46" y="78"/>
                    <a:pt x="46" y="77"/>
                  </a:cubicBezTo>
                  <a:cubicBezTo>
                    <a:pt x="46" y="77"/>
                    <a:pt x="45" y="75"/>
                    <a:pt x="45" y="74"/>
                  </a:cubicBezTo>
                  <a:cubicBezTo>
                    <a:pt x="44" y="73"/>
                    <a:pt x="45" y="73"/>
                    <a:pt x="45" y="73"/>
                  </a:cubicBezTo>
                  <a:cubicBezTo>
                    <a:pt x="45" y="73"/>
                    <a:pt x="45" y="73"/>
                    <a:pt x="46" y="73"/>
                  </a:cubicBezTo>
                  <a:cubicBezTo>
                    <a:pt x="46" y="73"/>
                    <a:pt x="47" y="74"/>
                    <a:pt x="48" y="75"/>
                  </a:cubicBezTo>
                  <a:moveTo>
                    <a:pt x="41" y="104"/>
                  </a:moveTo>
                  <a:cubicBezTo>
                    <a:pt x="43" y="103"/>
                    <a:pt x="44" y="104"/>
                    <a:pt x="44" y="105"/>
                  </a:cubicBezTo>
                  <a:cubicBezTo>
                    <a:pt x="44" y="106"/>
                    <a:pt x="43" y="107"/>
                    <a:pt x="42" y="107"/>
                  </a:cubicBezTo>
                  <a:cubicBezTo>
                    <a:pt x="42" y="107"/>
                    <a:pt x="42" y="107"/>
                    <a:pt x="41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4"/>
                    <a:pt x="40" y="104"/>
                    <a:pt x="41" y="104"/>
                  </a:cubicBezTo>
                  <a:moveTo>
                    <a:pt x="40" y="96"/>
                  </a:moveTo>
                  <a:cubicBezTo>
                    <a:pt x="40" y="96"/>
                    <a:pt x="39" y="94"/>
                    <a:pt x="40" y="94"/>
                  </a:cubicBezTo>
                  <a:cubicBezTo>
                    <a:pt x="40" y="94"/>
                    <a:pt x="41" y="94"/>
                    <a:pt x="41" y="94"/>
                  </a:cubicBezTo>
                  <a:cubicBezTo>
                    <a:pt x="42" y="94"/>
                    <a:pt x="43" y="96"/>
                    <a:pt x="42" y="97"/>
                  </a:cubicBezTo>
                  <a:cubicBezTo>
                    <a:pt x="42" y="97"/>
                    <a:pt x="42" y="98"/>
                    <a:pt x="41" y="98"/>
                  </a:cubicBezTo>
                  <a:cubicBezTo>
                    <a:pt x="41" y="98"/>
                    <a:pt x="40" y="97"/>
                    <a:pt x="40" y="96"/>
                  </a:cubicBezTo>
                  <a:moveTo>
                    <a:pt x="41" y="88"/>
                  </a:moveTo>
                  <a:cubicBezTo>
                    <a:pt x="41" y="87"/>
                    <a:pt x="41" y="87"/>
                    <a:pt x="42" y="87"/>
                  </a:cubicBezTo>
                  <a:cubicBezTo>
                    <a:pt x="42" y="86"/>
                    <a:pt x="45" y="88"/>
                    <a:pt x="46" y="89"/>
                  </a:cubicBezTo>
                  <a:cubicBezTo>
                    <a:pt x="46" y="89"/>
                    <a:pt x="46" y="89"/>
                    <a:pt x="46" y="90"/>
                  </a:cubicBezTo>
                  <a:cubicBezTo>
                    <a:pt x="46" y="91"/>
                    <a:pt x="45" y="91"/>
                    <a:pt x="45" y="91"/>
                  </a:cubicBezTo>
                  <a:cubicBezTo>
                    <a:pt x="44" y="91"/>
                    <a:pt x="42" y="88"/>
                    <a:pt x="41" y="88"/>
                  </a:cubicBezTo>
                  <a:moveTo>
                    <a:pt x="37" y="69"/>
                  </a:moveTo>
                  <a:cubicBezTo>
                    <a:pt x="39" y="70"/>
                    <a:pt x="42" y="71"/>
                    <a:pt x="42" y="71"/>
                  </a:cubicBezTo>
                  <a:cubicBezTo>
                    <a:pt x="42" y="71"/>
                    <a:pt x="43" y="74"/>
                    <a:pt x="43" y="75"/>
                  </a:cubicBezTo>
                  <a:cubicBezTo>
                    <a:pt x="43" y="75"/>
                    <a:pt x="42" y="75"/>
                    <a:pt x="42" y="76"/>
                  </a:cubicBezTo>
                  <a:cubicBezTo>
                    <a:pt x="42" y="76"/>
                    <a:pt x="42" y="77"/>
                    <a:pt x="41" y="76"/>
                  </a:cubicBezTo>
                  <a:cubicBezTo>
                    <a:pt x="41" y="76"/>
                    <a:pt x="41" y="75"/>
                    <a:pt x="40" y="74"/>
                  </a:cubicBezTo>
                  <a:cubicBezTo>
                    <a:pt x="39" y="73"/>
                    <a:pt x="38" y="72"/>
                    <a:pt x="37" y="71"/>
                  </a:cubicBezTo>
                  <a:cubicBezTo>
                    <a:pt x="37" y="71"/>
                    <a:pt x="35" y="68"/>
                    <a:pt x="36" y="67"/>
                  </a:cubicBezTo>
                  <a:cubicBezTo>
                    <a:pt x="36" y="67"/>
                    <a:pt x="37" y="68"/>
                    <a:pt x="37" y="69"/>
                  </a:cubicBezTo>
                  <a:moveTo>
                    <a:pt x="37" y="63"/>
                  </a:moveTo>
                  <a:cubicBezTo>
                    <a:pt x="37" y="63"/>
                    <a:pt x="37" y="63"/>
                    <a:pt x="38" y="63"/>
                  </a:cubicBezTo>
                  <a:cubicBezTo>
                    <a:pt x="38" y="63"/>
                    <a:pt x="40" y="63"/>
                    <a:pt x="41" y="64"/>
                  </a:cubicBezTo>
                  <a:cubicBezTo>
                    <a:pt x="42" y="65"/>
                    <a:pt x="44" y="67"/>
                    <a:pt x="44" y="67"/>
                  </a:cubicBezTo>
                  <a:cubicBezTo>
                    <a:pt x="44" y="69"/>
                    <a:pt x="43" y="68"/>
                    <a:pt x="42" y="67"/>
                  </a:cubicBezTo>
                  <a:cubicBezTo>
                    <a:pt x="42" y="67"/>
                    <a:pt x="40" y="67"/>
                    <a:pt x="39" y="67"/>
                  </a:cubicBezTo>
                  <a:cubicBezTo>
                    <a:pt x="39" y="66"/>
                    <a:pt x="38" y="66"/>
                    <a:pt x="38" y="66"/>
                  </a:cubicBezTo>
                  <a:cubicBezTo>
                    <a:pt x="37" y="65"/>
                    <a:pt x="37" y="65"/>
                    <a:pt x="37" y="63"/>
                  </a:cubicBezTo>
                  <a:moveTo>
                    <a:pt x="46" y="57"/>
                  </a:moveTo>
                  <a:cubicBezTo>
                    <a:pt x="44" y="57"/>
                    <a:pt x="44" y="57"/>
                    <a:pt x="44" y="56"/>
                  </a:cubicBezTo>
                  <a:cubicBezTo>
                    <a:pt x="43" y="55"/>
                    <a:pt x="42" y="54"/>
                    <a:pt x="41" y="54"/>
                  </a:cubicBezTo>
                  <a:cubicBezTo>
                    <a:pt x="40" y="54"/>
                    <a:pt x="40" y="54"/>
                    <a:pt x="39" y="54"/>
                  </a:cubicBezTo>
                  <a:cubicBezTo>
                    <a:pt x="37" y="54"/>
                    <a:pt x="36" y="52"/>
                    <a:pt x="36" y="50"/>
                  </a:cubicBezTo>
                  <a:cubicBezTo>
                    <a:pt x="37" y="50"/>
                    <a:pt x="38" y="49"/>
                    <a:pt x="39" y="48"/>
                  </a:cubicBezTo>
                  <a:cubicBezTo>
                    <a:pt x="39" y="48"/>
                    <a:pt x="42" y="48"/>
                    <a:pt x="42" y="49"/>
                  </a:cubicBezTo>
                  <a:cubicBezTo>
                    <a:pt x="43" y="50"/>
                    <a:pt x="43" y="52"/>
                    <a:pt x="44" y="52"/>
                  </a:cubicBezTo>
                  <a:cubicBezTo>
                    <a:pt x="45" y="53"/>
                    <a:pt x="46" y="55"/>
                    <a:pt x="46" y="55"/>
                  </a:cubicBezTo>
                  <a:cubicBezTo>
                    <a:pt x="46" y="56"/>
                    <a:pt x="46" y="57"/>
                    <a:pt x="46" y="57"/>
                  </a:cubicBezTo>
                  <a:moveTo>
                    <a:pt x="40" y="57"/>
                  </a:moveTo>
                  <a:cubicBezTo>
                    <a:pt x="42" y="58"/>
                    <a:pt x="47" y="61"/>
                    <a:pt x="46" y="64"/>
                  </a:cubicBezTo>
                  <a:cubicBezTo>
                    <a:pt x="45" y="65"/>
                    <a:pt x="43" y="62"/>
                    <a:pt x="43" y="62"/>
                  </a:cubicBezTo>
                  <a:cubicBezTo>
                    <a:pt x="42" y="61"/>
                    <a:pt x="40" y="61"/>
                    <a:pt x="39" y="61"/>
                  </a:cubicBezTo>
                  <a:cubicBezTo>
                    <a:pt x="39" y="60"/>
                    <a:pt x="39" y="59"/>
                    <a:pt x="38" y="59"/>
                  </a:cubicBezTo>
                  <a:cubicBezTo>
                    <a:pt x="38" y="58"/>
                    <a:pt x="38" y="60"/>
                    <a:pt x="37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59"/>
                    <a:pt x="35" y="58"/>
                    <a:pt x="36" y="58"/>
                  </a:cubicBezTo>
                  <a:cubicBezTo>
                    <a:pt x="37" y="56"/>
                    <a:pt x="40" y="57"/>
                    <a:pt x="40" y="57"/>
                  </a:cubicBezTo>
                  <a:moveTo>
                    <a:pt x="37" y="75"/>
                  </a:moveTo>
                  <a:cubicBezTo>
                    <a:pt x="38" y="75"/>
                    <a:pt x="38" y="76"/>
                    <a:pt x="38" y="77"/>
                  </a:cubicBezTo>
                  <a:cubicBezTo>
                    <a:pt x="39" y="78"/>
                    <a:pt x="40" y="79"/>
                    <a:pt x="41" y="79"/>
                  </a:cubicBezTo>
                  <a:cubicBezTo>
                    <a:pt x="41" y="80"/>
                    <a:pt x="41" y="80"/>
                    <a:pt x="41" y="81"/>
                  </a:cubicBezTo>
                  <a:cubicBezTo>
                    <a:pt x="42" y="83"/>
                    <a:pt x="40" y="84"/>
                    <a:pt x="38" y="84"/>
                  </a:cubicBezTo>
                  <a:cubicBezTo>
                    <a:pt x="37" y="83"/>
                    <a:pt x="37" y="82"/>
                    <a:pt x="37" y="81"/>
                  </a:cubicBezTo>
                  <a:cubicBezTo>
                    <a:pt x="36" y="78"/>
                    <a:pt x="34" y="78"/>
                    <a:pt x="35" y="76"/>
                  </a:cubicBezTo>
                  <a:cubicBezTo>
                    <a:pt x="35" y="76"/>
                    <a:pt x="35" y="75"/>
                    <a:pt x="35" y="75"/>
                  </a:cubicBezTo>
                  <a:cubicBezTo>
                    <a:pt x="36" y="75"/>
                    <a:pt x="36" y="74"/>
                    <a:pt x="37" y="75"/>
                  </a:cubicBezTo>
                  <a:moveTo>
                    <a:pt x="35" y="99"/>
                  </a:moveTo>
                  <a:cubicBezTo>
                    <a:pt x="35" y="101"/>
                    <a:pt x="36" y="101"/>
                    <a:pt x="37" y="102"/>
                  </a:cubicBezTo>
                  <a:cubicBezTo>
                    <a:pt x="38" y="103"/>
                    <a:pt x="38" y="104"/>
                    <a:pt x="38" y="104"/>
                  </a:cubicBezTo>
                  <a:cubicBezTo>
                    <a:pt x="37" y="105"/>
                    <a:pt x="34" y="105"/>
                    <a:pt x="34" y="105"/>
                  </a:cubicBezTo>
                  <a:cubicBezTo>
                    <a:pt x="34" y="104"/>
                    <a:pt x="34" y="103"/>
                    <a:pt x="33" y="103"/>
                  </a:cubicBezTo>
                  <a:cubicBezTo>
                    <a:pt x="33" y="102"/>
                    <a:pt x="32" y="101"/>
                    <a:pt x="31" y="100"/>
                  </a:cubicBezTo>
                  <a:cubicBezTo>
                    <a:pt x="30" y="100"/>
                    <a:pt x="30" y="99"/>
                    <a:pt x="29" y="99"/>
                  </a:cubicBezTo>
                  <a:cubicBezTo>
                    <a:pt x="29" y="98"/>
                    <a:pt x="31" y="97"/>
                    <a:pt x="31" y="97"/>
                  </a:cubicBezTo>
                  <a:cubicBezTo>
                    <a:pt x="32" y="97"/>
                    <a:pt x="35" y="98"/>
                    <a:pt x="35" y="98"/>
                  </a:cubicBezTo>
                  <a:cubicBezTo>
                    <a:pt x="34" y="99"/>
                    <a:pt x="34" y="99"/>
                    <a:pt x="35" y="99"/>
                  </a:cubicBezTo>
                  <a:moveTo>
                    <a:pt x="38" y="97"/>
                  </a:moveTo>
                  <a:cubicBezTo>
                    <a:pt x="38" y="97"/>
                    <a:pt x="38" y="99"/>
                    <a:pt x="36" y="98"/>
                  </a:cubicBezTo>
                  <a:cubicBezTo>
                    <a:pt x="35" y="98"/>
                    <a:pt x="35" y="96"/>
                    <a:pt x="35" y="95"/>
                  </a:cubicBezTo>
                  <a:cubicBezTo>
                    <a:pt x="35" y="95"/>
                    <a:pt x="34" y="95"/>
                    <a:pt x="33" y="94"/>
                  </a:cubicBezTo>
                  <a:cubicBezTo>
                    <a:pt x="33" y="94"/>
                    <a:pt x="32" y="93"/>
                    <a:pt x="31" y="93"/>
                  </a:cubicBezTo>
                  <a:cubicBezTo>
                    <a:pt x="31" y="92"/>
                    <a:pt x="32" y="91"/>
                    <a:pt x="33" y="91"/>
                  </a:cubicBezTo>
                  <a:cubicBezTo>
                    <a:pt x="35" y="90"/>
                    <a:pt x="37" y="91"/>
                    <a:pt x="37" y="91"/>
                  </a:cubicBezTo>
                  <a:cubicBezTo>
                    <a:pt x="37" y="91"/>
                    <a:pt x="36" y="88"/>
                    <a:pt x="35" y="87"/>
                  </a:cubicBezTo>
                  <a:cubicBezTo>
                    <a:pt x="34" y="85"/>
                    <a:pt x="32" y="84"/>
                    <a:pt x="32" y="84"/>
                  </a:cubicBezTo>
                  <a:cubicBezTo>
                    <a:pt x="32" y="84"/>
                    <a:pt x="33" y="83"/>
                    <a:pt x="34" y="83"/>
                  </a:cubicBezTo>
                  <a:cubicBezTo>
                    <a:pt x="36" y="82"/>
                    <a:pt x="36" y="84"/>
                    <a:pt x="37" y="85"/>
                  </a:cubicBezTo>
                  <a:cubicBezTo>
                    <a:pt x="37" y="86"/>
                    <a:pt x="37" y="86"/>
                    <a:pt x="38" y="87"/>
                  </a:cubicBezTo>
                  <a:cubicBezTo>
                    <a:pt x="39" y="89"/>
                    <a:pt x="39" y="91"/>
                    <a:pt x="37" y="92"/>
                  </a:cubicBezTo>
                  <a:cubicBezTo>
                    <a:pt x="37" y="92"/>
                    <a:pt x="36" y="92"/>
                    <a:pt x="35" y="92"/>
                  </a:cubicBezTo>
                  <a:cubicBezTo>
                    <a:pt x="35" y="93"/>
                    <a:pt x="37" y="95"/>
                    <a:pt x="38" y="97"/>
                  </a:cubicBezTo>
                  <a:moveTo>
                    <a:pt x="29" y="74"/>
                  </a:moveTo>
                  <a:cubicBezTo>
                    <a:pt x="29" y="74"/>
                    <a:pt x="32" y="78"/>
                    <a:pt x="32" y="78"/>
                  </a:cubicBezTo>
                  <a:cubicBezTo>
                    <a:pt x="33" y="79"/>
                    <a:pt x="32" y="81"/>
                    <a:pt x="31" y="82"/>
                  </a:cubicBezTo>
                  <a:cubicBezTo>
                    <a:pt x="29" y="83"/>
                    <a:pt x="30" y="81"/>
                    <a:pt x="29" y="80"/>
                  </a:cubicBezTo>
                  <a:cubicBezTo>
                    <a:pt x="29" y="78"/>
                    <a:pt x="28" y="78"/>
                    <a:pt x="27" y="77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26" y="74"/>
                    <a:pt x="26" y="73"/>
                    <a:pt x="26" y="73"/>
                  </a:cubicBezTo>
                  <a:cubicBezTo>
                    <a:pt x="28" y="73"/>
                    <a:pt x="28" y="73"/>
                    <a:pt x="29" y="74"/>
                  </a:cubicBezTo>
                  <a:moveTo>
                    <a:pt x="26" y="80"/>
                  </a:moveTo>
                  <a:cubicBezTo>
                    <a:pt x="27" y="80"/>
                    <a:pt x="28" y="82"/>
                    <a:pt x="29" y="83"/>
                  </a:cubicBezTo>
                  <a:cubicBezTo>
                    <a:pt x="29" y="84"/>
                    <a:pt x="29" y="85"/>
                    <a:pt x="30" y="86"/>
                  </a:cubicBezTo>
                  <a:cubicBezTo>
                    <a:pt x="30" y="86"/>
                    <a:pt x="30" y="86"/>
                    <a:pt x="31" y="87"/>
                  </a:cubicBezTo>
                  <a:cubicBezTo>
                    <a:pt x="31" y="88"/>
                    <a:pt x="31" y="88"/>
                    <a:pt x="30" y="89"/>
                  </a:cubicBezTo>
                  <a:cubicBezTo>
                    <a:pt x="28" y="90"/>
                    <a:pt x="27" y="86"/>
                    <a:pt x="26" y="85"/>
                  </a:cubicBezTo>
                  <a:cubicBezTo>
                    <a:pt x="25" y="83"/>
                    <a:pt x="24" y="83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moveTo>
                    <a:pt x="29" y="105"/>
                  </a:moveTo>
                  <a:cubicBezTo>
                    <a:pt x="30" y="105"/>
                    <a:pt x="33" y="108"/>
                    <a:pt x="34" y="109"/>
                  </a:cubicBezTo>
                  <a:cubicBezTo>
                    <a:pt x="34" y="110"/>
                    <a:pt x="34" y="111"/>
                    <a:pt x="33" y="112"/>
                  </a:cubicBezTo>
                  <a:cubicBezTo>
                    <a:pt x="32" y="112"/>
                    <a:pt x="32" y="111"/>
                    <a:pt x="31" y="110"/>
                  </a:cubicBezTo>
                  <a:cubicBezTo>
                    <a:pt x="31" y="109"/>
                    <a:pt x="29" y="109"/>
                    <a:pt x="29" y="108"/>
                  </a:cubicBezTo>
                  <a:cubicBezTo>
                    <a:pt x="28" y="108"/>
                    <a:pt x="28" y="106"/>
                    <a:pt x="29" y="106"/>
                  </a:cubicBezTo>
                  <a:cubicBezTo>
                    <a:pt x="29" y="106"/>
                    <a:pt x="29" y="105"/>
                    <a:pt x="29" y="105"/>
                  </a:cubicBezTo>
                  <a:moveTo>
                    <a:pt x="33" y="114"/>
                  </a:moveTo>
                  <a:cubicBezTo>
                    <a:pt x="34" y="113"/>
                    <a:pt x="34" y="113"/>
                    <a:pt x="35" y="113"/>
                  </a:cubicBezTo>
                  <a:cubicBezTo>
                    <a:pt x="36" y="114"/>
                    <a:pt x="38" y="116"/>
                    <a:pt x="38" y="117"/>
                  </a:cubicBezTo>
                  <a:cubicBezTo>
                    <a:pt x="38" y="118"/>
                    <a:pt x="38" y="119"/>
                    <a:pt x="38" y="119"/>
                  </a:cubicBezTo>
                  <a:cubicBezTo>
                    <a:pt x="38" y="119"/>
                    <a:pt x="37" y="119"/>
                    <a:pt x="37" y="119"/>
                  </a:cubicBezTo>
                  <a:cubicBezTo>
                    <a:pt x="37" y="119"/>
                    <a:pt x="35" y="116"/>
                    <a:pt x="34" y="115"/>
                  </a:cubicBezTo>
                  <a:cubicBezTo>
                    <a:pt x="33" y="114"/>
                    <a:pt x="33" y="114"/>
                    <a:pt x="33" y="114"/>
                  </a:cubicBezTo>
                  <a:moveTo>
                    <a:pt x="37" y="112"/>
                  </a:moveTo>
                  <a:cubicBezTo>
                    <a:pt x="37" y="112"/>
                    <a:pt x="37" y="112"/>
                    <a:pt x="37" y="111"/>
                  </a:cubicBezTo>
                  <a:cubicBezTo>
                    <a:pt x="37" y="111"/>
                    <a:pt x="37" y="111"/>
                    <a:pt x="37" y="109"/>
                  </a:cubicBezTo>
                  <a:cubicBezTo>
                    <a:pt x="38" y="108"/>
                    <a:pt x="39" y="108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40" y="110"/>
                    <a:pt x="40" y="111"/>
                  </a:cubicBezTo>
                  <a:cubicBezTo>
                    <a:pt x="41" y="111"/>
                    <a:pt x="42" y="112"/>
                    <a:pt x="42" y="112"/>
                  </a:cubicBezTo>
                  <a:cubicBezTo>
                    <a:pt x="42" y="113"/>
                    <a:pt x="41" y="114"/>
                    <a:pt x="42" y="115"/>
                  </a:cubicBezTo>
                  <a:cubicBezTo>
                    <a:pt x="42" y="115"/>
                    <a:pt x="44" y="116"/>
                    <a:pt x="44" y="117"/>
                  </a:cubicBezTo>
                  <a:cubicBezTo>
                    <a:pt x="44" y="117"/>
                    <a:pt x="44" y="119"/>
                    <a:pt x="43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1" y="118"/>
                    <a:pt x="41" y="117"/>
                    <a:pt x="40" y="116"/>
                  </a:cubicBezTo>
                  <a:cubicBezTo>
                    <a:pt x="40" y="115"/>
                    <a:pt x="38" y="113"/>
                    <a:pt x="37" y="112"/>
                  </a:cubicBezTo>
                  <a:moveTo>
                    <a:pt x="44" y="93"/>
                  </a:moveTo>
                  <a:cubicBezTo>
                    <a:pt x="44" y="93"/>
                    <a:pt x="46" y="93"/>
                    <a:pt x="47" y="94"/>
                  </a:cubicBezTo>
                  <a:cubicBezTo>
                    <a:pt x="48" y="95"/>
                    <a:pt x="48" y="95"/>
                    <a:pt x="47" y="97"/>
                  </a:cubicBezTo>
                  <a:cubicBezTo>
                    <a:pt x="46" y="98"/>
                    <a:pt x="46" y="98"/>
                    <a:pt x="46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4" y="96"/>
                    <a:pt x="44" y="94"/>
                    <a:pt x="44" y="93"/>
                  </a:cubicBezTo>
                  <a:moveTo>
                    <a:pt x="45" y="101"/>
                  </a:moveTo>
                  <a:cubicBezTo>
                    <a:pt x="46" y="100"/>
                    <a:pt x="47" y="100"/>
                    <a:pt x="48" y="101"/>
                  </a:cubicBezTo>
                  <a:cubicBezTo>
                    <a:pt x="48" y="101"/>
                    <a:pt x="48" y="101"/>
                    <a:pt x="48" y="102"/>
                  </a:cubicBezTo>
                  <a:cubicBezTo>
                    <a:pt x="48" y="103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7" y="104"/>
                    <a:pt x="47" y="104"/>
                    <a:pt x="46" y="103"/>
                  </a:cubicBezTo>
                  <a:cubicBezTo>
                    <a:pt x="46" y="102"/>
                    <a:pt x="45" y="101"/>
                    <a:pt x="45" y="101"/>
                  </a:cubicBezTo>
                  <a:moveTo>
                    <a:pt x="47" y="108"/>
                  </a:moveTo>
                  <a:cubicBezTo>
                    <a:pt x="47" y="108"/>
                    <a:pt x="47" y="108"/>
                    <a:pt x="47" y="108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0" y="107"/>
                    <a:pt x="50" y="108"/>
                    <a:pt x="51" y="110"/>
                  </a:cubicBezTo>
                  <a:cubicBezTo>
                    <a:pt x="51" y="111"/>
                    <a:pt x="51" y="112"/>
                    <a:pt x="50" y="112"/>
                  </a:cubicBezTo>
                  <a:cubicBezTo>
                    <a:pt x="49" y="113"/>
                    <a:pt x="48" y="112"/>
                    <a:pt x="47" y="111"/>
                  </a:cubicBezTo>
                  <a:cubicBezTo>
                    <a:pt x="47" y="110"/>
                    <a:pt x="47" y="109"/>
                    <a:pt x="47" y="108"/>
                  </a:cubicBezTo>
                  <a:moveTo>
                    <a:pt x="50" y="100"/>
                  </a:moveTo>
                  <a:cubicBezTo>
                    <a:pt x="50" y="99"/>
                    <a:pt x="51" y="99"/>
                    <a:pt x="51" y="98"/>
                  </a:cubicBezTo>
                  <a:cubicBezTo>
                    <a:pt x="52" y="97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4" y="97"/>
                    <a:pt x="53" y="100"/>
                    <a:pt x="52" y="101"/>
                  </a:cubicBezTo>
                  <a:cubicBezTo>
                    <a:pt x="51" y="101"/>
                    <a:pt x="51" y="101"/>
                    <a:pt x="50" y="100"/>
                  </a:cubicBezTo>
                  <a:moveTo>
                    <a:pt x="53" y="102"/>
                  </a:moveTo>
                  <a:cubicBezTo>
                    <a:pt x="54" y="102"/>
                    <a:pt x="54" y="102"/>
                    <a:pt x="54" y="103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6"/>
                    <a:pt x="54" y="106"/>
                    <a:pt x="53" y="106"/>
                  </a:cubicBezTo>
                  <a:cubicBezTo>
                    <a:pt x="53" y="107"/>
                    <a:pt x="51" y="105"/>
                    <a:pt x="51" y="105"/>
                  </a:cubicBezTo>
                  <a:cubicBezTo>
                    <a:pt x="51" y="104"/>
                    <a:pt x="52" y="102"/>
                    <a:pt x="53" y="102"/>
                  </a:cubicBezTo>
                  <a:moveTo>
                    <a:pt x="54" y="124"/>
                  </a:moveTo>
                  <a:cubicBezTo>
                    <a:pt x="54" y="123"/>
                    <a:pt x="54" y="123"/>
                    <a:pt x="55" y="124"/>
                  </a:cubicBezTo>
                  <a:cubicBezTo>
                    <a:pt x="55" y="124"/>
                    <a:pt x="55" y="124"/>
                    <a:pt x="55" y="126"/>
                  </a:cubicBezTo>
                  <a:cubicBezTo>
                    <a:pt x="55" y="129"/>
                    <a:pt x="55" y="129"/>
                    <a:pt x="55" y="130"/>
                  </a:cubicBezTo>
                  <a:cubicBezTo>
                    <a:pt x="55" y="130"/>
                    <a:pt x="55" y="130"/>
                    <a:pt x="55" y="130"/>
                  </a:cubicBezTo>
                  <a:cubicBezTo>
                    <a:pt x="55" y="131"/>
                    <a:pt x="56" y="133"/>
                    <a:pt x="56" y="134"/>
                  </a:cubicBezTo>
                  <a:cubicBezTo>
                    <a:pt x="56" y="135"/>
                    <a:pt x="55" y="136"/>
                    <a:pt x="55" y="136"/>
                  </a:cubicBezTo>
                  <a:cubicBezTo>
                    <a:pt x="55" y="136"/>
                    <a:pt x="55" y="136"/>
                    <a:pt x="54" y="136"/>
                  </a:cubicBezTo>
                  <a:cubicBezTo>
                    <a:pt x="53" y="133"/>
                    <a:pt x="52" y="127"/>
                    <a:pt x="54" y="124"/>
                  </a:cubicBezTo>
                  <a:moveTo>
                    <a:pt x="56" y="151"/>
                  </a:moveTo>
                  <a:cubicBezTo>
                    <a:pt x="57" y="152"/>
                    <a:pt x="57" y="157"/>
                    <a:pt x="58" y="159"/>
                  </a:cubicBezTo>
                  <a:cubicBezTo>
                    <a:pt x="58" y="162"/>
                    <a:pt x="58" y="169"/>
                    <a:pt x="57" y="171"/>
                  </a:cubicBezTo>
                  <a:cubicBezTo>
                    <a:pt x="56" y="171"/>
                    <a:pt x="55" y="171"/>
                    <a:pt x="54" y="172"/>
                  </a:cubicBezTo>
                  <a:cubicBezTo>
                    <a:pt x="53" y="173"/>
                    <a:pt x="52" y="174"/>
                    <a:pt x="52" y="174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0" y="173"/>
                    <a:pt x="52" y="163"/>
                    <a:pt x="53" y="159"/>
                  </a:cubicBezTo>
                  <a:cubicBezTo>
                    <a:pt x="53" y="156"/>
                    <a:pt x="55" y="151"/>
                    <a:pt x="56" y="151"/>
                  </a:cubicBezTo>
                  <a:moveTo>
                    <a:pt x="73" y="163"/>
                  </a:moveTo>
                  <a:cubicBezTo>
                    <a:pt x="74" y="158"/>
                    <a:pt x="75" y="152"/>
                    <a:pt x="75" y="146"/>
                  </a:cubicBezTo>
                  <a:cubicBezTo>
                    <a:pt x="76" y="140"/>
                    <a:pt x="75" y="132"/>
                    <a:pt x="76" y="128"/>
                  </a:cubicBezTo>
                  <a:cubicBezTo>
                    <a:pt x="76" y="126"/>
                    <a:pt x="77" y="122"/>
                    <a:pt x="80" y="124"/>
                  </a:cubicBezTo>
                  <a:cubicBezTo>
                    <a:pt x="81" y="125"/>
                    <a:pt x="81" y="125"/>
                    <a:pt x="81" y="127"/>
                  </a:cubicBezTo>
                  <a:cubicBezTo>
                    <a:pt x="79" y="129"/>
                    <a:pt x="81" y="130"/>
                    <a:pt x="82" y="134"/>
                  </a:cubicBezTo>
                  <a:cubicBezTo>
                    <a:pt x="82" y="135"/>
                    <a:pt x="82" y="136"/>
                    <a:pt x="82" y="137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2" y="137"/>
                    <a:pt x="82" y="137"/>
                    <a:pt x="78" y="152"/>
                  </a:cubicBezTo>
                  <a:cubicBezTo>
                    <a:pt x="73" y="165"/>
                    <a:pt x="73" y="165"/>
                    <a:pt x="73" y="164"/>
                  </a:cubicBezTo>
                  <a:cubicBezTo>
                    <a:pt x="73" y="164"/>
                    <a:pt x="73" y="164"/>
                    <a:pt x="73" y="163"/>
                  </a:cubicBezTo>
                  <a:moveTo>
                    <a:pt x="80" y="168"/>
                  </a:moveTo>
                  <a:cubicBezTo>
                    <a:pt x="84" y="155"/>
                    <a:pt x="84" y="155"/>
                    <a:pt x="85" y="156"/>
                  </a:cubicBezTo>
                  <a:cubicBezTo>
                    <a:pt x="86" y="159"/>
                    <a:pt x="85" y="161"/>
                    <a:pt x="84" y="164"/>
                  </a:cubicBezTo>
                  <a:cubicBezTo>
                    <a:pt x="84" y="166"/>
                    <a:pt x="83" y="172"/>
                    <a:pt x="84" y="175"/>
                  </a:cubicBezTo>
                  <a:cubicBezTo>
                    <a:pt x="84" y="177"/>
                    <a:pt x="86" y="181"/>
                    <a:pt x="86" y="181"/>
                  </a:cubicBezTo>
                  <a:cubicBezTo>
                    <a:pt x="86" y="181"/>
                    <a:pt x="83" y="182"/>
                    <a:pt x="80" y="182"/>
                  </a:cubicBezTo>
                  <a:cubicBezTo>
                    <a:pt x="78" y="182"/>
                    <a:pt x="76" y="181"/>
                    <a:pt x="80" y="168"/>
                  </a:cubicBezTo>
                  <a:moveTo>
                    <a:pt x="84" y="130"/>
                  </a:moveTo>
                  <a:cubicBezTo>
                    <a:pt x="84" y="129"/>
                    <a:pt x="85" y="128"/>
                    <a:pt x="85" y="128"/>
                  </a:cubicBezTo>
                  <a:cubicBezTo>
                    <a:pt x="88" y="126"/>
                    <a:pt x="88" y="129"/>
                    <a:pt x="88" y="132"/>
                  </a:cubicBezTo>
                  <a:cubicBezTo>
                    <a:pt x="89" y="139"/>
                    <a:pt x="89" y="141"/>
                    <a:pt x="88" y="148"/>
                  </a:cubicBezTo>
                  <a:cubicBezTo>
                    <a:pt x="88" y="149"/>
                    <a:pt x="87" y="150"/>
                    <a:pt x="87" y="150"/>
                  </a:cubicBezTo>
                  <a:cubicBezTo>
                    <a:pt x="86" y="151"/>
                    <a:pt x="86" y="150"/>
                    <a:pt x="86" y="149"/>
                  </a:cubicBezTo>
                  <a:cubicBezTo>
                    <a:pt x="84" y="142"/>
                    <a:pt x="84" y="138"/>
                    <a:pt x="84" y="130"/>
                  </a:cubicBezTo>
                  <a:moveTo>
                    <a:pt x="97" y="177"/>
                  </a:moveTo>
                  <a:cubicBezTo>
                    <a:pt x="98" y="177"/>
                    <a:pt x="98" y="177"/>
                    <a:pt x="98" y="177"/>
                  </a:cubicBezTo>
                  <a:cubicBezTo>
                    <a:pt x="98" y="177"/>
                    <a:pt x="98" y="177"/>
                    <a:pt x="98" y="177"/>
                  </a:cubicBezTo>
                  <a:cubicBezTo>
                    <a:pt x="98" y="177"/>
                    <a:pt x="99" y="179"/>
                    <a:pt x="98" y="179"/>
                  </a:cubicBezTo>
                  <a:cubicBezTo>
                    <a:pt x="98" y="179"/>
                    <a:pt x="97" y="178"/>
                    <a:pt x="96" y="178"/>
                  </a:cubicBezTo>
                  <a:cubicBezTo>
                    <a:pt x="96" y="177"/>
                    <a:pt x="96" y="177"/>
                    <a:pt x="97" y="177"/>
                  </a:cubicBezTo>
                  <a:moveTo>
                    <a:pt x="98" y="185"/>
                  </a:moveTo>
                  <a:cubicBezTo>
                    <a:pt x="99" y="185"/>
                    <a:pt x="99" y="185"/>
                    <a:pt x="99" y="185"/>
                  </a:cubicBezTo>
                  <a:cubicBezTo>
                    <a:pt x="100" y="185"/>
                    <a:pt x="102" y="186"/>
                    <a:pt x="102" y="186"/>
                  </a:cubicBezTo>
                  <a:cubicBezTo>
                    <a:pt x="102" y="186"/>
                    <a:pt x="102" y="187"/>
                    <a:pt x="101" y="187"/>
                  </a:cubicBezTo>
                  <a:cubicBezTo>
                    <a:pt x="100" y="187"/>
                    <a:pt x="99" y="187"/>
                    <a:pt x="99" y="187"/>
                  </a:cubicBezTo>
                  <a:cubicBezTo>
                    <a:pt x="98" y="186"/>
                    <a:pt x="98" y="185"/>
                    <a:pt x="98" y="185"/>
                  </a:cubicBezTo>
                  <a:moveTo>
                    <a:pt x="103" y="189"/>
                  </a:moveTo>
                  <a:cubicBezTo>
                    <a:pt x="106" y="189"/>
                    <a:pt x="108" y="189"/>
                    <a:pt x="107" y="191"/>
                  </a:cubicBezTo>
                  <a:cubicBezTo>
                    <a:pt x="107" y="192"/>
                    <a:pt x="107" y="192"/>
                    <a:pt x="107" y="197"/>
                  </a:cubicBezTo>
                  <a:cubicBezTo>
                    <a:pt x="106" y="202"/>
                    <a:pt x="105" y="201"/>
                    <a:pt x="105" y="201"/>
                  </a:cubicBezTo>
                  <a:cubicBezTo>
                    <a:pt x="104" y="198"/>
                    <a:pt x="103" y="194"/>
                    <a:pt x="101" y="192"/>
                  </a:cubicBezTo>
                  <a:cubicBezTo>
                    <a:pt x="100" y="191"/>
                    <a:pt x="100" y="191"/>
                    <a:pt x="99" y="190"/>
                  </a:cubicBezTo>
                  <a:cubicBezTo>
                    <a:pt x="99" y="189"/>
                    <a:pt x="102" y="189"/>
                    <a:pt x="103" y="189"/>
                  </a:cubicBezTo>
                  <a:moveTo>
                    <a:pt x="107" y="187"/>
                  </a:moveTo>
                  <a:cubicBezTo>
                    <a:pt x="107" y="188"/>
                    <a:pt x="105" y="187"/>
                    <a:pt x="104" y="186"/>
                  </a:cubicBezTo>
                  <a:cubicBezTo>
                    <a:pt x="104" y="186"/>
                    <a:pt x="104" y="186"/>
                    <a:pt x="104" y="185"/>
                  </a:cubicBezTo>
                  <a:cubicBezTo>
                    <a:pt x="104" y="185"/>
                    <a:pt x="105" y="185"/>
                    <a:pt x="105" y="185"/>
                  </a:cubicBezTo>
                  <a:cubicBezTo>
                    <a:pt x="106" y="185"/>
                    <a:pt x="107" y="186"/>
                    <a:pt x="107" y="186"/>
                  </a:cubicBezTo>
                  <a:cubicBezTo>
                    <a:pt x="107" y="187"/>
                    <a:pt x="107" y="187"/>
                    <a:pt x="107" y="187"/>
                  </a:cubicBezTo>
                  <a:moveTo>
                    <a:pt x="106" y="175"/>
                  </a:moveTo>
                  <a:cubicBezTo>
                    <a:pt x="106" y="175"/>
                    <a:pt x="105" y="175"/>
                    <a:pt x="105" y="175"/>
                  </a:cubicBezTo>
                  <a:cubicBezTo>
                    <a:pt x="105" y="175"/>
                    <a:pt x="103" y="173"/>
                    <a:pt x="102" y="172"/>
                  </a:cubicBezTo>
                  <a:cubicBezTo>
                    <a:pt x="102" y="171"/>
                    <a:pt x="101" y="170"/>
                    <a:pt x="101" y="169"/>
                  </a:cubicBezTo>
                  <a:cubicBezTo>
                    <a:pt x="100" y="164"/>
                    <a:pt x="100" y="161"/>
                    <a:pt x="104" y="159"/>
                  </a:cubicBezTo>
                  <a:cubicBezTo>
                    <a:pt x="104" y="159"/>
                    <a:pt x="105" y="160"/>
                    <a:pt x="106" y="162"/>
                  </a:cubicBezTo>
                  <a:cubicBezTo>
                    <a:pt x="106" y="162"/>
                    <a:pt x="106" y="162"/>
                    <a:pt x="106" y="168"/>
                  </a:cubicBezTo>
                  <a:cubicBezTo>
                    <a:pt x="106" y="174"/>
                    <a:pt x="106" y="175"/>
                    <a:pt x="106" y="175"/>
                  </a:cubicBezTo>
                  <a:moveTo>
                    <a:pt x="104" y="88"/>
                  </a:moveTo>
                  <a:cubicBezTo>
                    <a:pt x="105" y="87"/>
                    <a:pt x="107" y="87"/>
                    <a:pt x="107" y="89"/>
                  </a:cubicBezTo>
                  <a:cubicBezTo>
                    <a:pt x="108" y="89"/>
                    <a:pt x="108" y="91"/>
                    <a:pt x="107" y="91"/>
                  </a:cubicBezTo>
                  <a:cubicBezTo>
                    <a:pt x="107" y="92"/>
                    <a:pt x="106" y="92"/>
                    <a:pt x="105" y="91"/>
                  </a:cubicBezTo>
                  <a:cubicBezTo>
                    <a:pt x="104" y="90"/>
                    <a:pt x="103" y="89"/>
                    <a:pt x="104" y="88"/>
                  </a:cubicBezTo>
                  <a:moveTo>
                    <a:pt x="104" y="109"/>
                  </a:moveTo>
                  <a:cubicBezTo>
                    <a:pt x="104" y="107"/>
                    <a:pt x="105" y="107"/>
                    <a:pt x="105" y="108"/>
                  </a:cubicBezTo>
                  <a:cubicBezTo>
                    <a:pt x="106" y="108"/>
                    <a:pt x="106" y="110"/>
                    <a:pt x="106" y="111"/>
                  </a:cubicBezTo>
                  <a:cubicBezTo>
                    <a:pt x="105" y="112"/>
                    <a:pt x="105" y="112"/>
                    <a:pt x="104" y="111"/>
                  </a:cubicBezTo>
                  <a:cubicBezTo>
                    <a:pt x="104" y="111"/>
                    <a:pt x="104" y="111"/>
                    <a:pt x="104" y="109"/>
                  </a:cubicBezTo>
                  <a:moveTo>
                    <a:pt x="106" y="105"/>
                  </a:moveTo>
                  <a:cubicBezTo>
                    <a:pt x="105" y="105"/>
                    <a:pt x="105" y="104"/>
                    <a:pt x="105" y="104"/>
                  </a:cubicBezTo>
                  <a:cubicBezTo>
                    <a:pt x="104" y="103"/>
                    <a:pt x="104" y="101"/>
                    <a:pt x="104" y="101"/>
                  </a:cubicBezTo>
                  <a:cubicBezTo>
                    <a:pt x="104" y="100"/>
                    <a:pt x="105" y="100"/>
                    <a:pt x="105" y="101"/>
                  </a:cubicBezTo>
                  <a:cubicBezTo>
                    <a:pt x="106" y="101"/>
                    <a:pt x="107" y="102"/>
                    <a:pt x="107" y="103"/>
                  </a:cubicBezTo>
                  <a:cubicBezTo>
                    <a:pt x="107" y="104"/>
                    <a:pt x="107" y="104"/>
                    <a:pt x="107" y="104"/>
                  </a:cubicBezTo>
                  <a:cubicBezTo>
                    <a:pt x="106" y="105"/>
                    <a:pt x="106" y="105"/>
                    <a:pt x="106" y="105"/>
                  </a:cubicBezTo>
                  <a:moveTo>
                    <a:pt x="106" y="99"/>
                  </a:moveTo>
                  <a:cubicBezTo>
                    <a:pt x="106" y="98"/>
                    <a:pt x="106" y="98"/>
                    <a:pt x="106" y="98"/>
                  </a:cubicBezTo>
                  <a:cubicBezTo>
                    <a:pt x="105" y="97"/>
                    <a:pt x="105" y="94"/>
                    <a:pt x="105" y="94"/>
                  </a:cubicBezTo>
                  <a:cubicBezTo>
                    <a:pt x="105" y="94"/>
                    <a:pt x="107" y="94"/>
                    <a:pt x="107" y="95"/>
                  </a:cubicBezTo>
                  <a:cubicBezTo>
                    <a:pt x="108" y="95"/>
                    <a:pt x="108" y="97"/>
                    <a:pt x="108" y="97"/>
                  </a:cubicBezTo>
                  <a:cubicBezTo>
                    <a:pt x="108" y="98"/>
                    <a:pt x="107" y="99"/>
                    <a:pt x="106" y="99"/>
                  </a:cubicBezTo>
                  <a:moveTo>
                    <a:pt x="108" y="117"/>
                  </a:moveTo>
                  <a:cubicBezTo>
                    <a:pt x="108" y="117"/>
                    <a:pt x="108" y="117"/>
                    <a:pt x="108" y="117"/>
                  </a:cubicBezTo>
                  <a:cubicBezTo>
                    <a:pt x="109" y="118"/>
                    <a:pt x="112" y="120"/>
                    <a:pt x="111" y="121"/>
                  </a:cubicBezTo>
                  <a:cubicBezTo>
                    <a:pt x="111" y="121"/>
                    <a:pt x="111" y="121"/>
                    <a:pt x="110" y="121"/>
                  </a:cubicBezTo>
                  <a:cubicBezTo>
                    <a:pt x="110" y="120"/>
                    <a:pt x="108" y="119"/>
                    <a:pt x="108" y="118"/>
                  </a:cubicBezTo>
                  <a:cubicBezTo>
                    <a:pt x="107" y="118"/>
                    <a:pt x="107" y="117"/>
                    <a:pt x="108" y="117"/>
                  </a:cubicBezTo>
                  <a:moveTo>
                    <a:pt x="111" y="115"/>
                  </a:moveTo>
                  <a:cubicBezTo>
                    <a:pt x="111" y="115"/>
                    <a:pt x="110" y="115"/>
                    <a:pt x="110" y="115"/>
                  </a:cubicBezTo>
                  <a:cubicBezTo>
                    <a:pt x="109" y="115"/>
                    <a:pt x="109" y="113"/>
                    <a:pt x="110" y="112"/>
                  </a:cubicBezTo>
                  <a:cubicBezTo>
                    <a:pt x="111" y="110"/>
                    <a:pt x="112" y="109"/>
                    <a:pt x="113" y="111"/>
                  </a:cubicBezTo>
                  <a:cubicBezTo>
                    <a:pt x="114" y="113"/>
                    <a:pt x="113" y="114"/>
                    <a:pt x="111" y="115"/>
                  </a:cubicBezTo>
                  <a:moveTo>
                    <a:pt x="113" y="117"/>
                  </a:moveTo>
                  <a:cubicBezTo>
                    <a:pt x="114" y="117"/>
                    <a:pt x="114" y="115"/>
                    <a:pt x="115" y="115"/>
                  </a:cubicBezTo>
                  <a:cubicBezTo>
                    <a:pt x="116" y="115"/>
                    <a:pt x="117" y="116"/>
                    <a:pt x="117" y="117"/>
                  </a:cubicBezTo>
                  <a:cubicBezTo>
                    <a:pt x="118" y="119"/>
                    <a:pt x="117" y="122"/>
                    <a:pt x="115" y="121"/>
                  </a:cubicBezTo>
                  <a:cubicBezTo>
                    <a:pt x="113" y="121"/>
                    <a:pt x="113" y="119"/>
                    <a:pt x="113" y="117"/>
                  </a:cubicBezTo>
                  <a:moveTo>
                    <a:pt x="122" y="101"/>
                  </a:moveTo>
                  <a:cubicBezTo>
                    <a:pt x="123" y="100"/>
                    <a:pt x="125" y="96"/>
                    <a:pt x="126" y="96"/>
                  </a:cubicBezTo>
                  <a:cubicBezTo>
                    <a:pt x="126" y="95"/>
                    <a:pt x="127" y="96"/>
                    <a:pt x="128" y="97"/>
                  </a:cubicBezTo>
                  <a:cubicBezTo>
                    <a:pt x="129" y="99"/>
                    <a:pt x="128" y="101"/>
                    <a:pt x="127" y="104"/>
                  </a:cubicBezTo>
                  <a:cubicBezTo>
                    <a:pt x="126" y="105"/>
                    <a:pt x="125" y="106"/>
                    <a:pt x="125" y="106"/>
                  </a:cubicBezTo>
                  <a:cubicBezTo>
                    <a:pt x="124" y="106"/>
                    <a:pt x="124" y="105"/>
                    <a:pt x="123" y="105"/>
                  </a:cubicBezTo>
                  <a:cubicBezTo>
                    <a:pt x="122" y="103"/>
                    <a:pt x="122" y="102"/>
                    <a:pt x="122" y="101"/>
                  </a:cubicBezTo>
                  <a:moveTo>
                    <a:pt x="121" y="67"/>
                  </a:moveTo>
                  <a:cubicBezTo>
                    <a:pt x="120" y="66"/>
                    <a:pt x="121" y="63"/>
                    <a:pt x="122" y="62"/>
                  </a:cubicBezTo>
                  <a:cubicBezTo>
                    <a:pt x="123" y="61"/>
                    <a:pt x="123" y="61"/>
                    <a:pt x="122" y="60"/>
                  </a:cubicBezTo>
                  <a:cubicBezTo>
                    <a:pt x="122" y="60"/>
                    <a:pt x="121" y="60"/>
                    <a:pt x="121" y="59"/>
                  </a:cubicBezTo>
                  <a:cubicBezTo>
                    <a:pt x="120" y="58"/>
                    <a:pt x="118" y="57"/>
                    <a:pt x="118" y="56"/>
                  </a:cubicBezTo>
                  <a:cubicBezTo>
                    <a:pt x="118" y="56"/>
                    <a:pt x="119" y="53"/>
                    <a:pt x="120" y="53"/>
                  </a:cubicBezTo>
                  <a:cubicBezTo>
                    <a:pt x="120" y="53"/>
                    <a:pt x="121" y="53"/>
                    <a:pt x="122" y="53"/>
                  </a:cubicBezTo>
                  <a:cubicBezTo>
                    <a:pt x="123" y="53"/>
                    <a:pt x="125" y="53"/>
                    <a:pt x="125" y="52"/>
                  </a:cubicBezTo>
                  <a:cubicBezTo>
                    <a:pt x="125" y="52"/>
                    <a:pt x="124" y="52"/>
                    <a:pt x="123" y="52"/>
                  </a:cubicBezTo>
                  <a:cubicBezTo>
                    <a:pt x="123" y="52"/>
                    <a:pt x="122" y="51"/>
                    <a:pt x="122" y="51"/>
                  </a:cubicBezTo>
                  <a:cubicBezTo>
                    <a:pt x="121" y="50"/>
                    <a:pt x="122" y="47"/>
                    <a:pt x="123" y="45"/>
                  </a:cubicBezTo>
                  <a:cubicBezTo>
                    <a:pt x="124" y="44"/>
                    <a:pt x="126" y="42"/>
                    <a:pt x="128" y="43"/>
                  </a:cubicBezTo>
                  <a:cubicBezTo>
                    <a:pt x="129" y="44"/>
                    <a:pt x="126" y="45"/>
                    <a:pt x="125" y="46"/>
                  </a:cubicBezTo>
                  <a:cubicBezTo>
                    <a:pt x="124" y="46"/>
                    <a:pt x="124" y="46"/>
                    <a:pt x="124" y="47"/>
                  </a:cubicBezTo>
                  <a:cubicBezTo>
                    <a:pt x="124" y="48"/>
                    <a:pt x="124" y="48"/>
                    <a:pt x="124" y="49"/>
                  </a:cubicBezTo>
                  <a:cubicBezTo>
                    <a:pt x="125" y="49"/>
                    <a:pt x="125" y="48"/>
                    <a:pt x="126" y="48"/>
                  </a:cubicBezTo>
                  <a:cubicBezTo>
                    <a:pt x="127" y="47"/>
                    <a:pt x="128" y="47"/>
                    <a:pt x="128" y="47"/>
                  </a:cubicBezTo>
                  <a:cubicBezTo>
                    <a:pt x="128" y="47"/>
                    <a:pt x="129" y="50"/>
                    <a:pt x="128" y="52"/>
                  </a:cubicBezTo>
                  <a:cubicBezTo>
                    <a:pt x="128" y="55"/>
                    <a:pt x="127" y="55"/>
                    <a:pt x="124" y="56"/>
                  </a:cubicBezTo>
                  <a:cubicBezTo>
                    <a:pt x="123" y="56"/>
                    <a:pt x="122" y="57"/>
                    <a:pt x="122" y="58"/>
                  </a:cubicBezTo>
                  <a:cubicBezTo>
                    <a:pt x="122" y="58"/>
                    <a:pt x="124" y="62"/>
                    <a:pt x="124" y="62"/>
                  </a:cubicBezTo>
                  <a:cubicBezTo>
                    <a:pt x="124" y="62"/>
                    <a:pt x="125" y="61"/>
                    <a:pt x="125" y="60"/>
                  </a:cubicBezTo>
                  <a:cubicBezTo>
                    <a:pt x="126" y="59"/>
                    <a:pt x="125" y="59"/>
                    <a:pt x="126" y="58"/>
                  </a:cubicBezTo>
                  <a:cubicBezTo>
                    <a:pt x="126" y="58"/>
                    <a:pt x="126" y="58"/>
                    <a:pt x="126" y="58"/>
                  </a:cubicBezTo>
                  <a:cubicBezTo>
                    <a:pt x="127" y="57"/>
                    <a:pt x="128" y="57"/>
                    <a:pt x="128" y="58"/>
                  </a:cubicBezTo>
                  <a:cubicBezTo>
                    <a:pt x="129" y="59"/>
                    <a:pt x="128" y="62"/>
                    <a:pt x="127" y="63"/>
                  </a:cubicBezTo>
                  <a:cubicBezTo>
                    <a:pt x="126" y="64"/>
                    <a:pt x="125" y="64"/>
                    <a:pt x="124" y="64"/>
                  </a:cubicBezTo>
                  <a:cubicBezTo>
                    <a:pt x="123" y="66"/>
                    <a:pt x="122" y="67"/>
                    <a:pt x="121" y="67"/>
                  </a:cubicBezTo>
                  <a:moveTo>
                    <a:pt x="111" y="33"/>
                  </a:moveTo>
                  <a:cubicBezTo>
                    <a:pt x="112" y="32"/>
                    <a:pt x="113" y="33"/>
                    <a:pt x="111" y="35"/>
                  </a:cubicBezTo>
                  <a:cubicBezTo>
                    <a:pt x="108" y="37"/>
                    <a:pt x="110" y="34"/>
                    <a:pt x="111" y="33"/>
                  </a:cubicBezTo>
                  <a:moveTo>
                    <a:pt x="108" y="40"/>
                  </a:moveTo>
                  <a:cubicBezTo>
                    <a:pt x="108" y="40"/>
                    <a:pt x="111" y="38"/>
                    <a:pt x="112" y="38"/>
                  </a:cubicBezTo>
                  <a:cubicBezTo>
                    <a:pt x="112" y="38"/>
                    <a:pt x="112" y="38"/>
                    <a:pt x="110" y="40"/>
                  </a:cubicBezTo>
                  <a:cubicBezTo>
                    <a:pt x="107" y="41"/>
                    <a:pt x="107" y="41"/>
                    <a:pt x="108" y="40"/>
                  </a:cubicBezTo>
                  <a:moveTo>
                    <a:pt x="106" y="50"/>
                  </a:moveTo>
                  <a:cubicBezTo>
                    <a:pt x="107" y="48"/>
                    <a:pt x="108" y="45"/>
                    <a:pt x="110" y="44"/>
                  </a:cubicBezTo>
                  <a:cubicBezTo>
                    <a:pt x="111" y="44"/>
                    <a:pt x="112" y="44"/>
                    <a:pt x="113" y="43"/>
                  </a:cubicBezTo>
                  <a:cubicBezTo>
                    <a:pt x="114" y="43"/>
                    <a:pt x="113" y="42"/>
                    <a:pt x="113" y="42"/>
                  </a:cubicBezTo>
                  <a:cubicBezTo>
                    <a:pt x="111" y="40"/>
                    <a:pt x="110" y="42"/>
                    <a:pt x="108" y="42"/>
                  </a:cubicBezTo>
                  <a:cubicBezTo>
                    <a:pt x="107" y="43"/>
                    <a:pt x="107" y="42"/>
                    <a:pt x="111" y="40"/>
                  </a:cubicBezTo>
                  <a:cubicBezTo>
                    <a:pt x="115" y="38"/>
                    <a:pt x="114" y="43"/>
                    <a:pt x="115" y="44"/>
                  </a:cubicBezTo>
                  <a:cubicBezTo>
                    <a:pt x="115" y="45"/>
                    <a:pt x="115" y="46"/>
                    <a:pt x="115" y="46"/>
                  </a:cubicBezTo>
                  <a:cubicBezTo>
                    <a:pt x="115" y="48"/>
                    <a:pt x="112" y="47"/>
                    <a:pt x="110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7" y="52"/>
                    <a:pt x="106" y="51"/>
                  </a:cubicBezTo>
                  <a:cubicBezTo>
                    <a:pt x="106" y="51"/>
                    <a:pt x="106" y="51"/>
                    <a:pt x="106" y="50"/>
                  </a:cubicBezTo>
                  <a:moveTo>
                    <a:pt x="106" y="55"/>
                  </a:moveTo>
                  <a:cubicBezTo>
                    <a:pt x="106" y="56"/>
                    <a:pt x="106" y="57"/>
                    <a:pt x="106" y="58"/>
                  </a:cubicBezTo>
                  <a:cubicBezTo>
                    <a:pt x="106" y="59"/>
                    <a:pt x="104" y="63"/>
                    <a:pt x="103" y="63"/>
                  </a:cubicBezTo>
                  <a:cubicBezTo>
                    <a:pt x="103" y="63"/>
                    <a:pt x="102" y="62"/>
                    <a:pt x="102" y="61"/>
                  </a:cubicBezTo>
                  <a:cubicBezTo>
                    <a:pt x="103" y="59"/>
                    <a:pt x="104" y="54"/>
                    <a:pt x="105" y="54"/>
                  </a:cubicBezTo>
                  <a:cubicBezTo>
                    <a:pt x="105" y="53"/>
                    <a:pt x="105" y="54"/>
                    <a:pt x="106" y="55"/>
                  </a:cubicBezTo>
                  <a:moveTo>
                    <a:pt x="103" y="29"/>
                  </a:moveTo>
                  <a:cubicBezTo>
                    <a:pt x="103" y="30"/>
                    <a:pt x="102" y="35"/>
                    <a:pt x="103" y="35"/>
                  </a:cubicBezTo>
                  <a:cubicBezTo>
                    <a:pt x="103" y="36"/>
                    <a:pt x="104" y="38"/>
                    <a:pt x="104" y="39"/>
                  </a:cubicBezTo>
                  <a:cubicBezTo>
                    <a:pt x="104" y="40"/>
                    <a:pt x="104" y="41"/>
                    <a:pt x="104" y="42"/>
                  </a:cubicBezTo>
                  <a:cubicBezTo>
                    <a:pt x="103" y="45"/>
                    <a:pt x="105" y="48"/>
                    <a:pt x="102" y="49"/>
                  </a:cubicBezTo>
                  <a:cubicBezTo>
                    <a:pt x="101" y="49"/>
                    <a:pt x="101" y="49"/>
                    <a:pt x="100" y="48"/>
                  </a:cubicBezTo>
                  <a:cubicBezTo>
                    <a:pt x="100" y="47"/>
                    <a:pt x="100" y="47"/>
                    <a:pt x="99" y="47"/>
                  </a:cubicBezTo>
                  <a:cubicBezTo>
                    <a:pt x="99" y="47"/>
                    <a:pt x="100" y="49"/>
                    <a:pt x="100" y="50"/>
                  </a:cubicBezTo>
                  <a:cubicBezTo>
                    <a:pt x="100" y="51"/>
                    <a:pt x="100" y="52"/>
                    <a:pt x="100" y="52"/>
                  </a:cubicBezTo>
                  <a:cubicBezTo>
                    <a:pt x="97" y="51"/>
                    <a:pt x="98" y="46"/>
                    <a:pt x="98" y="44"/>
                  </a:cubicBezTo>
                  <a:cubicBezTo>
                    <a:pt x="99" y="39"/>
                    <a:pt x="100" y="39"/>
                    <a:pt x="100" y="35"/>
                  </a:cubicBezTo>
                  <a:cubicBezTo>
                    <a:pt x="100" y="34"/>
                    <a:pt x="100" y="32"/>
                    <a:pt x="99" y="31"/>
                  </a:cubicBezTo>
                  <a:cubicBezTo>
                    <a:pt x="98" y="28"/>
                    <a:pt x="97" y="28"/>
                    <a:pt x="98" y="26"/>
                  </a:cubicBezTo>
                  <a:cubicBezTo>
                    <a:pt x="99" y="24"/>
                    <a:pt x="100" y="27"/>
                    <a:pt x="101" y="28"/>
                  </a:cubicBezTo>
                  <a:cubicBezTo>
                    <a:pt x="102" y="29"/>
                    <a:pt x="103" y="29"/>
                    <a:pt x="103" y="29"/>
                  </a:cubicBezTo>
                  <a:moveTo>
                    <a:pt x="100" y="18"/>
                  </a:moveTo>
                  <a:cubicBezTo>
                    <a:pt x="100" y="18"/>
                    <a:pt x="100" y="16"/>
                    <a:pt x="100" y="16"/>
                  </a:cubicBezTo>
                  <a:cubicBezTo>
                    <a:pt x="100" y="16"/>
                    <a:pt x="100" y="16"/>
                    <a:pt x="101" y="16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3" y="17"/>
                    <a:pt x="101" y="19"/>
                    <a:pt x="100" y="20"/>
                  </a:cubicBezTo>
                  <a:cubicBezTo>
                    <a:pt x="100" y="21"/>
                    <a:pt x="99" y="21"/>
                    <a:pt x="99" y="22"/>
                  </a:cubicBezTo>
                  <a:cubicBezTo>
                    <a:pt x="98" y="22"/>
                    <a:pt x="97" y="22"/>
                    <a:pt x="97" y="20"/>
                  </a:cubicBezTo>
                  <a:cubicBezTo>
                    <a:pt x="96" y="19"/>
                    <a:pt x="99" y="19"/>
                    <a:pt x="100" y="18"/>
                  </a:cubicBezTo>
                  <a:moveTo>
                    <a:pt x="88" y="14"/>
                  </a:moveTo>
                  <a:cubicBezTo>
                    <a:pt x="88" y="13"/>
                    <a:pt x="88" y="13"/>
                    <a:pt x="89" y="13"/>
                  </a:cubicBezTo>
                  <a:cubicBezTo>
                    <a:pt x="90" y="12"/>
                    <a:pt x="93" y="10"/>
                    <a:pt x="95" y="10"/>
                  </a:cubicBezTo>
                  <a:cubicBezTo>
                    <a:pt x="96" y="11"/>
                    <a:pt x="97" y="14"/>
                    <a:pt x="96" y="15"/>
                  </a:cubicBezTo>
                  <a:cubicBezTo>
                    <a:pt x="96" y="16"/>
                    <a:pt x="94" y="18"/>
                    <a:pt x="92" y="18"/>
                  </a:cubicBezTo>
                  <a:cubicBezTo>
                    <a:pt x="91" y="17"/>
                    <a:pt x="90" y="17"/>
                    <a:pt x="91" y="16"/>
                  </a:cubicBezTo>
                  <a:cubicBezTo>
                    <a:pt x="91" y="16"/>
                    <a:pt x="95" y="14"/>
                    <a:pt x="93" y="13"/>
                  </a:cubicBezTo>
                  <a:cubicBezTo>
                    <a:pt x="92" y="13"/>
                    <a:pt x="90" y="14"/>
                    <a:pt x="89" y="15"/>
                  </a:cubicBezTo>
                  <a:cubicBezTo>
                    <a:pt x="89" y="15"/>
                    <a:pt x="88" y="15"/>
                    <a:pt x="88" y="15"/>
                  </a:cubicBezTo>
                  <a:cubicBezTo>
                    <a:pt x="88" y="14"/>
                    <a:pt x="88" y="14"/>
                    <a:pt x="88" y="14"/>
                  </a:cubicBezTo>
                  <a:moveTo>
                    <a:pt x="90" y="18"/>
                  </a:moveTo>
                  <a:cubicBezTo>
                    <a:pt x="91" y="19"/>
                    <a:pt x="95" y="21"/>
                    <a:pt x="95" y="22"/>
                  </a:cubicBezTo>
                  <a:cubicBezTo>
                    <a:pt x="96" y="22"/>
                    <a:pt x="96" y="23"/>
                    <a:pt x="96" y="23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7" y="24"/>
                    <a:pt x="97" y="24"/>
                  </a:cubicBezTo>
                  <a:cubicBezTo>
                    <a:pt x="97" y="25"/>
                    <a:pt x="97" y="26"/>
                    <a:pt x="97" y="28"/>
                  </a:cubicBezTo>
                  <a:cubicBezTo>
                    <a:pt x="97" y="29"/>
                    <a:pt x="99" y="33"/>
                    <a:pt x="98" y="33"/>
                  </a:cubicBezTo>
                  <a:cubicBezTo>
                    <a:pt x="98" y="39"/>
                    <a:pt x="99" y="35"/>
                    <a:pt x="97" y="42"/>
                  </a:cubicBezTo>
                  <a:cubicBezTo>
                    <a:pt x="97" y="43"/>
                    <a:pt x="97" y="49"/>
                    <a:pt x="95" y="49"/>
                  </a:cubicBezTo>
                  <a:cubicBezTo>
                    <a:pt x="93" y="50"/>
                    <a:pt x="91" y="47"/>
                    <a:pt x="89" y="46"/>
                  </a:cubicBezTo>
                  <a:cubicBezTo>
                    <a:pt x="89" y="46"/>
                    <a:pt x="89" y="47"/>
                    <a:pt x="89" y="47"/>
                  </a:cubicBezTo>
                  <a:cubicBezTo>
                    <a:pt x="91" y="47"/>
                    <a:pt x="97" y="45"/>
                    <a:pt x="96" y="43"/>
                  </a:cubicBezTo>
                  <a:cubicBezTo>
                    <a:pt x="95" y="41"/>
                    <a:pt x="93" y="43"/>
                    <a:pt x="92" y="44"/>
                  </a:cubicBezTo>
                  <a:cubicBezTo>
                    <a:pt x="91" y="44"/>
                    <a:pt x="91" y="44"/>
                    <a:pt x="90" y="44"/>
                  </a:cubicBezTo>
                  <a:cubicBezTo>
                    <a:pt x="89" y="44"/>
                    <a:pt x="89" y="44"/>
                    <a:pt x="87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6" y="43"/>
                    <a:pt x="88" y="43"/>
                    <a:pt x="88" y="43"/>
                  </a:cubicBezTo>
                  <a:cubicBezTo>
                    <a:pt x="90" y="43"/>
                    <a:pt x="93" y="41"/>
                    <a:pt x="93" y="39"/>
                  </a:cubicBezTo>
                  <a:cubicBezTo>
                    <a:pt x="93" y="38"/>
                    <a:pt x="93" y="38"/>
                    <a:pt x="92" y="38"/>
                  </a:cubicBezTo>
                  <a:cubicBezTo>
                    <a:pt x="92" y="38"/>
                    <a:pt x="91" y="39"/>
                    <a:pt x="90" y="40"/>
                  </a:cubicBezTo>
                  <a:cubicBezTo>
                    <a:pt x="90" y="41"/>
                    <a:pt x="87" y="41"/>
                    <a:pt x="86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6" y="40"/>
                    <a:pt x="87" y="39"/>
                    <a:pt x="88" y="38"/>
                  </a:cubicBezTo>
                  <a:cubicBezTo>
                    <a:pt x="89" y="38"/>
                    <a:pt x="91" y="35"/>
                    <a:pt x="90" y="35"/>
                  </a:cubicBezTo>
                  <a:cubicBezTo>
                    <a:pt x="89" y="34"/>
                    <a:pt x="89" y="35"/>
                    <a:pt x="88" y="35"/>
                  </a:cubicBezTo>
                  <a:cubicBezTo>
                    <a:pt x="88" y="36"/>
                    <a:pt x="87" y="37"/>
                    <a:pt x="87" y="38"/>
                  </a:cubicBezTo>
                  <a:cubicBezTo>
                    <a:pt x="86" y="38"/>
                    <a:pt x="84" y="39"/>
                    <a:pt x="84" y="40"/>
                  </a:cubicBezTo>
                  <a:cubicBezTo>
                    <a:pt x="83" y="40"/>
                    <a:pt x="82" y="42"/>
                    <a:pt x="83" y="42"/>
                  </a:cubicBezTo>
                  <a:cubicBezTo>
                    <a:pt x="83" y="43"/>
                    <a:pt x="84" y="43"/>
                    <a:pt x="84" y="44"/>
                  </a:cubicBezTo>
                  <a:cubicBezTo>
                    <a:pt x="85" y="44"/>
                    <a:pt x="85" y="44"/>
                    <a:pt x="85" y="45"/>
                  </a:cubicBezTo>
                  <a:cubicBezTo>
                    <a:pt x="83" y="44"/>
                    <a:pt x="81" y="44"/>
                    <a:pt x="80" y="44"/>
                  </a:cubicBezTo>
                  <a:cubicBezTo>
                    <a:pt x="78" y="43"/>
                    <a:pt x="76" y="44"/>
                    <a:pt x="75" y="44"/>
                  </a:cubicBezTo>
                  <a:cubicBezTo>
                    <a:pt x="74" y="45"/>
                    <a:pt x="73" y="44"/>
                    <a:pt x="73" y="43"/>
                  </a:cubicBezTo>
                  <a:cubicBezTo>
                    <a:pt x="74" y="43"/>
                    <a:pt x="74" y="43"/>
                    <a:pt x="74" y="42"/>
                  </a:cubicBezTo>
                  <a:cubicBezTo>
                    <a:pt x="74" y="41"/>
                    <a:pt x="74" y="40"/>
                    <a:pt x="74" y="40"/>
                  </a:cubicBezTo>
                  <a:cubicBezTo>
                    <a:pt x="73" y="39"/>
                    <a:pt x="71" y="38"/>
                    <a:pt x="71" y="37"/>
                  </a:cubicBezTo>
                  <a:cubicBezTo>
                    <a:pt x="70" y="37"/>
                    <a:pt x="70" y="36"/>
                    <a:pt x="69" y="35"/>
                  </a:cubicBezTo>
                  <a:cubicBezTo>
                    <a:pt x="69" y="34"/>
                    <a:pt x="68" y="34"/>
                    <a:pt x="68" y="34"/>
                  </a:cubicBezTo>
                  <a:cubicBezTo>
                    <a:pt x="67" y="35"/>
                    <a:pt x="68" y="37"/>
                    <a:pt x="69" y="38"/>
                  </a:cubicBezTo>
                  <a:cubicBezTo>
                    <a:pt x="70" y="39"/>
                    <a:pt x="72" y="40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1" y="41"/>
                    <a:pt x="68" y="40"/>
                    <a:pt x="67" y="40"/>
                  </a:cubicBezTo>
                  <a:cubicBezTo>
                    <a:pt x="66" y="39"/>
                    <a:pt x="65" y="38"/>
                    <a:pt x="65" y="38"/>
                  </a:cubicBezTo>
                  <a:cubicBezTo>
                    <a:pt x="64" y="38"/>
                    <a:pt x="64" y="38"/>
                    <a:pt x="64" y="39"/>
                  </a:cubicBezTo>
                  <a:cubicBezTo>
                    <a:pt x="64" y="41"/>
                    <a:pt x="67" y="42"/>
                    <a:pt x="69" y="43"/>
                  </a:cubicBezTo>
                  <a:cubicBezTo>
                    <a:pt x="70" y="43"/>
                    <a:pt x="71" y="43"/>
                    <a:pt x="71" y="43"/>
                  </a:cubicBezTo>
                  <a:cubicBezTo>
                    <a:pt x="71" y="44"/>
                    <a:pt x="71" y="44"/>
                    <a:pt x="70" y="44"/>
                  </a:cubicBezTo>
                  <a:cubicBezTo>
                    <a:pt x="68" y="44"/>
                    <a:pt x="68" y="44"/>
                    <a:pt x="67" y="44"/>
                  </a:cubicBezTo>
                  <a:cubicBezTo>
                    <a:pt x="67" y="44"/>
                    <a:pt x="66" y="44"/>
                    <a:pt x="66" y="44"/>
                  </a:cubicBezTo>
                  <a:cubicBezTo>
                    <a:pt x="64" y="43"/>
                    <a:pt x="62" y="41"/>
                    <a:pt x="62" y="42"/>
                  </a:cubicBezTo>
                  <a:cubicBezTo>
                    <a:pt x="61" y="45"/>
                    <a:pt x="66" y="46"/>
                    <a:pt x="68" y="46"/>
                  </a:cubicBezTo>
                  <a:cubicBezTo>
                    <a:pt x="70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0" y="48"/>
                    <a:pt x="68" y="49"/>
                    <a:pt x="66" y="48"/>
                  </a:cubicBezTo>
                  <a:cubicBezTo>
                    <a:pt x="65" y="48"/>
                    <a:pt x="64" y="46"/>
                    <a:pt x="63" y="46"/>
                  </a:cubicBezTo>
                  <a:cubicBezTo>
                    <a:pt x="63" y="46"/>
                    <a:pt x="63" y="46"/>
                    <a:pt x="63" y="47"/>
                  </a:cubicBezTo>
                  <a:cubicBezTo>
                    <a:pt x="63" y="47"/>
                    <a:pt x="65" y="49"/>
                    <a:pt x="66" y="50"/>
                  </a:cubicBezTo>
                  <a:cubicBezTo>
                    <a:pt x="68" y="51"/>
                    <a:pt x="69" y="51"/>
                    <a:pt x="69" y="54"/>
                  </a:cubicBezTo>
                  <a:cubicBezTo>
                    <a:pt x="68" y="55"/>
                    <a:pt x="68" y="55"/>
                    <a:pt x="67" y="55"/>
                  </a:cubicBezTo>
                  <a:cubicBezTo>
                    <a:pt x="66" y="54"/>
                    <a:pt x="63" y="52"/>
                    <a:pt x="62" y="51"/>
                  </a:cubicBezTo>
                  <a:cubicBezTo>
                    <a:pt x="62" y="51"/>
                    <a:pt x="62" y="49"/>
                    <a:pt x="62" y="47"/>
                  </a:cubicBezTo>
                  <a:cubicBezTo>
                    <a:pt x="62" y="45"/>
                    <a:pt x="58" y="34"/>
                    <a:pt x="58" y="33"/>
                  </a:cubicBezTo>
                  <a:cubicBezTo>
                    <a:pt x="59" y="32"/>
                    <a:pt x="60" y="29"/>
                    <a:pt x="60" y="28"/>
                  </a:cubicBezTo>
                  <a:cubicBezTo>
                    <a:pt x="61" y="27"/>
                    <a:pt x="60" y="25"/>
                    <a:pt x="60" y="24"/>
                  </a:cubicBezTo>
                  <a:cubicBezTo>
                    <a:pt x="60" y="24"/>
                    <a:pt x="65" y="19"/>
                    <a:pt x="66" y="19"/>
                  </a:cubicBezTo>
                  <a:cubicBezTo>
                    <a:pt x="69" y="17"/>
                    <a:pt x="70" y="17"/>
                    <a:pt x="74" y="17"/>
                  </a:cubicBezTo>
                  <a:cubicBezTo>
                    <a:pt x="80" y="17"/>
                    <a:pt x="86" y="16"/>
                    <a:pt x="90" y="18"/>
                  </a:cubicBezTo>
                  <a:moveTo>
                    <a:pt x="88" y="8"/>
                  </a:moveTo>
                  <a:cubicBezTo>
                    <a:pt x="88" y="10"/>
                    <a:pt x="88" y="10"/>
                    <a:pt x="88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8"/>
                    <a:pt x="86" y="8"/>
                    <a:pt x="86" y="8"/>
                  </a:cubicBezTo>
                  <a:lnTo>
                    <a:pt x="88" y="8"/>
                  </a:lnTo>
                  <a:close/>
                  <a:moveTo>
                    <a:pt x="83" y="8"/>
                  </a:moveTo>
                  <a:cubicBezTo>
                    <a:pt x="84" y="8"/>
                    <a:pt x="85" y="9"/>
                    <a:pt x="85" y="10"/>
                  </a:cubicBezTo>
                  <a:cubicBezTo>
                    <a:pt x="85" y="12"/>
                    <a:pt x="85" y="15"/>
                    <a:pt x="83" y="15"/>
                  </a:cubicBezTo>
                  <a:cubicBezTo>
                    <a:pt x="83" y="15"/>
                    <a:pt x="82" y="15"/>
                    <a:pt x="82" y="15"/>
                  </a:cubicBezTo>
                  <a:cubicBezTo>
                    <a:pt x="82" y="13"/>
                    <a:pt x="82" y="9"/>
                    <a:pt x="83" y="8"/>
                  </a:cubicBezTo>
                  <a:moveTo>
                    <a:pt x="80" y="5"/>
                  </a:move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2" y="6"/>
                    <a:pt x="82" y="6"/>
                    <a:pt x="82" y="7"/>
                  </a:cubicBezTo>
                  <a:cubicBezTo>
                    <a:pt x="81" y="8"/>
                    <a:pt x="81" y="8"/>
                    <a:pt x="81" y="7"/>
                  </a:cubicBezTo>
                  <a:cubicBezTo>
                    <a:pt x="80" y="5"/>
                    <a:pt x="80" y="5"/>
                    <a:pt x="80" y="5"/>
                  </a:cubicBezTo>
                  <a:moveTo>
                    <a:pt x="77" y="10"/>
                  </a:moveTo>
                  <a:cubicBezTo>
                    <a:pt x="77" y="9"/>
                    <a:pt x="78" y="8"/>
                    <a:pt x="78" y="8"/>
                  </a:cubicBezTo>
                  <a:cubicBezTo>
                    <a:pt x="79" y="8"/>
                    <a:pt x="80" y="10"/>
                    <a:pt x="80" y="11"/>
                  </a:cubicBezTo>
                  <a:cubicBezTo>
                    <a:pt x="80" y="12"/>
                    <a:pt x="80" y="12"/>
                    <a:pt x="79" y="12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7" y="11"/>
                    <a:pt x="77" y="10"/>
                    <a:pt x="77" y="10"/>
                  </a:cubicBezTo>
                  <a:moveTo>
                    <a:pt x="75" y="13"/>
                  </a:moveTo>
                  <a:cubicBezTo>
                    <a:pt x="76" y="14"/>
                    <a:pt x="76" y="15"/>
                    <a:pt x="74" y="15"/>
                  </a:cubicBezTo>
                  <a:cubicBezTo>
                    <a:pt x="72" y="15"/>
                    <a:pt x="72" y="14"/>
                    <a:pt x="72" y="13"/>
                  </a:cubicBezTo>
                  <a:cubicBezTo>
                    <a:pt x="72" y="11"/>
                    <a:pt x="73" y="8"/>
                    <a:pt x="74" y="9"/>
                  </a:cubicBezTo>
                  <a:cubicBezTo>
                    <a:pt x="75" y="9"/>
                    <a:pt x="75" y="11"/>
                    <a:pt x="75" y="13"/>
                  </a:cubicBezTo>
                  <a:moveTo>
                    <a:pt x="70" y="6"/>
                  </a:moveTo>
                  <a:cubicBezTo>
                    <a:pt x="70" y="5"/>
                    <a:pt x="71" y="2"/>
                    <a:pt x="73" y="3"/>
                  </a:cubicBezTo>
                  <a:cubicBezTo>
                    <a:pt x="74" y="3"/>
                    <a:pt x="75" y="5"/>
                    <a:pt x="75" y="6"/>
                  </a:cubicBezTo>
                  <a:cubicBezTo>
                    <a:pt x="74" y="7"/>
                    <a:pt x="74" y="6"/>
                    <a:pt x="73" y="6"/>
                  </a:cubicBezTo>
                  <a:cubicBezTo>
                    <a:pt x="73" y="6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8"/>
                    <a:pt x="70" y="7"/>
                    <a:pt x="70" y="6"/>
                  </a:cubicBezTo>
                  <a:moveTo>
                    <a:pt x="67" y="10"/>
                  </a:moveTo>
                  <a:cubicBezTo>
                    <a:pt x="67" y="10"/>
                    <a:pt x="68" y="9"/>
                    <a:pt x="68" y="9"/>
                  </a:cubicBezTo>
                  <a:cubicBezTo>
                    <a:pt x="69" y="9"/>
                    <a:pt x="70" y="9"/>
                    <a:pt x="70" y="10"/>
                  </a:cubicBezTo>
                  <a:cubicBezTo>
                    <a:pt x="71" y="11"/>
                    <a:pt x="72" y="15"/>
                    <a:pt x="71" y="15"/>
                  </a:cubicBezTo>
                  <a:cubicBezTo>
                    <a:pt x="71" y="15"/>
                    <a:pt x="70" y="15"/>
                    <a:pt x="69" y="15"/>
                  </a:cubicBezTo>
                  <a:cubicBezTo>
                    <a:pt x="69" y="15"/>
                    <a:pt x="69" y="15"/>
                    <a:pt x="68" y="15"/>
                  </a:cubicBezTo>
                  <a:cubicBezTo>
                    <a:pt x="68" y="14"/>
                    <a:pt x="67" y="11"/>
                    <a:pt x="67" y="10"/>
                  </a:cubicBezTo>
                  <a:moveTo>
                    <a:pt x="65" y="7"/>
                  </a:moveTo>
                  <a:cubicBezTo>
                    <a:pt x="65" y="7"/>
                    <a:pt x="65" y="6"/>
                    <a:pt x="66" y="6"/>
                  </a:cubicBezTo>
                  <a:cubicBezTo>
                    <a:pt x="66" y="6"/>
                    <a:pt x="66" y="7"/>
                    <a:pt x="66" y="7"/>
                  </a:cubicBezTo>
                  <a:cubicBezTo>
                    <a:pt x="66" y="8"/>
                    <a:pt x="66" y="8"/>
                    <a:pt x="65" y="8"/>
                  </a:cubicBezTo>
                  <a:cubicBezTo>
                    <a:pt x="65" y="8"/>
                    <a:pt x="65" y="7"/>
                    <a:pt x="65" y="7"/>
                  </a:cubicBezTo>
                  <a:moveTo>
                    <a:pt x="63" y="10"/>
                  </a:moveTo>
                  <a:cubicBezTo>
                    <a:pt x="63" y="9"/>
                    <a:pt x="64" y="9"/>
                    <a:pt x="65" y="10"/>
                  </a:cubicBezTo>
                  <a:cubicBezTo>
                    <a:pt x="65" y="11"/>
                    <a:pt x="67" y="14"/>
                    <a:pt x="67" y="14"/>
                  </a:cubicBezTo>
                  <a:cubicBezTo>
                    <a:pt x="67" y="15"/>
                    <a:pt x="67" y="16"/>
                    <a:pt x="67" y="16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5" y="16"/>
                    <a:pt x="65" y="14"/>
                    <a:pt x="64" y="13"/>
                  </a:cubicBezTo>
                  <a:cubicBezTo>
                    <a:pt x="64" y="12"/>
                    <a:pt x="62" y="11"/>
                    <a:pt x="63" y="10"/>
                  </a:cubicBezTo>
                  <a:moveTo>
                    <a:pt x="55" y="14"/>
                  </a:moveTo>
                  <a:cubicBezTo>
                    <a:pt x="55" y="12"/>
                    <a:pt x="58" y="11"/>
                    <a:pt x="60" y="12"/>
                  </a:cubicBezTo>
                  <a:cubicBezTo>
                    <a:pt x="61" y="12"/>
                    <a:pt x="63" y="14"/>
                    <a:pt x="63" y="15"/>
                  </a:cubicBezTo>
                  <a:cubicBezTo>
                    <a:pt x="63" y="17"/>
                    <a:pt x="59" y="24"/>
                    <a:pt x="57" y="23"/>
                  </a:cubicBezTo>
                  <a:cubicBezTo>
                    <a:pt x="55" y="22"/>
                    <a:pt x="56" y="21"/>
                    <a:pt x="56" y="18"/>
                  </a:cubicBezTo>
                  <a:cubicBezTo>
                    <a:pt x="56" y="17"/>
                    <a:pt x="55" y="17"/>
                    <a:pt x="55" y="16"/>
                  </a:cubicBezTo>
                  <a:cubicBezTo>
                    <a:pt x="55" y="15"/>
                    <a:pt x="55" y="15"/>
                    <a:pt x="55" y="14"/>
                  </a:cubicBezTo>
                  <a:moveTo>
                    <a:pt x="53" y="25"/>
                  </a:moveTo>
                  <a:cubicBezTo>
                    <a:pt x="55" y="24"/>
                    <a:pt x="58" y="26"/>
                    <a:pt x="59" y="27"/>
                  </a:cubicBezTo>
                  <a:cubicBezTo>
                    <a:pt x="59" y="28"/>
                    <a:pt x="58" y="29"/>
                    <a:pt x="58" y="31"/>
                  </a:cubicBezTo>
                  <a:cubicBezTo>
                    <a:pt x="57" y="31"/>
                    <a:pt x="57" y="32"/>
                    <a:pt x="57" y="32"/>
                  </a:cubicBezTo>
                  <a:cubicBezTo>
                    <a:pt x="57" y="33"/>
                    <a:pt x="57" y="33"/>
                    <a:pt x="57" y="35"/>
                  </a:cubicBezTo>
                  <a:cubicBezTo>
                    <a:pt x="57" y="36"/>
                    <a:pt x="57" y="36"/>
                    <a:pt x="56" y="36"/>
                  </a:cubicBezTo>
                  <a:cubicBezTo>
                    <a:pt x="56" y="36"/>
                    <a:pt x="56" y="35"/>
                    <a:pt x="55" y="35"/>
                  </a:cubicBezTo>
                  <a:cubicBezTo>
                    <a:pt x="53" y="33"/>
                    <a:pt x="52" y="33"/>
                    <a:pt x="52" y="31"/>
                  </a:cubicBezTo>
                  <a:cubicBezTo>
                    <a:pt x="52" y="30"/>
                    <a:pt x="52" y="25"/>
                    <a:pt x="53" y="25"/>
                  </a:cubicBezTo>
                  <a:moveTo>
                    <a:pt x="52" y="38"/>
                  </a:moveTo>
                  <a:cubicBezTo>
                    <a:pt x="52" y="38"/>
                    <a:pt x="52" y="37"/>
                    <a:pt x="52" y="37"/>
                  </a:cubicBezTo>
                  <a:cubicBezTo>
                    <a:pt x="53" y="35"/>
                    <a:pt x="55" y="38"/>
                    <a:pt x="56" y="39"/>
                  </a:cubicBezTo>
                  <a:cubicBezTo>
                    <a:pt x="57" y="39"/>
                    <a:pt x="58" y="40"/>
                    <a:pt x="58" y="40"/>
                  </a:cubicBezTo>
                  <a:cubicBezTo>
                    <a:pt x="59" y="41"/>
                    <a:pt x="59" y="43"/>
                    <a:pt x="58" y="44"/>
                  </a:cubicBezTo>
                  <a:cubicBezTo>
                    <a:pt x="58" y="45"/>
                    <a:pt x="54" y="47"/>
                    <a:pt x="53" y="46"/>
                  </a:cubicBezTo>
                  <a:cubicBezTo>
                    <a:pt x="51" y="46"/>
                    <a:pt x="53" y="43"/>
                    <a:pt x="53" y="41"/>
                  </a:cubicBezTo>
                  <a:cubicBezTo>
                    <a:pt x="53" y="40"/>
                    <a:pt x="52" y="40"/>
                    <a:pt x="52" y="39"/>
                  </a:cubicBezTo>
                  <a:cubicBezTo>
                    <a:pt x="52" y="38"/>
                    <a:pt x="52" y="38"/>
                    <a:pt x="52" y="38"/>
                  </a:cubicBezTo>
                  <a:moveTo>
                    <a:pt x="48" y="45"/>
                  </a:moveTo>
                  <a:cubicBezTo>
                    <a:pt x="49" y="44"/>
                    <a:pt x="50" y="40"/>
                    <a:pt x="50" y="40"/>
                  </a:cubicBezTo>
                  <a:cubicBezTo>
                    <a:pt x="50" y="40"/>
                    <a:pt x="50" y="43"/>
                    <a:pt x="50" y="45"/>
                  </a:cubicBezTo>
                  <a:cubicBezTo>
                    <a:pt x="50" y="45"/>
                    <a:pt x="51" y="47"/>
                    <a:pt x="51" y="48"/>
                  </a:cubicBezTo>
                  <a:cubicBezTo>
                    <a:pt x="51" y="48"/>
                    <a:pt x="51" y="49"/>
                    <a:pt x="51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8" y="46"/>
                    <a:pt x="48" y="45"/>
                  </a:cubicBezTo>
                  <a:moveTo>
                    <a:pt x="49" y="52"/>
                  </a:moveTo>
                  <a:cubicBezTo>
                    <a:pt x="50" y="52"/>
                    <a:pt x="52" y="55"/>
                    <a:pt x="52" y="57"/>
                  </a:cubicBezTo>
                  <a:cubicBezTo>
                    <a:pt x="52" y="57"/>
                    <a:pt x="51" y="57"/>
                    <a:pt x="51" y="57"/>
                  </a:cubicBezTo>
                  <a:cubicBezTo>
                    <a:pt x="50" y="57"/>
                    <a:pt x="48" y="54"/>
                    <a:pt x="48" y="53"/>
                  </a:cubicBezTo>
                  <a:cubicBezTo>
                    <a:pt x="48" y="52"/>
                    <a:pt x="48" y="52"/>
                    <a:pt x="49" y="52"/>
                  </a:cubicBezTo>
                  <a:moveTo>
                    <a:pt x="49" y="59"/>
                  </a:moveTo>
                  <a:cubicBezTo>
                    <a:pt x="51" y="60"/>
                    <a:pt x="53" y="61"/>
                    <a:pt x="53" y="63"/>
                  </a:cubicBezTo>
                  <a:cubicBezTo>
                    <a:pt x="54" y="64"/>
                    <a:pt x="53" y="66"/>
                    <a:pt x="51" y="66"/>
                  </a:cubicBezTo>
                  <a:cubicBezTo>
                    <a:pt x="51" y="67"/>
                    <a:pt x="51" y="67"/>
                    <a:pt x="51" y="66"/>
                  </a:cubicBezTo>
                  <a:cubicBezTo>
                    <a:pt x="48" y="65"/>
                    <a:pt x="48" y="63"/>
                    <a:pt x="47" y="60"/>
                  </a:cubicBezTo>
                  <a:cubicBezTo>
                    <a:pt x="47" y="59"/>
                    <a:pt x="47" y="58"/>
                    <a:pt x="49" y="59"/>
                  </a:cubicBezTo>
                  <a:moveTo>
                    <a:pt x="42" y="33"/>
                  </a:moveTo>
                  <a:cubicBezTo>
                    <a:pt x="43" y="33"/>
                    <a:pt x="44" y="34"/>
                    <a:pt x="45" y="35"/>
                  </a:cubicBezTo>
                  <a:cubicBezTo>
                    <a:pt x="45" y="35"/>
                    <a:pt x="48" y="39"/>
                    <a:pt x="47" y="40"/>
                  </a:cubicBezTo>
                  <a:cubicBezTo>
                    <a:pt x="47" y="40"/>
                    <a:pt x="47" y="40"/>
                    <a:pt x="46" y="40"/>
                  </a:cubicBezTo>
                  <a:cubicBezTo>
                    <a:pt x="45" y="39"/>
                    <a:pt x="42" y="39"/>
                    <a:pt x="40" y="38"/>
                  </a:cubicBezTo>
                  <a:cubicBezTo>
                    <a:pt x="39" y="38"/>
                    <a:pt x="39" y="37"/>
                    <a:pt x="39" y="35"/>
                  </a:cubicBezTo>
                  <a:cubicBezTo>
                    <a:pt x="39" y="35"/>
                    <a:pt x="40" y="34"/>
                    <a:pt x="40" y="34"/>
                  </a:cubicBezTo>
                  <a:cubicBezTo>
                    <a:pt x="40" y="34"/>
                    <a:pt x="42" y="33"/>
                    <a:pt x="42" y="33"/>
                  </a:cubicBezTo>
                  <a:moveTo>
                    <a:pt x="39" y="28"/>
                  </a:moveTo>
                  <a:cubicBezTo>
                    <a:pt x="39" y="28"/>
                    <a:pt x="41" y="29"/>
                    <a:pt x="42" y="30"/>
                  </a:cubicBezTo>
                  <a:cubicBezTo>
                    <a:pt x="42" y="30"/>
                    <a:pt x="42" y="31"/>
                    <a:pt x="42" y="31"/>
                  </a:cubicBezTo>
                  <a:cubicBezTo>
                    <a:pt x="41" y="31"/>
                    <a:pt x="41" y="31"/>
                    <a:pt x="40" y="31"/>
                  </a:cubicBezTo>
                  <a:cubicBezTo>
                    <a:pt x="39" y="30"/>
                    <a:pt x="38" y="29"/>
                    <a:pt x="39" y="28"/>
                  </a:cubicBezTo>
                  <a:moveTo>
                    <a:pt x="38" y="41"/>
                  </a:moveTo>
                  <a:cubicBezTo>
                    <a:pt x="39" y="40"/>
                    <a:pt x="39" y="41"/>
                    <a:pt x="40" y="42"/>
                  </a:cubicBezTo>
                  <a:cubicBezTo>
                    <a:pt x="41" y="42"/>
                    <a:pt x="45" y="42"/>
                    <a:pt x="45" y="43"/>
                  </a:cubicBezTo>
                  <a:cubicBezTo>
                    <a:pt x="45" y="43"/>
                    <a:pt x="46" y="44"/>
                    <a:pt x="46" y="45"/>
                  </a:cubicBezTo>
                  <a:cubicBezTo>
                    <a:pt x="46" y="45"/>
                    <a:pt x="46" y="45"/>
                    <a:pt x="47" y="48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6" y="51"/>
                    <a:pt x="46" y="50"/>
                    <a:pt x="45" y="48"/>
                  </a:cubicBezTo>
                  <a:cubicBezTo>
                    <a:pt x="44" y="47"/>
                    <a:pt x="44" y="47"/>
                    <a:pt x="43" y="47"/>
                  </a:cubicBezTo>
                  <a:cubicBezTo>
                    <a:pt x="42" y="46"/>
                    <a:pt x="39" y="45"/>
                    <a:pt x="39" y="45"/>
                  </a:cubicBezTo>
                  <a:cubicBezTo>
                    <a:pt x="38" y="44"/>
                    <a:pt x="38" y="41"/>
                    <a:pt x="38" y="41"/>
                  </a:cubicBezTo>
                  <a:moveTo>
                    <a:pt x="20" y="30"/>
                  </a:moveTo>
                  <a:cubicBezTo>
                    <a:pt x="23" y="27"/>
                    <a:pt x="26" y="27"/>
                    <a:pt x="31" y="26"/>
                  </a:cubicBezTo>
                  <a:cubicBezTo>
                    <a:pt x="32" y="26"/>
                    <a:pt x="32" y="26"/>
                    <a:pt x="33" y="26"/>
                  </a:cubicBezTo>
                  <a:cubicBezTo>
                    <a:pt x="36" y="28"/>
                    <a:pt x="37" y="30"/>
                    <a:pt x="37" y="33"/>
                  </a:cubicBezTo>
                  <a:cubicBezTo>
                    <a:pt x="37" y="35"/>
                    <a:pt x="37" y="36"/>
                    <a:pt x="36" y="39"/>
                  </a:cubicBezTo>
                  <a:cubicBezTo>
                    <a:pt x="36" y="39"/>
                    <a:pt x="35" y="40"/>
                    <a:pt x="36" y="41"/>
                  </a:cubicBezTo>
                  <a:cubicBezTo>
                    <a:pt x="36" y="41"/>
                    <a:pt x="36" y="41"/>
                    <a:pt x="36" y="43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5" y="48"/>
                    <a:pt x="34" y="48"/>
                    <a:pt x="33" y="49"/>
                  </a:cubicBezTo>
                  <a:cubicBezTo>
                    <a:pt x="33" y="49"/>
                    <a:pt x="34" y="50"/>
                    <a:pt x="34" y="51"/>
                  </a:cubicBezTo>
                  <a:cubicBezTo>
                    <a:pt x="35" y="52"/>
                    <a:pt x="35" y="53"/>
                    <a:pt x="35" y="54"/>
                  </a:cubicBezTo>
                  <a:cubicBezTo>
                    <a:pt x="35" y="55"/>
                    <a:pt x="34" y="55"/>
                    <a:pt x="33" y="54"/>
                  </a:cubicBezTo>
                  <a:cubicBezTo>
                    <a:pt x="32" y="54"/>
                    <a:pt x="31" y="53"/>
                    <a:pt x="30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0"/>
                    <a:pt x="29" y="50"/>
                    <a:pt x="30" y="50"/>
                  </a:cubicBezTo>
                  <a:cubicBezTo>
                    <a:pt x="30" y="49"/>
                    <a:pt x="31" y="49"/>
                    <a:pt x="31" y="49"/>
                  </a:cubicBezTo>
                  <a:cubicBezTo>
                    <a:pt x="31" y="48"/>
                    <a:pt x="30" y="48"/>
                    <a:pt x="28" y="48"/>
                  </a:cubicBezTo>
                  <a:cubicBezTo>
                    <a:pt x="28" y="47"/>
                    <a:pt x="28" y="47"/>
                    <a:pt x="27" y="47"/>
                  </a:cubicBezTo>
                  <a:cubicBezTo>
                    <a:pt x="27" y="46"/>
                    <a:pt x="27" y="46"/>
                    <a:pt x="27" y="45"/>
                  </a:cubicBezTo>
                  <a:cubicBezTo>
                    <a:pt x="28" y="45"/>
                    <a:pt x="29" y="44"/>
                    <a:pt x="30" y="44"/>
                  </a:cubicBezTo>
                  <a:cubicBezTo>
                    <a:pt x="31" y="43"/>
                    <a:pt x="32" y="42"/>
                    <a:pt x="32" y="41"/>
                  </a:cubicBezTo>
                  <a:cubicBezTo>
                    <a:pt x="33" y="39"/>
                    <a:pt x="32" y="35"/>
                    <a:pt x="29" y="34"/>
                  </a:cubicBezTo>
                  <a:cubicBezTo>
                    <a:pt x="27" y="34"/>
                    <a:pt x="30" y="38"/>
                    <a:pt x="31" y="39"/>
                  </a:cubicBezTo>
                  <a:cubicBezTo>
                    <a:pt x="31" y="41"/>
                    <a:pt x="30" y="43"/>
                    <a:pt x="28" y="42"/>
                  </a:cubicBezTo>
                  <a:cubicBezTo>
                    <a:pt x="26" y="42"/>
                    <a:pt x="28" y="41"/>
                    <a:pt x="29" y="39"/>
                  </a:cubicBezTo>
                  <a:cubicBezTo>
                    <a:pt x="29" y="39"/>
                    <a:pt x="29" y="38"/>
                    <a:pt x="29" y="37"/>
                  </a:cubicBezTo>
                  <a:cubicBezTo>
                    <a:pt x="28" y="36"/>
                    <a:pt x="27" y="37"/>
                    <a:pt x="25" y="37"/>
                  </a:cubicBezTo>
                  <a:cubicBezTo>
                    <a:pt x="25" y="37"/>
                    <a:pt x="21" y="34"/>
                    <a:pt x="20" y="34"/>
                  </a:cubicBezTo>
                  <a:cubicBezTo>
                    <a:pt x="19" y="33"/>
                    <a:pt x="19" y="32"/>
                    <a:pt x="20" y="30"/>
                  </a:cubicBezTo>
                  <a:moveTo>
                    <a:pt x="9" y="61"/>
                  </a:moveTo>
                  <a:cubicBezTo>
                    <a:pt x="8" y="61"/>
                    <a:pt x="7" y="59"/>
                    <a:pt x="8" y="59"/>
                  </a:cubicBezTo>
                  <a:cubicBezTo>
                    <a:pt x="10" y="56"/>
                    <a:pt x="10" y="56"/>
                    <a:pt x="12" y="56"/>
                  </a:cubicBezTo>
                  <a:cubicBezTo>
                    <a:pt x="13" y="56"/>
                    <a:pt x="13" y="56"/>
                    <a:pt x="13" y="57"/>
                  </a:cubicBezTo>
                  <a:cubicBezTo>
                    <a:pt x="12" y="58"/>
                    <a:pt x="10" y="61"/>
                    <a:pt x="9" y="61"/>
                  </a:cubicBezTo>
                  <a:moveTo>
                    <a:pt x="12" y="66"/>
                  </a:moveTo>
                  <a:cubicBezTo>
                    <a:pt x="11" y="66"/>
                    <a:pt x="10" y="65"/>
                    <a:pt x="10" y="64"/>
                  </a:cubicBezTo>
                  <a:cubicBezTo>
                    <a:pt x="10" y="64"/>
                    <a:pt x="11" y="64"/>
                    <a:pt x="11" y="64"/>
                  </a:cubicBezTo>
                  <a:cubicBezTo>
                    <a:pt x="12" y="63"/>
                    <a:pt x="13" y="64"/>
                    <a:pt x="15" y="64"/>
                  </a:cubicBezTo>
                  <a:cubicBezTo>
                    <a:pt x="16" y="64"/>
                    <a:pt x="16" y="64"/>
                    <a:pt x="17" y="64"/>
                  </a:cubicBezTo>
                  <a:cubicBezTo>
                    <a:pt x="17" y="64"/>
                    <a:pt x="18" y="64"/>
                    <a:pt x="18" y="64"/>
                  </a:cubicBezTo>
                  <a:cubicBezTo>
                    <a:pt x="18" y="64"/>
                    <a:pt x="18" y="65"/>
                    <a:pt x="18" y="65"/>
                  </a:cubicBezTo>
                  <a:cubicBezTo>
                    <a:pt x="16" y="66"/>
                    <a:pt x="14" y="67"/>
                    <a:pt x="12" y="66"/>
                  </a:cubicBezTo>
                  <a:moveTo>
                    <a:pt x="23" y="69"/>
                  </a:moveTo>
                  <a:cubicBezTo>
                    <a:pt x="21" y="70"/>
                    <a:pt x="22" y="71"/>
                    <a:pt x="19" y="73"/>
                  </a:cubicBezTo>
                  <a:cubicBezTo>
                    <a:pt x="19" y="74"/>
                    <a:pt x="17" y="75"/>
                    <a:pt x="16" y="74"/>
                  </a:cubicBezTo>
                  <a:cubicBezTo>
                    <a:pt x="15" y="74"/>
                    <a:pt x="16" y="72"/>
                    <a:pt x="16" y="71"/>
                  </a:cubicBezTo>
                  <a:cubicBezTo>
                    <a:pt x="16" y="70"/>
                    <a:pt x="16" y="69"/>
                    <a:pt x="16" y="69"/>
                  </a:cubicBezTo>
                  <a:cubicBezTo>
                    <a:pt x="19" y="67"/>
                    <a:pt x="20" y="68"/>
                    <a:pt x="21" y="66"/>
                  </a:cubicBezTo>
                  <a:cubicBezTo>
                    <a:pt x="22" y="64"/>
                    <a:pt x="22" y="63"/>
                    <a:pt x="21" y="61"/>
                  </a:cubicBezTo>
                  <a:cubicBezTo>
                    <a:pt x="21" y="61"/>
                    <a:pt x="21" y="60"/>
                    <a:pt x="21" y="60"/>
                  </a:cubicBezTo>
                  <a:cubicBezTo>
                    <a:pt x="21" y="60"/>
                    <a:pt x="25" y="58"/>
                    <a:pt x="24" y="57"/>
                  </a:cubicBezTo>
                  <a:cubicBezTo>
                    <a:pt x="23" y="57"/>
                    <a:pt x="21" y="52"/>
                    <a:pt x="14" y="51"/>
                  </a:cubicBezTo>
                  <a:cubicBezTo>
                    <a:pt x="6" y="52"/>
                    <a:pt x="5" y="58"/>
                    <a:pt x="5" y="58"/>
                  </a:cubicBezTo>
                  <a:cubicBezTo>
                    <a:pt x="4" y="58"/>
                    <a:pt x="3" y="56"/>
                    <a:pt x="3" y="55"/>
                  </a:cubicBezTo>
                  <a:cubicBezTo>
                    <a:pt x="2" y="52"/>
                    <a:pt x="4" y="51"/>
                    <a:pt x="7" y="48"/>
                  </a:cubicBezTo>
                  <a:cubicBezTo>
                    <a:pt x="8" y="47"/>
                    <a:pt x="7" y="46"/>
                    <a:pt x="7" y="44"/>
                  </a:cubicBezTo>
                  <a:cubicBezTo>
                    <a:pt x="7" y="43"/>
                    <a:pt x="7" y="43"/>
                    <a:pt x="8" y="42"/>
                  </a:cubicBezTo>
                  <a:cubicBezTo>
                    <a:pt x="9" y="39"/>
                    <a:pt x="11" y="40"/>
                    <a:pt x="14" y="42"/>
                  </a:cubicBezTo>
                  <a:cubicBezTo>
                    <a:pt x="15" y="42"/>
                    <a:pt x="16" y="43"/>
                    <a:pt x="16" y="43"/>
                  </a:cubicBezTo>
                  <a:cubicBezTo>
                    <a:pt x="16" y="43"/>
                    <a:pt x="16" y="42"/>
                    <a:pt x="16" y="41"/>
                  </a:cubicBezTo>
                  <a:cubicBezTo>
                    <a:pt x="16" y="41"/>
                    <a:pt x="15" y="40"/>
                    <a:pt x="14" y="39"/>
                  </a:cubicBezTo>
                  <a:cubicBezTo>
                    <a:pt x="14" y="39"/>
                    <a:pt x="12" y="39"/>
                    <a:pt x="12" y="39"/>
                  </a:cubicBezTo>
                  <a:cubicBezTo>
                    <a:pt x="12" y="39"/>
                    <a:pt x="17" y="35"/>
                    <a:pt x="18" y="35"/>
                  </a:cubicBezTo>
                  <a:cubicBezTo>
                    <a:pt x="19" y="35"/>
                    <a:pt x="19" y="35"/>
                    <a:pt x="20" y="37"/>
                  </a:cubicBezTo>
                  <a:cubicBezTo>
                    <a:pt x="21" y="37"/>
                    <a:pt x="22" y="38"/>
                    <a:pt x="23" y="38"/>
                  </a:cubicBezTo>
                  <a:cubicBezTo>
                    <a:pt x="24" y="39"/>
                    <a:pt x="24" y="39"/>
                    <a:pt x="25" y="40"/>
                  </a:cubicBezTo>
                  <a:cubicBezTo>
                    <a:pt x="26" y="41"/>
                    <a:pt x="25" y="42"/>
                    <a:pt x="23" y="43"/>
                  </a:cubicBezTo>
                  <a:cubicBezTo>
                    <a:pt x="22" y="43"/>
                    <a:pt x="21" y="44"/>
                    <a:pt x="21" y="44"/>
                  </a:cubicBezTo>
                  <a:cubicBezTo>
                    <a:pt x="20" y="45"/>
                    <a:pt x="25" y="47"/>
                    <a:pt x="25" y="48"/>
                  </a:cubicBezTo>
                  <a:cubicBezTo>
                    <a:pt x="27" y="49"/>
                    <a:pt x="27" y="52"/>
                    <a:pt x="26" y="55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7"/>
                    <a:pt x="26" y="58"/>
                    <a:pt x="26" y="59"/>
                  </a:cubicBezTo>
                  <a:cubicBezTo>
                    <a:pt x="27" y="60"/>
                    <a:pt x="26" y="61"/>
                    <a:pt x="26" y="62"/>
                  </a:cubicBezTo>
                  <a:cubicBezTo>
                    <a:pt x="25" y="62"/>
                    <a:pt x="25" y="63"/>
                    <a:pt x="25" y="63"/>
                  </a:cubicBezTo>
                  <a:cubicBezTo>
                    <a:pt x="25" y="65"/>
                    <a:pt x="26" y="67"/>
                    <a:pt x="26" y="67"/>
                  </a:cubicBezTo>
                  <a:cubicBezTo>
                    <a:pt x="26" y="68"/>
                    <a:pt x="24" y="68"/>
                    <a:pt x="23" y="69"/>
                  </a:cubicBezTo>
                  <a:moveTo>
                    <a:pt x="23" y="86"/>
                  </a:moveTo>
                  <a:cubicBezTo>
                    <a:pt x="24" y="85"/>
                    <a:pt x="25" y="87"/>
                    <a:pt x="25" y="88"/>
                  </a:cubicBezTo>
                  <a:cubicBezTo>
                    <a:pt x="25" y="88"/>
                    <a:pt x="26" y="88"/>
                    <a:pt x="26" y="88"/>
                  </a:cubicBezTo>
                  <a:cubicBezTo>
                    <a:pt x="26" y="89"/>
                    <a:pt x="26" y="89"/>
                    <a:pt x="27" y="90"/>
                  </a:cubicBezTo>
                  <a:cubicBezTo>
                    <a:pt x="27" y="91"/>
                    <a:pt x="27" y="92"/>
                    <a:pt x="28" y="92"/>
                  </a:cubicBezTo>
                  <a:cubicBezTo>
                    <a:pt x="28" y="93"/>
                    <a:pt x="28" y="93"/>
                    <a:pt x="29" y="94"/>
                  </a:cubicBezTo>
                  <a:cubicBezTo>
                    <a:pt x="29" y="94"/>
                    <a:pt x="29" y="94"/>
                    <a:pt x="29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28" y="96"/>
                    <a:pt x="28" y="96"/>
                    <a:pt x="27" y="95"/>
                  </a:cubicBezTo>
                  <a:cubicBezTo>
                    <a:pt x="26" y="94"/>
                    <a:pt x="24" y="91"/>
                    <a:pt x="23" y="89"/>
                  </a:cubicBezTo>
                  <a:cubicBezTo>
                    <a:pt x="23" y="88"/>
                    <a:pt x="22" y="86"/>
                    <a:pt x="23" y="86"/>
                  </a:cubicBezTo>
                  <a:moveTo>
                    <a:pt x="21" y="101"/>
                  </a:moveTo>
                  <a:cubicBezTo>
                    <a:pt x="21" y="101"/>
                    <a:pt x="22" y="100"/>
                    <a:pt x="22" y="99"/>
                  </a:cubicBezTo>
                  <a:cubicBezTo>
                    <a:pt x="22" y="98"/>
                    <a:pt x="21" y="96"/>
                    <a:pt x="21" y="95"/>
                  </a:cubicBezTo>
                  <a:cubicBezTo>
                    <a:pt x="21" y="94"/>
                    <a:pt x="20" y="94"/>
                    <a:pt x="21" y="93"/>
                  </a:cubicBezTo>
                  <a:cubicBezTo>
                    <a:pt x="21" y="93"/>
                    <a:pt x="21" y="92"/>
                    <a:pt x="22" y="92"/>
                  </a:cubicBezTo>
                  <a:cubicBezTo>
                    <a:pt x="23" y="91"/>
                    <a:pt x="26" y="97"/>
                    <a:pt x="26" y="98"/>
                  </a:cubicBezTo>
                  <a:cubicBezTo>
                    <a:pt x="27" y="100"/>
                    <a:pt x="27" y="102"/>
                    <a:pt x="26" y="104"/>
                  </a:cubicBezTo>
                  <a:cubicBezTo>
                    <a:pt x="26" y="105"/>
                    <a:pt x="25" y="107"/>
                    <a:pt x="25" y="107"/>
                  </a:cubicBezTo>
                  <a:cubicBezTo>
                    <a:pt x="25" y="107"/>
                    <a:pt x="23" y="105"/>
                    <a:pt x="22" y="104"/>
                  </a:cubicBezTo>
                  <a:cubicBezTo>
                    <a:pt x="22" y="103"/>
                    <a:pt x="21" y="102"/>
                    <a:pt x="21" y="101"/>
                  </a:cubicBezTo>
                  <a:moveTo>
                    <a:pt x="28" y="117"/>
                  </a:moveTo>
                  <a:cubicBezTo>
                    <a:pt x="28" y="116"/>
                    <a:pt x="28" y="115"/>
                    <a:pt x="28" y="115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7" y="112"/>
                    <a:pt x="24" y="110"/>
                    <a:pt x="23" y="110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4" y="108"/>
                    <a:pt x="25" y="108"/>
                    <a:pt x="26" y="108"/>
                  </a:cubicBezTo>
                  <a:cubicBezTo>
                    <a:pt x="26" y="108"/>
                    <a:pt x="28" y="111"/>
                    <a:pt x="29" y="112"/>
                  </a:cubicBezTo>
                  <a:cubicBezTo>
                    <a:pt x="29" y="113"/>
                    <a:pt x="29" y="114"/>
                    <a:pt x="30" y="115"/>
                  </a:cubicBezTo>
                  <a:cubicBezTo>
                    <a:pt x="31" y="116"/>
                    <a:pt x="32" y="117"/>
                    <a:pt x="32" y="117"/>
                  </a:cubicBezTo>
                  <a:cubicBezTo>
                    <a:pt x="32" y="118"/>
                    <a:pt x="32" y="119"/>
                    <a:pt x="32" y="119"/>
                  </a:cubicBezTo>
                  <a:cubicBezTo>
                    <a:pt x="31" y="120"/>
                    <a:pt x="29" y="118"/>
                    <a:pt x="28" y="117"/>
                  </a:cubicBezTo>
                  <a:moveTo>
                    <a:pt x="33" y="124"/>
                  </a:moveTo>
                  <a:cubicBezTo>
                    <a:pt x="32" y="124"/>
                    <a:pt x="31" y="122"/>
                    <a:pt x="32" y="121"/>
                  </a:cubicBezTo>
                  <a:cubicBezTo>
                    <a:pt x="33" y="120"/>
                    <a:pt x="34" y="121"/>
                    <a:pt x="36" y="122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8" y="121"/>
                    <a:pt x="39" y="120"/>
                    <a:pt x="40" y="120"/>
                  </a:cubicBezTo>
                  <a:cubicBezTo>
                    <a:pt x="40" y="120"/>
                    <a:pt x="40" y="120"/>
                    <a:pt x="41" y="120"/>
                  </a:cubicBezTo>
                  <a:cubicBezTo>
                    <a:pt x="41" y="120"/>
                    <a:pt x="41" y="121"/>
                    <a:pt x="41" y="121"/>
                  </a:cubicBezTo>
                  <a:cubicBezTo>
                    <a:pt x="40" y="122"/>
                    <a:pt x="38" y="123"/>
                    <a:pt x="37" y="124"/>
                  </a:cubicBezTo>
                  <a:cubicBezTo>
                    <a:pt x="36" y="124"/>
                    <a:pt x="34" y="125"/>
                    <a:pt x="33" y="124"/>
                  </a:cubicBezTo>
                  <a:moveTo>
                    <a:pt x="35" y="132"/>
                  </a:moveTo>
                  <a:cubicBezTo>
                    <a:pt x="35" y="131"/>
                    <a:pt x="35" y="128"/>
                    <a:pt x="36" y="127"/>
                  </a:cubicBezTo>
                  <a:cubicBezTo>
                    <a:pt x="36" y="127"/>
                    <a:pt x="37" y="127"/>
                    <a:pt x="37" y="128"/>
                  </a:cubicBezTo>
                  <a:cubicBezTo>
                    <a:pt x="38" y="131"/>
                    <a:pt x="39" y="139"/>
                    <a:pt x="38" y="141"/>
                  </a:cubicBezTo>
                  <a:cubicBezTo>
                    <a:pt x="38" y="141"/>
                    <a:pt x="38" y="144"/>
                    <a:pt x="37" y="144"/>
                  </a:cubicBezTo>
                  <a:cubicBezTo>
                    <a:pt x="37" y="144"/>
                    <a:pt x="36" y="144"/>
                    <a:pt x="36" y="144"/>
                  </a:cubicBezTo>
                  <a:cubicBezTo>
                    <a:pt x="36" y="141"/>
                    <a:pt x="35" y="133"/>
                    <a:pt x="35" y="132"/>
                  </a:cubicBezTo>
                  <a:moveTo>
                    <a:pt x="33" y="182"/>
                  </a:moveTo>
                  <a:cubicBezTo>
                    <a:pt x="33" y="182"/>
                    <a:pt x="34" y="178"/>
                    <a:pt x="35" y="178"/>
                  </a:cubicBezTo>
                  <a:cubicBezTo>
                    <a:pt x="35" y="177"/>
                    <a:pt x="38" y="177"/>
                    <a:pt x="39" y="176"/>
                  </a:cubicBezTo>
                  <a:cubicBezTo>
                    <a:pt x="41" y="175"/>
                    <a:pt x="41" y="174"/>
                    <a:pt x="40" y="172"/>
                  </a:cubicBezTo>
                  <a:cubicBezTo>
                    <a:pt x="39" y="172"/>
                    <a:pt x="39" y="172"/>
                    <a:pt x="38" y="172"/>
                  </a:cubicBezTo>
                  <a:cubicBezTo>
                    <a:pt x="38" y="172"/>
                    <a:pt x="38" y="172"/>
                    <a:pt x="37" y="172"/>
                  </a:cubicBezTo>
                  <a:cubicBezTo>
                    <a:pt x="36" y="169"/>
                    <a:pt x="35" y="162"/>
                    <a:pt x="36" y="159"/>
                  </a:cubicBezTo>
                  <a:cubicBezTo>
                    <a:pt x="37" y="159"/>
                    <a:pt x="37" y="158"/>
                    <a:pt x="37" y="158"/>
                  </a:cubicBezTo>
                  <a:cubicBezTo>
                    <a:pt x="37" y="157"/>
                    <a:pt x="37" y="157"/>
                    <a:pt x="37" y="156"/>
                  </a:cubicBezTo>
                  <a:cubicBezTo>
                    <a:pt x="39" y="150"/>
                    <a:pt x="41" y="140"/>
                    <a:pt x="40" y="134"/>
                  </a:cubicBezTo>
                  <a:cubicBezTo>
                    <a:pt x="40" y="131"/>
                    <a:pt x="39" y="127"/>
                    <a:pt x="39" y="126"/>
                  </a:cubicBezTo>
                  <a:cubicBezTo>
                    <a:pt x="39" y="126"/>
                    <a:pt x="40" y="125"/>
                    <a:pt x="41" y="124"/>
                  </a:cubicBezTo>
                  <a:cubicBezTo>
                    <a:pt x="42" y="123"/>
                    <a:pt x="46" y="117"/>
                    <a:pt x="48" y="115"/>
                  </a:cubicBezTo>
                  <a:cubicBezTo>
                    <a:pt x="48" y="115"/>
                    <a:pt x="49" y="115"/>
                    <a:pt x="49" y="116"/>
                  </a:cubicBezTo>
                  <a:cubicBezTo>
                    <a:pt x="49" y="116"/>
                    <a:pt x="49" y="117"/>
                    <a:pt x="49" y="118"/>
                  </a:cubicBezTo>
                  <a:cubicBezTo>
                    <a:pt x="50" y="119"/>
                    <a:pt x="51" y="121"/>
                    <a:pt x="52" y="122"/>
                  </a:cubicBezTo>
                  <a:cubicBezTo>
                    <a:pt x="52" y="123"/>
                    <a:pt x="51" y="128"/>
                    <a:pt x="51" y="131"/>
                  </a:cubicBezTo>
                  <a:cubicBezTo>
                    <a:pt x="51" y="133"/>
                    <a:pt x="53" y="139"/>
                    <a:pt x="54" y="142"/>
                  </a:cubicBezTo>
                  <a:cubicBezTo>
                    <a:pt x="54" y="147"/>
                    <a:pt x="52" y="157"/>
                    <a:pt x="50" y="161"/>
                  </a:cubicBezTo>
                  <a:cubicBezTo>
                    <a:pt x="49" y="164"/>
                    <a:pt x="46" y="169"/>
                    <a:pt x="46" y="171"/>
                  </a:cubicBezTo>
                  <a:cubicBezTo>
                    <a:pt x="45" y="172"/>
                    <a:pt x="46" y="175"/>
                    <a:pt x="45" y="176"/>
                  </a:cubicBezTo>
                  <a:cubicBezTo>
                    <a:pt x="44" y="177"/>
                    <a:pt x="43" y="177"/>
                    <a:pt x="43" y="178"/>
                  </a:cubicBezTo>
                  <a:cubicBezTo>
                    <a:pt x="42" y="179"/>
                    <a:pt x="42" y="180"/>
                    <a:pt x="41" y="181"/>
                  </a:cubicBezTo>
                  <a:cubicBezTo>
                    <a:pt x="41" y="182"/>
                    <a:pt x="37" y="184"/>
                    <a:pt x="36" y="184"/>
                  </a:cubicBezTo>
                  <a:cubicBezTo>
                    <a:pt x="35" y="184"/>
                    <a:pt x="33" y="184"/>
                    <a:pt x="33" y="184"/>
                  </a:cubicBezTo>
                  <a:cubicBezTo>
                    <a:pt x="32" y="184"/>
                    <a:pt x="32" y="183"/>
                    <a:pt x="33" y="182"/>
                  </a:cubicBezTo>
                  <a:moveTo>
                    <a:pt x="41" y="201"/>
                  </a:moveTo>
                  <a:cubicBezTo>
                    <a:pt x="41" y="202"/>
                    <a:pt x="40" y="201"/>
                    <a:pt x="39" y="200"/>
                  </a:cubicBezTo>
                  <a:cubicBezTo>
                    <a:pt x="38" y="200"/>
                    <a:pt x="38" y="198"/>
                    <a:pt x="38" y="197"/>
                  </a:cubicBezTo>
                  <a:cubicBezTo>
                    <a:pt x="39" y="197"/>
                    <a:pt x="39" y="197"/>
                    <a:pt x="39" y="197"/>
                  </a:cubicBezTo>
                  <a:cubicBezTo>
                    <a:pt x="39" y="197"/>
                    <a:pt x="38" y="195"/>
                    <a:pt x="38" y="194"/>
                  </a:cubicBezTo>
                  <a:cubicBezTo>
                    <a:pt x="38" y="194"/>
                    <a:pt x="38" y="194"/>
                    <a:pt x="38" y="194"/>
                  </a:cubicBezTo>
                  <a:cubicBezTo>
                    <a:pt x="39" y="193"/>
                    <a:pt x="40" y="194"/>
                    <a:pt x="41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6"/>
                    <a:pt x="41" y="197"/>
                  </a:cubicBezTo>
                  <a:cubicBezTo>
                    <a:pt x="40" y="198"/>
                    <a:pt x="41" y="200"/>
                    <a:pt x="41" y="201"/>
                  </a:cubicBezTo>
                  <a:moveTo>
                    <a:pt x="40" y="187"/>
                  </a:moveTo>
                  <a:cubicBezTo>
                    <a:pt x="41" y="187"/>
                    <a:pt x="41" y="187"/>
                    <a:pt x="41" y="188"/>
                  </a:cubicBezTo>
                  <a:cubicBezTo>
                    <a:pt x="41" y="188"/>
                    <a:pt x="40" y="189"/>
                    <a:pt x="40" y="189"/>
                  </a:cubicBezTo>
                  <a:cubicBezTo>
                    <a:pt x="40" y="189"/>
                    <a:pt x="39" y="189"/>
                    <a:pt x="39" y="189"/>
                  </a:cubicBezTo>
                  <a:cubicBezTo>
                    <a:pt x="39" y="189"/>
                    <a:pt x="39" y="187"/>
                    <a:pt x="40" y="187"/>
                  </a:cubicBezTo>
                  <a:moveTo>
                    <a:pt x="36" y="190"/>
                  </a:moveTo>
                  <a:cubicBezTo>
                    <a:pt x="35" y="190"/>
                    <a:pt x="34" y="190"/>
                    <a:pt x="34" y="189"/>
                  </a:cubicBezTo>
                  <a:cubicBezTo>
                    <a:pt x="34" y="188"/>
                    <a:pt x="34" y="188"/>
                    <a:pt x="35" y="187"/>
                  </a:cubicBezTo>
                  <a:cubicBezTo>
                    <a:pt x="36" y="186"/>
                    <a:pt x="37" y="186"/>
                    <a:pt x="37" y="187"/>
                  </a:cubicBezTo>
                  <a:cubicBezTo>
                    <a:pt x="38" y="188"/>
                    <a:pt x="37" y="189"/>
                    <a:pt x="36" y="190"/>
                  </a:cubicBezTo>
                  <a:moveTo>
                    <a:pt x="31" y="189"/>
                  </a:moveTo>
                  <a:cubicBezTo>
                    <a:pt x="30" y="188"/>
                    <a:pt x="30" y="188"/>
                    <a:pt x="30" y="188"/>
                  </a:cubicBezTo>
                  <a:cubicBezTo>
                    <a:pt x="30" y="188"/>
                    <a:pt x="31" y="188"/>
                    <a:pt x="31" y="187"/>
                  </a:cubicBezTo>
                  <a:cubicBezTo>
                    <a:pt x="31" y="187"/>
                    <a:pt x="31" y="188"/>
                    <a:pt x="32" y="188"/>
                  </a:cubicBezTo>
                  <a:cubicBezTo>
                    <a:pt x="32" y="188"/>
                    <a:pt x="32" y="188"/>
                    <a:pt x="32" y="188"/>
                  </a:cubicBezTo>
                  <a:cubicBezTo>
                    <a:pt x="32" y="188"/>
                    <a:pt x="32" y="190"/>
                    <a:pt x="31" y="189"/>
                  </a:cubicBezTo>
                  <a:moveTo>
                    <a:pt x="31" y="177"/>
                  </a:moveTo>
                  <a:cubicBezTo>
                    <a:pt x="31" y="177"/>
                    <a:pt x="32" y="177"/>
                    <a:pt x="32" y="177"/>
                  </a:cubicBezTo>
                  <a:cubicBezTo>
                    <a:pt x="32" y="177"/>
                    <a:pt x="32" y="178"/>
                    <a:pt x="32" y="179"/>
                  </a:cubicBezTo>
                  <a:cubicBezTo>
                    <a:pt x="32" y="180"/>
                    <a:pt x="31" y="181"/>
                    <a:pt x="30" y="181"/>
                  </a:cubicBezTo>
                  <a:cubicBezTo>
                    <a:pt x="30" y="181"/>
                    <a:pt x="30" y="181"/>
                    <a:pt x="30" y="181"/>
                  </a:cubicBezTo>
                  <a:cubicBezTo>
                    <a:pt x="29" y="180"/>
                    <a:pt x="30" y="177"/>
                    <a:pt x="31" y="177"/>
                  </a:cubicBezTo>
                  <a:moveTo>
                    <a:pt x="28" y="183"/>
                  </a:moveTo>
                  <a:cubicBezTo>
                    <a:pt x="28" y="183"/>
                    <a:pt x="29" y="182"/>
                    <a:pt x="29" y="182"/>
                  </a:cubicBezTo>
                  <a:cubicBezTo>
                    <a:pt x="30" y="182"/>
                    <a:pt x="30" y="183"/>
                    <a:pt x="30" y="184"/>
                  </a:cubicBezTo>
                  <a:cubicBezTo>
                    <a:pt x="30" y="185"/>
                    <a:pt x="30" y="185"/>
                    <a:pt x="28" y="185"/>
                  </a:cubicBezTo>
                  <a:cubicBezTo>
                    <a:pt x="28" y="184"/>
                    <a:pt x="28" y="184"/>
                    <a:pt x="28" y="183"/>
                  </a:cubicBezTo>
                  <a:moveTo>
                    <a:pt x="24" y="181"/>
                  </a:moveTo>
                  <a:cubicBezTo>
                    <a:pt x="24" y="180"/>
                    <a:pt x="25" y="178"/>
                    <a:pt x="27" y="179"/>
                  </a:cubicBezTo>
                  <a:cubicBezTo>
                    <a:pt x="28" y="179"/>
                    <a:pt x="26" y="181"/>
                    <a:pt x="26" y="182"/>
                  </a:cubicBezTo>
                  <a:cubicBezTo>
                    <a:pt x="26" y="182"/>
                    <a:pt x="25" y="182"/>
                    <a:pt x="25" y="182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4" y="185"/>
                    <a:pt x="24" y="185"/>
                    <a:pt x="23" y="185"/>
                  </a:cubicBezTo>
                  <a:cubicBezTo>
                    <a:pt x="23" y="185"/>
                    <a:pt x="24" y="182"/>
                    <a:pt x="24" y="181"/>
                  </a:cubicBezTo>
                  <a:moveTo>
                    <a:pt x="27" y="190"/>
                  </a:moveTo>
                  <a:cubicBezTo>
                    <a:pt x="27" y="190"/>
                    <a:pt x="27" y="190"/>
                    <a:pt x="26" y="190"/>
                  </a:cubicBezTo>
                  <a:cubicBezTo>
                    <a:pt x="26" y="190"/>
                    <a:pt x="26" y="190"/>
                    <a:pt x="26" y="189"/>
                  </a:cubicBezTo>
                  <a:cubicBezTo>
                    <a:pt x="26" y="189"/>
                    <a:pt x="26" y="188"/>
                    <a:pt x="27" y="188"/>
                  </a:cubicBezTo>
                  <a:cubicBezTo>
                    <a:pt x="28" y="189"/>
                    <a:pt x="28" y="189"/>
                    <a:pt x="27" y="190"/>
                  </a:cubicBezTo>
                  <a:moveTo>
                    <a:pt x="23" y="191"/>
                  </a:moveTo>
                  <a:cubicBezTo>
                    <a:pt x="23" y="191"/>
                    <a:pt x="23" y="191"/>
                    <a:pt x="23" y="191"/>
                  </a:cubicBezTo>
                  <a:cubicBezTo>
                    <a:pt x="23" y="191"/>
                    <a:pt x="23" y="191"/>
                    <a:pt x="23" y="191"/>
                  </a:cubicBezTo>
                  <a:cubicBezTo>
                    <a:pt x="23" y="191"/>
                    <a:pt x="21" y="191"/>
                    <a:pt x="22" y="191"/>
                  </a:cubicBezTo>
                  <a:cubicBezTo>
                    <a:pt x="24" y="191"/>
                    <a:pt x="24" y="191"/>
                    <a:pt x="23" y="191"/>
                  </a:cubicBezTo>
                  <a:moveTo>
                    <a:pt x="21" y="190"/>
                  </a:moveTo>
                  <a:cubicBezTo>
                    <a:pt x="21" y="190"/>
                    <a:pt x="21" y="190"/>
                    <a:pt x="22" y="190"/>
                  </a:cubicBezTo>
                  <a:cubicBezTo>
                    <a:pt x="22" y="190"/>
                    <a:pt x="22" y="190"/>
                    <a:pt x="22" y="190"/>
                  </a:cubicBezTo>
                  <a:cubicBezTo>
                    <a:pt x="21" y="191"/>
                    <a:pt x="21" y="191"/>
                    <a:pt x="21" y="190"/>
                  </a:cubicBezTo>
                  <a:moveTo>
                    <a:pt x="20" y="228"/>
                  </a:moveTo>
                  <a:cubicBezTo>
                    <a:pt x="20" y="229"/>
                    <a:pt x="17" y="227"/>
                    <a:pt x="17" y="227"/>
                  </a:cubicBezTo>
                  <a:cubicBezTo>
                    <a:pt x="16" y="226"/>
                    <a:pt x="16" y="226"/>
                    <a:pt x="16" y="225"/>
                  </a:cubicBezTo>
                  <a:cubicBezTo>
                    <a:pt x="15" y="224"/>
                    <a:pt x="14" y="219"/>
                    <a:pt x="14" y="216"/>
                  </a:cubicBezTo>
                  <a:cubicBezTo>
                    <a:pt x="14" y="215"/>
                    <a:pt x="14" y="215"/>
                    <a:pt x="13" y="215"/>
                  </a:cubicBezTo>
                  <a:cubicBezTo>
                    <a:pt x="13" y="215"/>
                    <a:pt x="13" y="214"/>
                    <a:pt x="13" y="214"/>
                  </a:cubicBezTo>
                  <a:cubicBezTo>
                    <a:pt x="13" y="214"/>
                    <a:pt x="13" y="213"/>
                    <a:pt x="14" y="213"/>
                  </a:cubicBezTo>
                  <a:cubicBezTo>
                    <a:pt x="14" y="213"/>
                    <a:pt x="16" y="214"/>
                    <a:pt x="16" y="215"/>
                  </a:cubicBezTo>
                  <a:cubicBezTo>
                    <a:pt x="16" y="215"/>
                    <a:pt x="16" y="215"/>
                    <a:pt x="18" y="217"/>
                  </a:cubicBezTo>
                  <a:cubicBezTo>
                    <a:pt x="19" y="217"/>
                    <a:pt x="19" y="217"/>
                    <a:pt x="20" y="217"/>
                  </a:cubicBezTo>
                  <a:cubicBezTo>
                    <a:pt x="20" y="217"/>
                    <a:pt x="20" y="217"/>
                    <a:pt x="20" y="217"/>
                  </a:cubicBezTo>
                  <a:cubicBezTo>
                    <a:pt x="20" y="217"/>
                    <a:pt x="20" y="216"/>
                    <a:pt x="20" y="216"/>
                  </a:cubicBezTo>
                  <a:cubicBezTo>
                    <a:pt x="20" y="216"/>
                    <a:pt x="20" y="216"/>
                    <a:pt x="20" y="217"/>
                  </a:cubicBezTo>
                  <a:cubicBezTo>
                    <a:pt x="20" y="217"/>
                    <a:pt x="20" y="217"/>
                    <a:pt x="21" y="217"/>
                  </a:cubicBezTo>
                  <a:cubicBezTo>
                    <a:pt x="21" y="217"/>
                    <a:pt x="21" y="217"/>
                    <a:pt x="20" y="217"/>
                  </a:cubicBezTo>
                  <a:cubicBezTo>
                    <a:pt x="19" y="217"/>
                    <a:pt x="19" y="218"/>
                    <a:pt x="19" y="218"/>
                  </a:cubicBezTo>
                  <a:cubicBezTo>
                    <a:pt x="19" y="219"/>
                    <a:pt x="20" y="226"/>
                    <a:pt x="20" y="227"/>
                  </a:cubicBezTo>
                  <a:cubicBezTo>
                    <a:pt x="20" y="227"/>
                    <a:pt x="21" y="228"/>
                    <a:pt x="20" y="228"/>
                  </a:cubicBezTo>
                  <a:moveTo>
                    <a:pt x="23" y="227"/>
                  </a:moveTo>
                  <a:cubicBezTo>
                    <a:pt x="22" y="227"/>
                    <a:pt x="22" y="227"/>
                    <a:pt x="21" y="225"/>
                  </a:cubicBezTo>
                  <a:cubicBezTo>
                    <a:pt x="21" y="224"/>
                    <a:pt x="21" y="224"/>
                    <a:pt x="22" y="225"/>
                  </a:cubicBezTo>
                  <a:cubicBezTo>
                    <a:pt x="24" y="228"/>
                    <a:pt x="23" y="228"/>
                    <a:pt x="23" y="227"/>
                  </a:cubicBezTo>
                  <a:moveTo>
                    <a:pt x="38" y="226"/>
                  </a:moveTo>
                  <a:cubicBezTo>
                    <a:pt x="38" y="227"/>
                    <a:pt x="38" y="227"/>
                    <a:pt x="38" y="227"/>
                  </a:cubicBezTo>
                  <a:cubicBezTo>
                    <a:pt x="38" y="228"/>
                    <a:pt x="37" y="229"/>
                    <a:pt x="31" y="229"/>
                  </a:cubicBezTo>
                  <a:cubicBezTo>
                    <a:pt x="26" y="229"/>
                    <a:pt x="26" y="229"/>
                    <a:pt x="27" y="229"/>
                  </a:cubicBezTo>
                  <a:cubicBezTo>
                    <a:pt x="27" y="229"/>
                    <a:pt x="28" y="228"/>
                    <a:pt x="28" y="228"/>
                  </a:cubicBezTo>
                  <a:cubicBezTo>
                    <a:pt x="28" y="228"/>
                    <a:pt x="28" y="227"/>
                    <a:pt x="28" y="227"/>
                  </a:cubicBezTo>
                  <a:cubicBezTo>
                    <a:pt x="28" y="226"/>
                    <a:pt x="30" y="225"/>
                    <a:pt x="30" y="225"/>
                  </a:cubicBezTo>
                  <a:cubicBezTo>
                    <a:pt x="31" y="225"/>
                    <a:pt x="33" y="225"/>
                    <a:pt x="33" y="225"/>
                  </a:cubicBezTo>
                  <a:cubicBezTo>
                    <a:pt x="33" y="225"/>
                    <a:pt x="33" y="224"/>
                    <a:pt x="33" y="224"/>
                  </a:cubicBezTo>
                  <a:cubicBezTo>
                    <a:pt x="33" y="222"/>
                    <a:pt x="39" y="222"/>
                    <a:pt x="40" y="222"/>
                  </a:cubicBezTo>
                  <a:cubicBezTo>
                    <a:pt x="40" y="222"/>
                    <a:pt x="41" y="222"/>
                    <a:pt x="41" y="223"/>
                  </a:cubicBezTo>
                  <a:cubicBezTo>
                    <a:pt x="42" y="223"/>
                    <a:pt x="43" y="225"/>
                    <a:pt x="43" y="225"/>
                  </a:cubicBezTo>
                  <a:cubicBezTo>
                    <a:pt x="43" y="225"/>
                    <a:pt x="38" y="226"/>
                    <a:pt x="38" y="226"/>
                  </a:cubicBezTo>
                  <a:cubicBezTo>
                    <a:pt x="37" y="226"/>
                    <a:pt x="38" y="226"/>
                    <a:pt x="38" y="226"/>
                  </a:cubicBezTo>
                  <a:moveTo>
                    <a:pt x="49" y="228"/>
                  </a:moveTo>
                  <a:cubicBezTo>
                    <a:pt x="49" y="228"/>
                    <a:pt x="48" y="223"/>
                    <a:pt x="38" y="222"/>
                  </a:cubicBezTo>
                  <a:cubicBezTo>
                    <a:pt x="35" y="221"/>
                    <a:pt x="27" y="226"/>
                    <a:pt x="25" y="225"/>
                  </a:cubicBezTo>
                  <a:cubicBezTo>
                    <a:pt x="17" y="222"/>
                    <a:pt x="21" y="219"/>
                    <a:pt x="21" y="218"/>
                  </a:cubicBezTo>
                  <a:cubicBezTo>
                    <a:pt x="21" y="215"/>
                    <a:pt x="17" y="212"/>
                    <a:pt x="18" y="211"/>
                  </a:cubicBezTo>
                  <a:cubicBezTo>
                    <a:pt x="18" y="209"/>
                    <a:pt x="18" y="208"/>
                    <a:pt x="18" y="207"/>
                  </a:cubicBezTo>
                  <a:cubicBezTo>
                    <a:pt x="18" y="205"/>
                    <a:pt x="17" y="204"/>
                    <a:pt x="17" y="202"/>
                  </a:cubicBezTo>
                  <a:cubicBezTo>
                    <a:pt x="16" y="199"/>
                    <a:pt x="15" y="195"/>
                    <a:pt x="19" y="194"/>
                  </a:cubicBezTo>
                  <a:cubicBezTo>
                    <a:pt x="20" y="194"/>
                    <a:pt x="21" y="195"/>
                    <a:pt x="21" y="196"/>
                  </a:cubicBezTo>
                  <a:cubicBezTo>
                    <a:pt x="21" y="197"/>
                    <a:pt x="19" y="197"/>
                    <a:pt x="19" y="198"/>
                  </a:cubicBezTo>
                  <a:cubicBezTo>
                    <a:pt x="18" y="199"/>
                    <a:pt x="18" y="201"/>
                    <a:pt x="19" y="201"/>
                  </a:cubicBezTo>
                  <a:cubicBezTo>
                    <a:pt x="19" y="201"/>
                    <a:pt x="20" y="199"/>
                    <a:pt x="20" y="199"/>
                  </a:cubicBezTo>
                  <a:cubicBezTo>
                    <a:pt x="21" y="198"/>
                    <a:pt x="21" y="194"/>
                    <a:pt x="22" y="194"/>
                  </a:cubicBezTo>
                  <a:cubicBezTo>
                    <a:pt x="24" y="193"/>
                    <a:pt x="24" y="196"/>
                    <a:pt x="23" y="198"/>
                  </a:cubicBezTo>
                  <a:cubicBezTo>
                    <a:pt x="23" y="200"/>
                    <a:pt x="20" y="204"/>
                    <a:pt x="23" y="206"/>
                  </a:cubicBezTo>
                  <a:cubicBezTo>
                    <a:pt x="24" y="206"/>
                    <a:pt x="25" y="206"/>
                    <a:pt x="26" y="206"/>
                  </a:cubicBezTo>
                  <a:cubicBezTo>
                    <a:pt x="26" y="207"/>
                    <a:pt x="27" y="210"/>
                    <a:pt x="27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6" y="214"/>
                    <a:pt x="26" y="216"/>
                    <a:pt x="26" y="217"/>
                  </a:cubicBezTo>
                  <a:cubicBezTo>
                    <a:pt x="26" y="218"/>
                    <a:pt x="25" y="219"/>
                    <a:pt x="24" y="220"/>
                  </a:cubicBezTo>
                  <a:cubicBezTo>
                    <a:pt x="23" y="222"/>
                    <a:pt x="23" y="223"/>
                    <a:pt x="26" y="224"/>
                  </a:cubicBezTo>
                  <a:cubicBezTo>
                    <a:pt x="28" y="224"/>
                    <a:pt x="31" y="222"/>
                    <a:pt x="33" y="220"/>
                  </a:cubicBezTo>
                  <a:cubicBezTo>
                    <a:pt x="33" y="219"/>
                    <a:pt x="33" y="219"/>
                    <a:pt x="34" y="218"/>
                  </a:cubicBezTo>
                  <a:cubicBezTo>
                    <a:pt x="34" y="218"/>
                    <a:pt x="36" y="219"/>
                    <a:pt x="37" y="219"/>
                  </a:cubicBezTo>
                  <a:cubicBezTo>
                    <a:pt x="38" y="220"/>
                    <a:pt x="41" y="219"/>
                    <a:pt x="42" y="219"/>
                  </a:cubicBezTo>
                  <a:cubicBezTo>
                    <a:pt x="43" y="219"/>
                    <a:pt x="50" y="223"/>
                    <a:pt x="50" y="223"/>
                  </a:cubicBezTo>
                  <a:cubicBezTo>
                    <a:pt x="52" y="225"/>
                    <a:pt x="52" y="228"/>
                    <a:pt x="49" y="228"/>
                  </a:cubicBezTo>
                  <a:moveTo>
                    <a:pt x="57" y="223"/>
                  </a:moveTo>
                  <a:cubicBezTo>
                    <a:pt x="46" y="223"/>
                    <a:pt x="45" y="218"/>
                    <a:pt x="43" y="217"/>
                  </a:cubicBezTo>
                  <a:cubicBezTo>
                    <a:pt x="37" y="217"/>
                    <a:pt x="37" y="217"/>
                    <a:pt x="37" y="217"/>
                  </a:cubicBezTo>
                  <a:cubicBezTo>
                    <a:pt x="37" y="216"/>
                    <a:pt x="34" y="216"/>
                    <a:pt x="34" y="216"/>
                  </a:cubicBezTo>
                  <a:cubicBezTo>
                    <a:pt x="32" y="216"/>
                    <a:pt x="31" y="219"/>
                    <a:pt x="30" y="221"/>
                  </a:cubicBezTo>
                  <a:cubicBezTo>
                    <a:pt x="29" y="221"/>
                    <a:pt x="27" y="222"/>
                    <a:pt x="27" y="222"/>
                  </a:cubicBezTo>
                  <a:cubicBezTo>
                    <a:pt x="26" y="222"/>
                    <a:pt x="26" y="221"/>
                    <a:pt x="26" y="220"/>
                  </a:cubicBezTo>
                  <a:cubicBezTo>
                    <a:pt x="26" y="220"/>
                    <a:pt x="28" y="219"/>
                    <a:pt x="28" y="218"/>
                  </a:cubicBezTo>
                  <a:cubicBezTo>
                    <a:pt x="28" y="218"/>
                    <a:pt x="28" y="217"/>
                    <a:pt x="28" y="217"/>
                  </a:cubicBezTo>
                  <a:cubicBezTo>
                    <a:pt x="28" y="216"/>
                    <a:pt x="28" y="214"/>
                    <a:pt x="28" y="213"/>
                  </a:cubicBezTo>
                  <a:cubicBezTo>
                    <a:pt x="28" y="212"/>
                    <a:pt x="29" y="212"/>
                    <a:pt x="29" y="211"/>
                  </a:cubicBezTo>
                  <a:cubicBezTo>
                    <a:pt x="30" y="209"/>
                    <a:pt x="28" y="209"/>
                    <a:pt x="28" y="207"/>
                  </a:cubicBezTo>
                  <a:cubicBezTo>
                    <a:pt x="28" y="206"/>
                    <a:pt x="29" y="202"/>
                    <a:pt x="29" y="202"/>
                  </a:cubicBezTo>
                  <a:cubicBezTo>
                    <a:pt x="28" y="201"/>
                    <a:pt x="27" y="202"/>
                    <a:pt x="26" y="203"/>
                  </a:cubicBezTo>
                  <a:cubicBezTo>
                    <a:pt x="25" y="203"/>
                    <a:pt x="25" y="203"/>
                    <a:pt x="25" y="203"/>
                  </a:cubicBezTo>
                  <a:cubicBezTo>
                    <a:pt x="23" y="202"/>
                    <a:pt x="25" y="201"/>
                    <a:pt x="25" y="199"/>
                  </a:cubicBezTo>
                  <a:cubicBezTo>
                    <a:pt x="25" y="198"/>
                    <a:pt x="25" y="197"/>
                    <a:pt x="25" y="196"/>
                  </a:cubicBezTo>
                  <a:cubicBezTo>
                    <a:pt x="25" y="195"/>
                    <a:pt x="25" y="194"/>
                    <a:pt x="26" y="194"/>
                  </a:cubicBezTo>
                  <a:cubicBezTo>
                    <a:pt x="28" y="193"/>
                    <a:pt x="33" y="193"/>
                    <a:pt x="34" y="193"/>
                  </a:cubicBezTo>
                  <a:cubicBezTo>
                    <a:pt x="34" y="194"/>
                    <a:pt x="37" y="196"/>
                    <a:pt x="37" y="197"/>
                  </a:cubicBezTo>
                  <a:cubicBezTo>
                    <a:pt x="37" y="198"/>
                    <a:pt x="36" y="198"/>
                    <a:pt x="36" y="198"/>
                  </a:cubicBezTo>
                  <a:cubicBezTo>
                    <a:pt x="36" y="199"/>
                    <a:pt x="36" y="199"/>
                    <a:pt x="36" y="201"/>
                  </a:cubicBezTo>
                  <a:cubicBezTo>
                    <a:pt x="36" y="201"/>
                    <a:pt x="36" y="201"/>
                    <a:pt x="36" y="201"/>
                  </a:cubicBezTo>
                  <a:cubicBezTo>
                    <a:pt x="36" y="202"/>
                    <a:pt x="34" y="204"/>
                    <a:pt x="34" y="206"/>
                  </a:cubicBezTo>
                  <a:cubicBezTo>
                    <a:pt x="34" y="207"/>
                    <a:pt x="35" y="208"/>
                    <a:pt x="35" y="209"/>
                  </a:cubicBezTo>
                  <a:cubicBezTo>
                    <a:pt x="36" y="209"/>
                    <a:pt x="36" y="209"/>
                    <a:pt x="37" y="209"/>
                  </a:cubicBezTo>
                  <a:cubicBezTo>
                    <a:pt x="37" y="208"/>
                    <a:pt x="35" y="208"/>
                    <a:pt x="35" y="206"/>
                  </a:cubicBezTo>
                  <a:cubicBezTo>
                    <a:pt x="35" y="205"/>
                    <a:pt x="37" y="202"/>
                    <a:pt x="37" y="201"/>
                  </a:cubicBezTo>
                  <a:cubicBezTo>
                    <a:pt x="37" y="201"/>
                    <a:pt x="37" y="201"/>
                    <a:pt x="38" y="201"/>
                  </a:cubicBezTo>
                  <a:cubicBezTo>
                    <a:pt x="40" y="201"/>
                    <a:pt x="39" y="203"/>
                    <a:pt x="40" y="205"/>
                  </a:cubicBezTo>
                  <a:cubicBezTo>
                    <a:pt x="40" y="206"/>
                    <a:pt x="41" y="208"/>
                    <a:pt x="42" y="208"/>
                  </a:cubicBezTo>
                  <a:cubicBezTo>
                    <a:pt x="43" y="209"/>
                    <a:pt x="47" y="207"/>
                    <a:pt x="47" y="207"/>
                  </a:cubicBezTo>
                  <a:cubicBezTo>
                    <a:pt x="48" y="207"/>
                    <a:pt x="48" y="208"/>
                    <a:pt x="49" y="209"/>
                  </a:cubicBezTo>
                  <a:cubicBezTo>
                    <a:pt x="50" y="210"/>
                    <a:pt x="52" y="209"/>
                    <a:pt x="53" y="209"/>
                  </a:cubicBezTo>
                  <a:cubicBezTo>
                    <a:pt x="54" y="208"/>
                    <a:pt x="55" y="205"/>
                    <a:pt x="55" y="204"/>
                  </a:cubicBezTo>
                  <a:cubicBezTo>
                    <a:pt x="56" y="202"/>
                    <a:pt x="56" y="201"/>
                    <a:pt x="56" y="199"/>
                  </a:cubicBezTo>
                  <a:cubicBezTo>
                    <a:pt x="56" y="198"/>
                    <a:pt x="57" y="196"/>
                    <a:pt x="59" y="195"/>
                  </a:cubicBezTo>
                  <a:cubicBezTo>
                    <a:pt x="60" y="195"/>
                    <a:pt x="60" y="195"/>
                    <a:pt x="59" y="196"/>
                  </a:cubicBezTo>
                  <a:cubicBezTo>
                    <a:pt x="59" y="200"/>
                    <a:pt x="57" y="208"/>
                    <a:pt x="57" y="209"/>
                  </a:cubicBezTo>
                  <a:cubicBezTo>
                    <a:pt x="56" y="211"/>
                    <a:pt x="55" y="211"/>
                    <a:pt x="53" y="211"/>
                  </a:cubicBezTo>
                  <a:cubicBezTo>
                    <a:pt x="52" y="211"/>
                    <a:pt x="52" y="212"/>
                    <a:pt x="52" y="212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53" y="213"/>
                    <a:pt x="53" y="212"/>
                    <a:pt x="54" y="212"/>
                  </a:cubicBezTo>
                  <a:cubicBezTo>
                    <a:pt x="54" y="212"/>
                    <a:pt x="55" y="211"/>
                    <a:pt x="56" y="211"/>
                  </a:cubicBezTo>
                  <a:cubicBezTo>
                    <a:pt x="57" y="211"/>
                    <a:pt x="58" y="211"/>
                    <a:pt x="58" y="211"/>
                  </a:cubicBezTo>
                  <a:cubicBezTo>
                    <a:pt x="58" y="211"/>
                    <a:pt x="58" y="215"/>
                    <a:pt x="51" y="213"/>
                  </a:cubicBezTo>
                  <a:cubicBezTo>
                    <a:pt x="52" y="215"/>
                    <a:pt x="55" y="218"/>
                    <a:pt x="56" y="218"/>
                  </a:cubicBezTo>
                  <a:cubicBezTo>
                    <a:pt x="57" y="218"/>
                    <a:pt x="68" y="223"/>
                    <a:pt x="57" y="223"/>
                  </a:cubicBezTo>
                  <a:moveTo>
                    <a:pt x="66" y="229"/>
                  </a:moveTo>
                  <a:cubicBezTo>
                    <a:pt x="65" y="229"/>
                    <a:pt x="63" y="229"/>
                    <a:pt x="62" y="228"/>
                  </a:cubicBezTo>
                  <a:cubicBezTo>
                    <a:pt x="62" y="228"/>
                    <a:pt x="62" y="228"/>
                    <a:pt x="61" y="225"/>
                  </a:cubicBezTo>
                  <a:cubicBezTo>
                    <a:pt x="60" y="223"/>
                    <a:pt x="65" y="226"/>
                    <a:pt x="66" y="228"/>
                  </a:cubicBezTo>
                  <a:cubicBezTo>
                    <a:pt x="66" y="228"/>
                    <a:pt x="66" y="229"/>
                    <a:pt x="66" y="229"/>
                  </a:cubicBezTo>
                  <a:moveTo>
                    <a:pt x="59" y="208"/>
                  </a:moveTo>
                  <a:cubicBezTo>
                    <a:pt x="59" y="195"/>
                    <a:pt x="69" y="185"/>
                    <a:pt x="82" y="185"/>
                  </a:cubicBezTo>
                  <a:cubicBezTo>
                    <a:pt x="94" y="185"/>
                    <a:pt x="104" y="195"/>
                    <a:pt x="104" y="208"/>
                  </a:cubicBezTo>
                  <a:cubicBezTo>
                    <a:pt x="104" y="220"/>
                    <a:pt x="94" y="230"/>
                    <a:pt x="82" y="230"/>
                  </a:cubicBezTo>
                  <a:cubicBezTo>
                    <a:pt x="69" y="230"/>
                    <a:pt x="59" y="220"/>
                    <a:pt x="59" y="208"/>
                  </a:cubicBezTo>
                  <a:moveTo>
                    <a:pt x="109" y="224"/>
                  </a:moveTo>
                  <a:cubicBezTo>
                    <a:pt x="108" y="227"/>
                    <a:pt x="105" y="227"/>
                    <a:pt x="103" y="227"/>
                  </a:cubicBezTo>
                  <a:cubicBezTo>
                    <a:pt x="101" y="228"/>
                    <a:pt x="98" y="228"/>
                    <a:pt x="98" y="228"/>
                  </a:cubicBezTo>
                  <a:cubicBezTo>
                    <a:pt x="98" y="228"/>
                    <a:pt x="97" y="227"/>
                    <a:pt x="97" y="227"/>
                  </a:cubicBezTo>
                  <a:cubicBezTo>
                    <a:pt x="97" y="227"/>
                    <a:pt x="101" y="224"/>
                    <a:pt x="102" y="221"/>
                  </a:cubicBezTo>
                  <a:cubicBezTo>
                    <a:pt x="104" y="219"/>
                    <a:pt x="105" y="217"/>
                    <a:pt x="105" y="215"/>
                  </a:cubicBezTo>
                  <a:cubicBezTo>
                    <a:pt x="106" y="213"/>
                    <a:pt x="106" y="210"/>
                    <a:pt x="106" y="210"/>
                  </a:cubicBezTo>
                  <a:cubicBezTo>
                    <a:pt x="106" y="210"/>
                    <a:pt x="108" y="211"/>
                    <a:pt x="108" y="211"/>
                  </a:cubicBezTo>
                  <a:cubicBezTo>
                    <a:pt x="109" y="213"/>
                    <a:pt x="109" y="213"/>
                    <a:pt x="109" y="215"/>
                  </a:cubicBezTo>
                  <a:cubicBezTo>
                    <a:pt x="109" y="216"/>
                    <a:pt x="111" y="217"/>
                    <a:pt x="111" y="219"/>
                  </a:cubicBezTo>
                  <a:cubicBezTo>
                    <a:pt x="111" y="219"/>
                    <a:pt x="110" y="219"/>
                    <a:pt x="109" y="224"/>
                  </a:cubicBezTo>
                  <a:moveTo>
                    <a:pt x="121" y="226"/>
                  </a:moveTo>
                  <a:cubicBezTo>
                    <a:pt x="121" y="227"/>
                    <a:pt x="121" y="227"/>
                    <a:pt x="121" y="227"/>
                  </a:cubicBezTo>
                  <a:cubicBezTo>
                    <a:pt x="120" y="227"/>
                    <a:pt x="120" y="227"/>
                    <a:pt x="120" y="227"/>
                  </a:cubicBezTo>
                  <a:cubicBezTo>
                    <a:pt x="119" y="225"/>
                    <a:pt x="120" y="224"/>
                    <a:pt x="121" y="222"/>
                  </a:cubicBezTo>
                  <a:cubicBezTo>
                    <a:pt x="121" y="221"/>
                    <a:pt x="120" y="219"/>
                    <a:pt x="121" y="219"/>
                  </a:cubicBezTo>
                  <a:cubicBezTo>
                    <a:pt x="121" y="218"/>
                    <a:pt x="123" y="218"/>
                    <a:pt x="124" y="219"/>
                  </a:cubicBezTo>
                  <a:cubicBezTo>
                    <a:pt x="125" y="220"/>
                    <a:pt x="125" y="220"/>
                    <a:pt x="124" y="222"/>
                  </a:cubicBezTo>
                  <a:cubicBezTo>
                    <a:pt x="123" y="223"/>
                    <a:pt x="122" y="224"/>
                    <a:pt x="121" y="226"/>
                  </a:cubicBezTo>
                  <a:moveTo>
                    <a:pt x="132" y="226"/>
                  </a:moveTo>
                  <a:cubicBezTo>
                    <a:pt x="132" y="227"/>
                    <a:pt x="131" y="227"/>
                    <a:pt x="131" y="227"/>
                  </a:cubicBezTo>
                  <a:cubicBezTo>
                    <a:pt x="130" y="227"/>
                    <a:pt x="130" y="227"/>
                    <a:pt x="130" y="226"/>
                  </a:cubicBezTo>
                  <a:cubicBezTo>
                    <a:pt x="130" y="225"/>
                    <a:pt x="130" y="225"/>
                    <a:pt x="130" y="225"/>
                  </a:cubicBezTo>
                  <a:cubicBezTo>
                    <a:pt x="131" y="224"/>
                    <a:pt x="131" y="224"/>
                    <a:pt x="131" y="224"/>
                  </a:cubicBezTo>
                  <a:cubicBezTo>
                    <a:pt x="131" y="224"/>
                    <a:pt x="131" y="224"/>
                    <a:pt x="132" y="224"/>
                  </a:cubicBezTo>
                  <a:cubicBezTo>
                    <a:pt x="132" y="224"/>
                    <a:pt x="132" y="225"/>
                    <a:pt x="132" y="226"/>
                  </a:cubicBezTo>
                  <a:moveTo>
                    <a:pt x="132" y="218"/>
                  </a:moveTo>
                  <a:cubicBezTo>
                    <a:pt x="131" y="219"/>
                    <a:pt x="130" y="219"/>
                    <a:pt x="130" y="220"/>
                  </a:cubicBezTo>
                  <a:cubicBezTo>
                    <a:pt x="129" y="222"/>
                    <a:pt x="128" y="224"/>
                    <a:pt x="127" y="225"/>
                  </a:cubicBezTo>
                  <a:cubicBezTo>
                    <a:pt x="126" y="227"/>
                    <a:pt x="125" y="227"/>
                    <a:pt x="124" y="226"/>
                  </a:cubicBezTo>
                  <a:cubicBezTo>
                    <a:pt x="122" y="225"/>
                    <a:pt x="124" y="224"/>
                    <a:pt x="126" y="222"/>
                  </a:cubicBezTo>
                  <a:cubicBezTo>
                    <a:pt x="127" y="221"/>
                    <a:pt x="128" y="219"/>
                    <a:pt x="128" y="218"/>
                  </a:cubicBezTo>
                  <a:cubicBezTo>
                    <a:pt x="128" y="217"/>
                    <a:pt x="128" y="216"/>
                    <a:pt x="128" y="216"/>
                  </a:cubicBezTo>
                  <a:cubicBezTo>
                    <a:pt x="128" y="216"/>
                    <a:pt x="126" y="217"/>
                    <a:pt x="124" y="217"/>
                  </a:cubicBezTo>
                  <a:cubicBezTo>
                    <a:pt x="124" y="217"/>
                    <a:pt x="124" y="216"/>
                    <a:pt x="123" y="216"/>
                  </a:cubicBezTo>
                  <a:cubicBezTo>
                    <a:pt x="123" y="216"/>
                    <a:pt x="123" y="216"/>
                    <a:pt x="123" y="213"/>
                  </a:cubicBezTo>
                  <a:cubicBezTo>
                    <a:pt x="123" y="210"/>
                    <a:pt x="123" y="210"/>
                    <a:pt x="123" y="210"/>
                  </a:cubicBezTo>
                  <a:cubicBezTo>
                    <a:pt x="122" y="209"/>
                    <a:pt x="121" y="210"/>
                    <a:pt x="121" y="211"/>
                  </a:cubicBezTo>
                  <a:cubicBezTo>
                    <a:pt x="121" y="212"/>
                    <a:pt x="121" y="213"/>
                    <a:pt x="121" y="214"/>
                  </a:cubicBezTo>
                  <a:cubicBezTo>
                    <a:pt x="121" y="215"/>
                    <a:pt x="119" y="216"/>
                    <a:pt x="119" y="217"/>
                  </a:cubicBezTo>
                  <a:cubicBezTo>
                    <a:pt x="119" y="219"/>
                    <a:pt x="119" y="219"/>
                    <a:pt x="119" y="221"/>
                  </a:cubicBezTo>
                  <a:cubicBezTo>
                    <a:pt x="119" y="223"/>
                    <a:pt x="118" y="226"/>
                    <a:pt x="116" y="227"/>
                  </a:cubicBezTo>
                  <a:cubicBezTo>
                    <a:pt x="114" y="227"/>
                    <a:pt x="115" y="224"/>
                    <a:pt x="116" y="222"/>
                  </a:cubicBezTo>
                  <a:cubicBezTo>
                    <a:pt x="116" y="221"/>
                    <a:pt x="115" y="217"/>
                    <a:pt x="114" y="216"/>
                  </a:cubicBezTo>
                  <a:cubicBezTo>
                    <a:pt x="112" y="215"/>
                    <a:pt x="110" y="215"/>
                    <a:pt x="111" y="213"/>
                  </a:cubicBezTo>
                  <a:cubicBezTo>
                    <a:pt x="111" y="213"/>
                    <a:pt x="113" y="211"/>
                    <a:pt x="113" y="211"/>
                  </a:cubicBezTo>
                  <a:cubicBezTo>
                    <a:pt x="113" y="211"/>
                    <a:pt x="111" y="211"/>
                    <a:pt x="111" y="210"/>
                  </a:cubicBezTo>
                  <a:cubicBezTo>
                    <a:pt x="110" y="210"/>
                    <a:pt x="109" y="208"/>
                    <a:pt x="109" y="207"/>
                  </a:cubicBezTo>
                  <a:cubicBezTo>
                    <a:pt x="110" y="206"/>
                    <a:pt x="110" y="205"/>
                    <a:pt x="110" y="205"/>
                  </a:cubicBezTo>
                  <a:cubicBezTo>
                    <a:pt x="110" y="204"/>
                    <a:pt x="109" y="203"/>
                    <a:pt x="109" y="202"/>
                  </a:cubicBezTo>
                  <a:cubicBezTo>
                    <a:pt x="109" y="202"/>
                    <a:pt x="109" y="201"/>
                    <a:pt x="109" y="200"/>
                  </a:cubicBezTo>
                  <a:cubicBezTo>
                    <a:pt x="109" y="200"/>
                    <a:pt x="109" y="199"/>
                    <a:pt x="109" y="198"/>
                  </a:cubicBezTo>
                  <a:cubicBezTo>
                    <a:pt x="109" y="196"/>
                    <a:pt x="110" y="196"/>
                    <a:pt x="112" y="195"/>
                  </a:cubicBezTo>
                  <a:cubicBezTo>
                    <a:pt x="115" y="194"/>
                    <a:pt x="117" y="195"/>
                    <a:pt x="117" y="198"/>
                  </a:cubicBezTo>
                  <a:cubicBezTo>
                    <a:pt x="117" y="200"/>
                    <a:pt x="116" y="200"/>
                    <a:pt x="114" y="202"/>
                  </a:cubicBezTo>
                  <a:cubicBezTo>
                    <a:pt x="114" y="203"/>
                    <a:pt x="112" y="206"/>
                    <a:pt x="113" y="207"/>
                  </a:cubicBezTo>
                  <a:cubicBezTo>
                    <a:pt x="115" y="208"/>
                    <a:pt x="115" y="205"/>
                    <a:pt x="116" y="204"/>
                  </a:cubicBezTo>
                  <a:cubicBezTo>
                    <a:pt x="116" y="204"/>
                    <a:pt x="116" y="203"/>
                    <a:pt x="116" y="203"/>
                  </a:cubicBezTo>
                  <a:cubicBezTo>
                    <a:pt x="117" y="202"/>
                    <a:pt x="121" y="200"/>
                    <a:pt x="122" y="200"/>
                  </a:cubicBezTo>
                  <a:cubicBezTo>
                    <a:pt x="124" y="201"/>
                    <a:pt x="123" y="203"/>
                    <a:pt x="122" y="205"/>
                  </a:cubicBezTo>
                  <a:cubicBezTo>
                    <a:pt x="122" y="206"/>
                    <a:pt x="122" y="207"/>
                    <a:pt x="123" y="207"/>
                  </a:cubicBezTo>
                  <a:cubicBezTo>
                    <a:pt x="125" y="209"/>
                    <a:pt x="126" y="208"/>
                    <a:pt x="128" y="208"/>
                  </a:cubicBezTo>
                  <a:cubicBezTo>
                    <a:pt x="130" y="208"/>
                    <a:pt x="131" y="209"/>
                    <a:pt x="132" y="210"/>
                  </a:cubicBezTo>
                  <a:cubicBezTo>
                    <a:pt x="134" y="211"/>
                    <a:pt x="133" y="216"/>
                    <a:pt x="132" y="218"/>
                  </a:cubicBezTo>
                  <a:moveTo>
                    <a:pt x="120" y="190"/>
                  </a:moveTo>
                  <a:cubicBezTo>
                    <a:pt x="121" y="190"/>
                    <a:pt x="121" y="192"/>
                    <a:pt x="122" y="192"/>
                  </a:cubicBezTo>
                  <a:cubicBezTo>
                    <a:pt x="123" y="192"/>
                    <a:pt x="123" y="192"/>
                    <a:pt x="125" y="199"/>
                  </a:cubicBezTo>
                  <a:cubicBezTo>
                    <a:pt x="127" y="206"/>
                    <a:pt x="126" y="206"/>
                    <a:pt x="126" y="206"/>
                  </a:cubicBezTo>
                  <a:cubicBezTo>
                    <a:pt x="124" y="205"/>
                    <a:pt x="125" y="204"/>
                    <a:pt x="125" y="202"/>
                  </a:cubicBezTo>
                  <a:cubicBezTo>
                    <a:pt x="125" y="202"/>
                    <a:pt x="125" y="201"/>
                    <a:pt x="125" y="200"/>
                  </a:cubicBezTo>
                  <a:cubicBezTo>
                    <a:pt x="124" y="198"/>
                    <a:pt x="122" y="198"/>
                    <a:pt x="120" y="198"/>
                  </a:cubicBezTo>
                  <a:cubicBezTo>
                    <a:pt x="118" y="198"/>
                    <a:pt x="119" y="197"/>
                    <a:pt x="118" y="195"/>
                  </a:cubicBezTo>
                  <a:cubicBezTo>
                    <a:pt x="117" y="192"/>
                    <a:pt x="116" y="190"/>
                    <a:pt x="114" y="191"/>
                  </a:cubicBezTo>
                  <a:cubicBezTo>
                    <a:pt x="113" y="191"/>
                    <a:pt x="112" y="192"/>
                    <a:pt x="111" y="192"/>
                  </a:cubicBezTo>
                  <a:cubicBezTo>
                    <a:pt x="111" y="193"/>
                    <a:pt x="111" y="192"/>
                    <a:pt x="110" y="192"/>
                  </a:cubicBezTo>
                  <a:cubicBezTo>
                    <a:pt x="109" y="191"/>
                    <a:pt x="109" y="191"/>
                    <a:pt x="109" y="190"/>
                  </a:cubicBezTo>
                  <a:cubicBezTo>
                    <a:pt x="110" y="188"/>
                    <a:pt x="120" y="190"/>
                    <a:pt x="120" y="190"/>
                  </a:cubicBezTo>
                  <a:moveTo>
                    <a:pt x="117" y="187"/>
                  </a:moveTo>
                  <a:cubicBezTo>
                    <a:pt x="117" y="188"/>
                    <a:pt x="117" y="188"/>
                    <a:pt x="117" y="187"/>
                  </a:cubicBezTo>
                  <a:cubicBezTo>
                    <a:pt x="117" y="187"/>
                    <a:pt x="116" y="187"/>
                    <a:pt x="116" y="187"/>
                  </a:cubicBezTo>
                  <a:cubicBezTo>
                    <a:pt x="116" y="186"/>
                    <a:pt x="116" y="186"/>
                    <a:pt x="117" y="187"/>
                  </a:cubicBezTo>
                  <a:moveTo>
                    <a:pt x="118" y="186"/>
                  </a:moveTo>
                  <a:cubicBezTo>
                    <a:pt x="119" y="186"/>
                    <a:pt x="119" y="186"/>
                    <a:pt x="119" y="186"/>
                  </a:cubicBezTo>
                  <a:cubicBezTo>
                    <a:pt x="119" y="186"/>
                    <a:pt x="119" y="186"/>
                    <a:pt x="118" y="186"/>
                  </a:cubicBezTo>
                  <a:cubicBezTo>
                    <a:pt x="118" y="186"/>
                    <a:pt x="118" y="186"/>
                    <a:pt x="118" y="186"/>
                  </a:cubicBezTo>
                  <a:moveTo>
                    <a:pt x="125" y="187"/>
                  </a:moveTo>
                  <a:cubicBezTo>
                    <a:pt x="125" y="188"/>
                    <a:pt x="123" y="188"/>
                    <a:pt x="122" y="187"/>
                  </a:cubicBezTo>
                  <a:cubicBezTo>
                    <a:pt x="122" y="187"/>
                    <a:pt x="122" y="187"/>
                    <a:pt x="122" y="186"/>
                  </a:cubicBezTo>
                  <a:cubicBezTo>
                    <a:pt x="123" y="185"/>
                    <a:pt x="123" y="185"/>
                    <a:pt x="123" y="185"/>
                  </a:cubicBezTo>
                  <a:cubicBezTo>
                    <a:pt x="124" y="186"/>
                    <a:pt x="125" y="187"/>
                    <a:pt x="125" y="187"/>
                  </a:cubicBezTo>
                  <a:moveTo>
                    <a:pt x="126" y="194"/>
                  </a:moveTo>
                  <a:cubicBezTo>
                    <a:pt x="126" y="195"/>
                    <a:pt x="126" y="195"/>
                    <a:pt x="126" y="195"/>
                  </a:cubicBezTo>
                  <a:cubicBezTo>
                    <a:pt x="126" y="195"/>
                    <a:pt x="125" y="195"/>
                    <a:pt x="125" y="194"/>
                  </a:cubicBezTo>
                  <a:cubicBezTo>
                    <a:pt x="125" y="194"/>
                    <a:pt x="125" y="192"/>
                    <a:pt x="126" y="194"/>
                  </a:cubicBezTo>
                  <a:moveTo>
                    <a:pt x="113" y="187"/>
                  </a:moveTo>
                  <a:cubicBezTo>
                    <a:pt x="112" y="188"/>
                    <a:pt x="110" y="187"/>
                    <a:pt x="110" y="186"/>
                  </a:cubicBezTo>
                  <a:cubicBezTo>
                    <a:pt x="110" y="185"/>
                    <a:pt x="110" y="185"/>
                    <a:pt x="110" y="185"/>
                  </a:cubicBezTo>
                  <a:cubicBezTo>
                    <a:pt x="111" y="185"/>
                    <a:pt x="111" y="185"/>
                    <a:pt x="112" y="185"/>
                  </a:cubicBezTo>
                  <a:cubicBezTo>
                    <a:pt x="113" y="185"/>
                    <a:pt x="114" y="186"/>
                    <a:pt x="114" y="186"/>
                  </a:cubicBezTo>
                  <a:cubicBezTo>
                    <a:pt x="114" y="187"/>
                    <a:pt x="114" y="187"/>
                    <a:pt x="113" y="187"/>
                  </a:cubicBezTo>
                  <a:moveTo>
                    <a:pt x="113" y="182"/>
                  </a:moveTo>
                  <a:cubicBezTo>
                    <a:pt x="113" y="182"/>
                    <a:pt x="111" y="182"/>
                    <a:pt x="110" y="182"/>
                  </a:cubicBezTo>
                  <a:cubicBezTo>
                    <a:pt x="108" y="182"/>
                    <a:pt x="109" y="177"/>
                    <a:pt x="109" y="175"/>
                  </a:cubicBezTo>
                  <a:cubicBezTo>
                    <a:pt x="109" y="175"/>
                    <a:pt x="110" y="175"/>
                    <a:pt x="110" y="175"/>
                  </a:cubicBezTo>
                  <a:cubicBezTo>
                    <a:pt x="110" y="175"/>
                    <a:pt x="112" y="180"/>
                    <a:pt x="113" y="181"/>
                  </a:cubicBezTo>
                  <a:cubicBezTo>
                    <a:pt x="113" y="181"/>
                    <a:pt x="113" y="181"/>
                    <a:pt x="113" y="182"/>
                  </a:cubicBezTo>
                  <a:moveTo>
                    <a:pt x="130" y="195"/>
                  </a:moveTo>
                  <a:cubicBezTo>
                    <a:pt x="131" y="206"/>
                    <a:pt x="131" y="206"/>
                    <a:pt x="131" y="206"/>
                  </a:cubicBezTo>
                  <a:cubicBezTo>
                    <a:pt x="127" y="201"/>
                    <a:pt x="127" y="201"/>
                    <a:pt x="127" y="201"/>
                  </a:cubicBezTo>
                  <a:lnTo>
                    <a:pt x="130" y="195"/>
                  </a:lnTo>
                  <a:close/>
                  <a:moveTo>
                    <a:pt x="129" y="186"/>
                  </a:moveTo>
                  <a:cubicBezTo>
                    <a:pt x="129" y="186"/>
                    <a:pt x="129" y="186"/>
                    <a:pt x="130" y="185"/>
                  </a:cubicBezTo>
                  <a:cubicBezTo>
                    <a:pt x="130" y="185"/>
                    <a:pt x="131" y="186"/>
                    <a:pt x="131" y="186"/>
                  </a:cubicBezTo>
                  <a:cubicBezTo>
                    <a:pt x="131" y="187"/>
                    <a:pt x="131" y="188"/>
                    <a:pt x="130" y="188"/>
                  </a:cubicBezTo>
                  <a:cubicBezTo>
                    <a:pt x="129" y="188"/>
                    <a:pt x="129" y="188"/>
                    <a:pt x="129" y="187"/>
                  </a:cubicBezTo>
                  <a:cubicBezTo>
                    <a:pt x="128" y="187"/>
                    <a:pt x="128" y="187"/>
                    <a:pt x="129" y="186"/>
                  </a:cubicBezTo>
                  <a:moveTo>
                    <a:pt x="138" y="194"/>
                  </a:moveTo>
                  <a:cubicBezTo>
                    <a:pt x="138" y="193"/>
                    <a:pt x="139" y="193"/>
                    <a:pt x="139" y="193"/>
                  </a:cubicBezTo>
                  <a:cubicBezTo>
                    <a:pt x="140" y="193"/>
                    <a:pt x="140" y="194"/>
                    <a:pt x="140" y="194"/>
                  </a:cubicBezTo>
                  <a:cubicBezTo>
                    <a:pt x="140" y="196"/>
                    <a:pt x="142" y="201"/>
                    <a:pt x="142" y="202"/>
                  </a:cubicBezTo>
                  <a:cubicBezTo>
                    <a:pt x="143" y="204"/>
                    <a:pt x="140" y="218"/>
                    <a:pt x="140" y="218"/>
                  </a:cubicBezTo>
                  <a:cubicBezTo>
                    <a:pt x="141" y="218"/>
                    <a:pt x="141" y="218"/>
                    <a:pt x="141" y="218"/>
                  </a:cubicBezTo>
                  <a:cubicBezTo>
                    <a:pt x="143" y="216"/>
                    <a:pt x="145" y="209"/>
                    <a:pt x="145" y="207"/>
                  </a:cubicBezTo>
                  <a:cubicBezTo>
                    <a:pt x="145" y="206"/>
                    <a:pt x="145" y="205"/>
                    <a:pt x="145" y="204"/>
                  </a:cubicBezTo>
                  <a:cubicBezTo>
                    <a:pt x="146" y="204"/>
                    <a:pt x="148" y="205"/>
                    <a:pt x="148" y="206"/>
                  </a:cubicBezTo>
                  <a:cubicBezTo>
                    <a:pt x="148" y="207"/>
                    <a:pt x="147" y="208"/>
                    <a:pt x="147" y="209"/>
                  </a:cubicBezTo>
                  <a:cubicBezTo>
                    <a:pt x="147" y="210"/>
                    <a:pt x="147" y="211"/>
                    <a:pt x="146" y="212"/>
                  </a:cubicBezTo>
                  <a:cubicBezTo>
                    <a:pt x="146" y="215"/>
                    <a:pt x="145" y="215"/>
                    <a:pt x="143" y="217"/>
                  </a:cubicBezTo>
                  <a:cubicBezTo>
                    <a:pt x="143" y="218"/>
                    <a:pt x="143" y="220"/>
                    <a:pt x="142" y="221"/>
                  </a:cubicBezTo>
                  <a:cubicBezTo>
                    <a:pt x="142" y="221"/>
                    <a:pt x="142" y="222"/>
                    <a:pt x="141" y="222"/>
                  </a:cubicBezTo>
                  <a:cubicBezTo>
                    <a:pt x="141" y="223"/>
                    <a:pt x="140" y="223"/>
                    <a:pt x="140" y="222"/>
                  </a:cubicBezTo>
                  <a:cubicBezTo>
                    <a:pt x="140" y="222"/>
                    <a:pt x="140" y="222"/>
                    <a:pt x="140" y="221"/>
                  </a:cubicBezTo>
                  <a:cubicBezTo>
                    <a:pt x="140" y="220"/>
                    <a:pt x="140" y="220"/>
                    <a:pt x="139" y="220"/>
                  </a:cubicBezTo>
                  <a:cubicBezTo>
                    <a:pt x="139" y="219"/>
                    <a:pt x="139" y="208"/>
                    <a:pt x="139" y="207"/>
                  </a:cubicBezTo>
                  <a:cubicBezTo>
                    <a:pt x="139" y="207"/>
                    <a:pt x="139" y="206"/>
                    <a:pt x="139" y="206"/>
                  </a:cubicBezTo>
                  <a:cubicBezTo>
                    <a:pt x="140" y="205"/>
                    <a:pt x="138" y="197"/>
                    <a:pt x="138" y="194"/>
                  </a:cubicBezTo>
                  <a:moveTo>
                    <a:pt x="138" y="219"/>
                  </a:moveTo>
                  <a:cubicBezTo>
                    <a:pt x="137" y="220"/>
                    <a:pt x="136" y="223"/>
                    <a:pt x="135" y="223"/>
                  </a:cubicBezTo>
                  <a:cubicBezTo>
                    <a:pt x="134" y="223"/>
                    <a:pt x="134" y="223"/>
                    <a:pt x="133" y="223"/>
                  </a:cubicBezTo>
                  <a:cubicBezTo>
                    <a:pt x="133" y="222"/>
                    <a:pt x="133" y="222"/>
                    <a:pt x="134" y="221"/>
                  </a:cubicBezTo>
                  <a:cubicBezTo>
                    <a:pt x="134" y="220"/>
                    <a:pt x="135" y="220"/>
                    <a:pt x="135" y="219"/>
                  </a:cubicBezTo>
                  <a:cubicBezTo>
                    <a:pt x="135" y="219"/>
                    <a:pt x="135" y="219"/>
                    <a:pt x="136" y="218"/>
                  </a:cubicBezTo>
                  <a:cubicBezTo>
                    <a:pt x="138" y="218"/>
                    <a:pt x="138" y="218"/>
                    <a:pt x="138" y="219"/>
                  </a:cubicBezTo>
                  <a:moveTo>
                    <a:pt x="133" y="185"/>
                  </a:moveTo>
                  <a:cubicBezTo>
                    <a:pt x="134" y="185"/>
                    <a:pt x="136" y="186"/>
                    <a:pt x="136" y="187"/>
                  </a:cubicBezTo>
                  <a:cubicBezTo>
                    <a:pt x="136" y="187"/>
                    <a:pt x="136" y="188"/>
                    <a:pt x="136" y="188"/>
                  </a:cubicBezTo>
                  <a:cubicBezTo>
                    <a:pt x="135" y="188"/>
                    <a:pt x="135" y="188"/>
                    <a:pt x="135" y="188"/>
                  </a:cubicBezTo>
                  <a:cubicBezTo>
                    <a:pt x="134" y="188"/>
                    <a:pt x="134" y="187"/>
                    <a:pt x="134" y="187"/>
                  </a:cubicBezTo>
                  <a:cubicBezTo>
                    <a:pt x="133" y="186"/>
                    <a:pt x="133" y="186"/>
                    <a:pt x="133" y="185"/>
                  </a:cubicBezTo>
                  <a:moveTo>
                    <a:pt x="133" y="200"/>
                  </a:moveTo>
                  <a:cubicBezTo>
                    <a:pt x="133" y="200"/>
                    <a:pt x="134" y="196"/>
                    <a:pt x="134" y="196"/>
                  </a:cubicBezTo>
                  <a:cubicBezTo>
                    <a:pt x="134" y="196"/>
                    <a:pt x="135" y="197"/>
                    <a:pt x="135" y="197"/>
                  </a:cubicBezTo>
                  <a:cubicBezTo>
                    <a:pt x="136" y="197"/>
                    <a:pt x="136" y="197"/>
                    <a:pt x="137" y="197"/>
                  </a:cubicBezTo>
                  <a:cubicBezTo>
                    <a:pt x="137" y="198"/>
                    <a:pt x="137" y="198"/>
                    <a:pt x="136" y="205"/>
                  </a:cubicBezTo>
                  <a:cubicBezTo>
                    <a:pt x="135" y="211"/>
                    <a:pt x="135" y="211"/>
                    <a:pt x="134" y="210"/>
                  </a:cubicBezTo>
                  <a:cubicBezTo>
                    <a:pt x="134" y="210"/>
                    <a:pt x="134" y="209"/>
                    <a:pt x="133" y="208"/>
                  </a:cubicBezTo>
                  <a:cubicBezTo>
                    <a:pt x="133" y="208"/>
                    <a:pt x="132" y="207"/>
                    <a:pt x="131" y="207"/>
                  </a:cubicBezTo>
                  <a:cubicBezTo>
                    <a:pt x="131" y="206"/>
                    <a:pt x="131" y="202"/>
                    <a:pt x="132" y="201"/>
                  </a:cubicBezTo>
                  <a:cubicBezTo>
                    <a:pt x="132" y="201"/>
                    <a:pt x="133" y="201"/>
                    <a:pt x="133" y="200"/>
                  </a:cubicBezTo>
                  <a:moveTo>
                    <a:pt x="127" y="174"/>
                  </a:moveTo>
                  <a:cubicBezTo>
                    <a:pt x="128" y="173"/>
                    <a:pt x="129" y="173"/>
                    <a:pt x="130" y="173"/>
                  </a:cubicBezTo>
                  <a:cubicBezTo>
                    <a:pt x="132" y="173"/>
                    <a:pt x="133" y="174"/>
                    <a:pt x="132" y="176"/>
                  </a:cubicBezTo>
                  <a:cubicBezTo>
                    <a:pt x="131" y="177"/>
                    <a:pt x="131" y="176"/>
                    <a:pt x="130" y="175"/>
                  </a:cubicBezTo>
                  <a:cubicBezTo>
                    <a:pt x="129" y="175"/>
                    <a:pt x="129" y="176"/>
                    <a:pt x="129" y="176"/>
                  </a:cubicBezTo>
                  <a:cubicBezTo>
                    <a:pt x="129" y="177"/>
                    <a:pt x="130" y="178"/>
                    <a:pt x="130" y="180"/>
                  </a:cubicBezTo>
                  <a:cubicBezTo>
                    <a:pt x="131" y="180"/>
                    <a:pt x="131" y="181"/>
                    <a:pt x="130" y="182"/>
                  </a:cubicBezTo>
                  <a:cubicBezTo>
                    <a:pt x="130" y="182"/>
                    <a:pt x="130" y="182"/>
                    <a:pt x="130" y="182"/>
                  </a:cubicBezTo>
                  <a:cubicBezTo>
                    <a:pt x="128" y="181"/>
                    <a:pt x="128" y="180"/>
                    <a:pt x="127" y="178"/>
                  </a:cubicBezTo>
                  <a:cubicBezTo>
                    <a:pt x="126" y="177"/>
                    <a:pt x="126" y="177"/>
                    <a:pt x="125" y="178"/>
                  </a:cubicBezTo>
                  <a:cubicBezTo>
                    <a:pt x="124" y="178"/>
                    <a:pt x="125" y="180"/>
                    <a:pt x="126" y="181"/>
                  </a:cubicBezTo>
                  <a:cubicBezTo>
                    <a:pt x="126" y="182"/>
                    <a:pt x="126" y="182"/>
                    <a:pt x="126" y="182"/>
                  </a:cubicBezTo>
                  <a:cubicBezTo>
                    <a:pt x="125" y="183"/>
                    <a:pt x="124" y="182"/>
                    <a:pt x="124" y="182"/>
                  </a:cubicBezTo>
                  <a:cubicBezTo>
                    <a:pt x="123" y="181"/>
                    <a:pt x="123" y="180"/>
                    <a:pt x="123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1" y="180"/>
                    <a:pt x="122" y="182"/>
                    <a:pt x="121" y="183"/>
                  </a:cubicBezTo>
                  <a:cubicBezTo>
                    <a:pt x="121" y="183"/>
                    <a:pt x="121" y="183"/>
                    <a:pt x="121" y="183"/>
                  </a:cubicBezTo>
                  <a:cubicBezTo>
                    <a:pt x="119" y="184"/>
                    <a:pt x="118" y="183"/>
                    <a:pt x="117" y="182"/>
                  </a:cubicBezTo>
                  <a:cubicBezTo>
                    <a:pt x="112" y="178"/>
                    <a:pt x="113" y="176"/>
                    <a:pt x="111" y="170"/>
                  </a:cubicBezTo>
                  <a:cubicBezTo>
                    <a:pt x="111" y="169"/>
                    <a:pt x="110" y="168"/>
                    <a:pt x="110" y="167"/>
                  </a:cubicBezTo>
                  <a:cubicBezTo>
                    <a:pt x="108" y="164"/>
                    <a:pt x="107" y="159"/>
                    <a:pt x="106" y="157"/>
                  </a:cubicBezTo>
                  <a:cubicBezTo>
                    <a:pt x="106" y="156"/>
                    <a:pt x="105" y="155"/>
                    <a:pt x="105" y="155"/>
                  </a:cubicBezTo>
                  <a:cubicBezTo>
                    <a:pt x="103" y="152"/>
                    <a:pt x="105" y="152"/>
                    <a:pt x="106" y="145"/>
                  </a:cubicBezTo>
                  <a:cubicBezTo>
                    <a:pt x="106" y="144"/>
                    <a:pt x="106" y="143"/>
                    <a:pt x="106" y="142"/>
                  </a:cubicBezTo>
                  <a:cubicBezTo>
                    <a:pt x="106" y="141"/>
                    <a:pt x="106" y="140"/>
                    <a:pt x="106" y="139"/>
                  </a:cubicBezTo>
                  <a:cubicBezTo>
                    <a:pt x="107" y="137"/>
                    <a:pt x="106" y="127"/>
                    <a:pt x="105" y="124"/>
                  </a:cubicBezTo>
                  <a:cubicBezTo>
                    <a:pt x="105" y="122"/>
                    <a:pt x="103" y="120"/>
                    <a:pt x="104" y="119"/>
                  </a:cubicBezTo>
                  <a:cubicBezTo>
                    <a:pt x="105" y="118"/>
                    <a:pt x="105" y="119"/>
                    <a:pt x="106" y="120"/>
                  </a:cubicBezTo>
                  <a:cubicBezTo>
                    <a:pt x="107" y="121"/>
                    <a:pt x="109" y="122"/>
                    <a:pt x="110" y="123"/>
                  </a:cubicBezTo>
                  <a:cubicBezTo>
                    <a:pt x="111" y="124"/>
                    <a:pt x="115" y="131"/>
                    <a:pt x="115" y="133"/>
                  </a:cubicBezTo>
                  <a:cubicBezTo>
                    <a:pt x="116" y="135"/>
                    <a:pt x="116" y="138"/>
                    <a:pt x="116" y="141"/>
                  </a:cubicBezTo>
                  <a:cubicBezTo>
                    <a:pt x="116" y="144"/>
                    <a:pt x="115" y="147"/>
                    <a:pt x="116" y="151"/>
                  </a:cubicBezTo>
                  <a:cubicBezTo>
                    <a:pt x="116" y="153"/>
                    <a:pt x="116" y="156"/>
                    <a:pt x="116" y="156"/>
                  </a:cubicBezTo>
                  <a:cubicBezTo>
                    <a:pt x="116" y="156"/>
                    <a:pt x="116" y="155"/>
                    <a:pt x="117" y="154"/>
                  </a:cubicBezTo>
                  <a:cubicBezTo>
                    <a:pt x="118" y="153"/>
                    <a:pt x="117" y="152"/>
                    <a:pt x="117" y="150"/>
                  </a:cubicBezTo>
                  <a:cubicBezTo>
                    <a:pt x="117" y="149"/>
                    <a:pt x="118" y="148"/>
                    <a:pt x="118" y="146"/>
                  </a:cubicBezTo>
                  <a:cubicBezTo>
                    <a:pt x="118" y="145"/>
                    <a:pt x="118" y="144"/>
                    <a:pt x="118" y="143"/>
                  </a:cubicBezTo>
                  <a:cubicBezTo>
                    <a:pt x="118" y="142"/>
                    <a:pt x="118" y="142"/>
                    <a:pt x="118" y="141"/>
                  </a:cubicBezTo>
                  <a:cubicBezTo>
                    <a:pt x="118" y="140"/>
                    <a:pt x="118" y="137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20" y="134"/>
                    <a:pt x="120" y="136"/>
                    <a:pt x="120" y="138"/>
                  </a:cubicBezTo>
                  <a:cubicBezTo>
                    <a:pt x="120" y="141"/>
                    <a:pt x="121" y="144"/>
                    <a:pt x="120" y="147"/>
                  </a:cubicBezTo>
                  <a:cubicBezTo>
                    <a:pt x="120" y="150"/>
                    <a:pt x="119" y="156"/>
                    <a:pt x="119" y="157"/>
                  </a:cubicBezTo>
                  <a:cubicBezTo>
                    <a:pt x="120" y="159"/>
                    <a:pt x="124" y="165"/>
                    <a:pt x="122" y="169"/>
                  </a:cubicBezTo>
                  <a:cubicBezTo>
                    <a:pt x="121" y="170"/>
                    <a:pt x="120" y="170"/>
                    <a:pt x="119" y="169"/>
                  </a:cubicBezTo>
                  <a:cubicBezTo>
                    <a:pt x="119" y="168"/>
                    <a:pt x="119" y="166"/>
                    <a:pt x="118" y="166"/>
                  </a:cubicBezTo>
                  <a:cubicBezTo>
                    <a:pt x="118" y="165"/>
                    <a:pt x="118" y="165"/>
                    <a:pt x="118" y="165"/>
                  </a:cubicBezTo>
                  <a:cubicBezTo>
                    <a:pt x="117" y="165"/>
                    <a:pt x="117" y="165"/>
                    <a:pt x="117" y="166"/>
                  </a:cubicBezTo>
                  <a:cubicBezTo>
                    <a:pt x="117" y="168"/>
                    <a:pt x="117" y="168"/>
                    <a:pt x="117" y="169"/>
                  </a:cubicBezTo>
                  <a:cubicBezTo>
                    <a:pt x="117" y="170"/>
                    <a:pt x="118" y="170"/>
                    <a:pt x="118" y="171"/>
                  </a:cubicBezTo>
                  <a:cubicBezTo>
                    <a:pt x="120" y="173"/>
                    <a:pt x="123" y="175"/>
                    <a:pt x="127" y="174"/>
                  </a:cubicBezTo>
                  <a:moveTo>
                    <a:pt x="123" y="117"/>
                  </a:moveTo>
                  <a:cubicBezTo>
                    <a:pt x="123" y="117"/>
                    <a:pt x="122" y="118"/>
                    <a:pt x="122" y="116"/>
                  </a:cubicBezTo>
                  <a:cubicBezTo>
                    <a:pt x="122" y="116"/>
                    <a:pt x="122" y="114"/>
                    <a:pt x="122" y="113"/>
                  </a:cubicBezTo>
                  <a:cubicBezTo>
                    <a:pt x="123" y="112"/>
                    <a:pt x="124" y="110"/>
                    <a:pt x="125" y="111"/>
                  </a:cubicBezTo>
                  <a:cubicBezTo>
                    <a:pt x="126" y="111"/>
                    <a:pt x="126" y="112"/>
                    <a:pt x="126" y="113"/>
                  </a:cubicBezTo>
                  <a:cubicBezTo>
                    <a:pt x="126" y="114"/>
                    <a:pt x="124" y="117"/>
                    <a:pt x="123" y="117"/>
                  </a:cubicBezTo>
                  <a:moveTo>
                    <a:pt x="126" y="118"/>
                  </a:moveTo>
                  <a:cubicBezTo>
                    <a:pt x="126" y="118"/>
                    <a:pt x="126" y="118"/>
                    <a:pt x="125" y="118"/>
                  </a:cubicBezTo>
                  <a:cubicBezTo>
                    <a:pt x="125" y="117"/>
                    <a:pt x="125" y="117"/>
                    <a:pt x="125" y="116"/>
                  </a:cubicBezTo>
                  <a:cubicBezTo>
                    <a:pt x="125" y="116"/>
                    <a:pt x="125" y="115"/>
                    <a:pt x="126" y="115"/>
                  </a:cubicBezTo>
                  <a:cubicBezTo>
                    <a:pt x="126" y="115"/>
                    <a:pt x="127" y="115"/>
                    <a:pt x="127" y="116"/>
                  </a:cubicBezTo>
                  <a:cubicBezTo>
                    <a:pt x="127" y="116"/>
                    <a:pt x="127" y="118"/>
                    <a:pt x="126" y="118"/>
                  </a:cubicBezTo>
                  <a:moveTo>
                    <a:pt x="129" y="113"/>
                  </a:moveTo>
                  <a:cubicBezTo>
                    <a:pt x="128" y="114"/>
                    <a:pt x="127" y="114"/>
                    <a:pt x="127" y="113"/>
                  </a:cubicBezTo>
                  <a:cubicBezTo>
                    <a:pt x="127" y="112"/>
                    <a:pt x="128" y="111"/>
                    <a:pt x="128" y="111"/>
                  </a:cubicBezTo>
                  <a:cubicBezTo>
                    <a:pt x="129" y="112"/>
                    <a:pt x="129" y="112"/>
                    <a:pt x="129" y="112"/>
                  </a:cubicBezTo>
                  <a:cubicBezTo>
                    <a:pt x="129" y="113"/>
                    <a:pt x="129" y="113"/>
                    <a:pt x="129" y="113"/>
                  </a:cubicBezTo>
                  <a:moveTo>
                    <a:pt x="132" y="104"/>
                  </a:moveTo>
                  <a:cubicBezTo>
                    <a:pt x="131" y="105"/>
                    <a:pt x="129" y="108"/>
                    <a:pt x="128" y="109"/>
                  </a:cubicBezTo>
                  <a:cubicBezTo>
                    <a:pt x="128" y="109"/>
                    <a:pt x="126" y="109"/>
                    <a:pt x="126" y="108"/>
                  </a:cubicBezTo>
                  <a:cubicBezTo>
                    <a:pt x="126" y="107"/>
                    <a:pt x="126" y="107"/>
                    <a:pt x="126" y="106"/>
                  </a:cubicBezTo>
                  <a:cubicBezTo>
                    <a:pt x="127" y="106"/>
                    <a:pt x="127" y="106"/>
                    <a:pt x="127" y="106"/>
                  </a:cubicBezTo>
                  <a:cubicBezTo>
                    <a:pt x="128" y="104"/>
                    <a:pt x="131" y="100"/>
                    <a:pt x="131" y="100"/>
                  </a:cubicBezTo>
                  <a:cubicBezTo>
                    <a:pt x="132" y="100"/>
                    <a:pt x="132" y="103"/>
                    <a:pt x="132" y="104"/>
                  </a:cubicBezTo>
                  <a:moveTo>
                    <a:pt x="132" y="87"/>
                  </a:moveTo>
                  <a:cubicBezTo>
                    <a:pt x="133" y="88"/>
                    <a:pt x="132" y="90"/>
                    <a:pt x="131" y="91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30" y="93"/>
                    <a:pt x="132" y="92"/>
                    <a:pt x="133" y="91"/>
                  </a:cubicBezTo>
                  <a:cubicBezTo>
                    <a:pt x="134" y="91"/>
                    <a:pt x="134" y="91"/>
                    <a:pt x="134" y="92"/>
                  </a:cubicBezTo>
                  <a:cubicBezTo>
                    <a:pt x="134" y="92"/>
                    <a:pt x="134" y="92"/>
                    <a:pt x="133" y="93"/>
                  </a:cubicBezTo>
                  <a:cubicBezTo>
                    <a:pt x="133" y="93"/>
                    <a:pt x="132" y="94"/>
                    <a:pt x="131" y="95"/>
                  </a:cubicBezTo>
                  <a:cubicBezTo>
                    <a:pt x="130" y="95"/>
                    <a:pt x="128" y="94"/>
                    <a:pt x="127" y="94"/>
                  </a:cubicBezTo>
                  <a:cubicBezTo>
                    <a:pt x="125" y="92"/>
                    <a:pt x="127" y="89"/>
                    <a:pt x="129" y="87"/>
                  </a:cubicBezTo>
                  <a:cubicBezTo>
                    <a:pt x="130" y="86"/>
                    <a:pt x="132" y="85"/>
                    <a:pt x="132" y="87"/>
                  </a:cubicBezTo>
                  <a:moveTo>
                    <a:pt x="131" y="80"/>
                  </a:moveTo>
                  <a:cubicBezTo>
                    <a:pt x="131" y="80"/>
                    <a:pt x="130" y="80"/>
                    <a:pt x="129" y="80"/>
                  </a:cubicBezTo>
                  <a:cubicBezTo>
                    <a:pt x="128" y="79"/>
                    <a:pt x="129" y="78"/>
                    <a:pt x="128" y="77"/>
                  </a:cubicBezTo>
                  <a:cubicBezTo>
                    <a:pt x="128" y="76"/>
                    <a:pt x="127" y="76"/>
                    <a:pt x="125" y="75"/>
                  </a:cubicBezTo>
                  <a:cubicBezTo>
                    <a:pt x="125" y="74"/>
                    <a:pt x="124" y="73"/>
                    <a:pt x="124" y="73"/>
                  </a:cubicBezTo>
                  <a:cubicBezTo>
                    <a:pt x="124" y="72"/>
                    <a:pt x="124" y="71"/>
                    <a:pt x="124" y="71"/>
                  </a:cubicBezTo>
                  <a:cubicBezTo>
                    <a:pt x="125" y="70"/>
                    <a:pt x="124" y="69"/>
                    <a:pt x="124" y="68"/>
                  </a:cubicBezTo>
                  <a:cubicBezTo>
                    <a:pt x="124" y="68"/>
                    <a:pt x="125" y="68"/>
                    <a:pt x="125" y="67"/>
                  </a:cubicBezTo>
                  <a:cubicBezTo>
                    <a:pt x="126" y="67"/>
                    <a:pt x="128" y="66"/>
                    <a:pt x="128" y="67"/>
                  </a:cubicBezTo>
                  <a:cubicBezTo>
                    <a:pt x="128" y="67"/>
                    <a:pt x="128" y="68"/>
                    <a:pt x="128" y="68"/>
                  </a:cubicBezTo>
                  <a:cubicBezTo>
                    <a:pt x="128" y="69"/>
                    <a:pt x="126" y="71"/>
                    <a:pt x="126" y="72"/>
                  </a:cubicBezTo>
                  <a:cubicBezTo>
                    <a:pt x="126" y="73"/>
                    <a:pt x="126" y="74"/>
                    <a:pt x="127" y="75"/>
                  </a:cubicBezTo>
                  <a:cubicBezTo>
                    <a:pt x="127" y="75"/>
                    <a:pt x="129" y="75"/>
                    <a:pt x="129" y="75"/>
                  </a:cubicBezTo>
                  <a:cubicBezTo>
                    <a:pt x="130" y="76"/>
                    <a:pt x="130" y="77"/>
                    <a:pt x="130" y="78"/>
                  </a:cubicBezTo>
                  <a:cubicBezTo>
                    <a:pt x="130" y="79"/>
                    <a:pt x="131" y="79"/>
                    <a:pt x="131" y="80"/>
                  </a:cubicBezTo>
                  <a:moveTo>
                    <a:pt x="143" y="63"/>
                  </a:moveTo>
                  <a:cubicBezTo>
                    <a:pt x="143" y="64"/>
                    <a:pt x="142" y="67"/>
                    <a:pt x="142" y="67"/>
                  </a:cubicBezTo>
                  <a:cubicBezTo>
                    <a:pt x="140" y="68"/>
                    <a:pt x="140" y="66"/>
                    <a:pt x="138" y="65"/>
                  </a:cubicBezTo>
                  <a:cubicBezTo>
                    <a:pt x="137" y="64"/>
                    <a:pt x="135" y="64"/>
                    <a:pt x="135" y="64"/>
                  </a:cubicBezTo>
                  <a:cubicBezTo>
                    <a:pt x="135" y="64"/>
                    <a:pt x="134" y="63"/>
                    <a:pt x="135" y="63"/>
                  </a:cubicBezTo>
                  <a:cubicBezTo>
                    <a:pt x="136" y="62"/>
                    <a:pt x="137" y="61"/>
                    <a:pt x="138" y="62"/>
                  </a:cubicBezTo>
                  <a:cubicBezTo>
                    <a:pt x="139" y="62"/>
                    <a:pt x="139" y="62"/>
                    <a:pt x="140" y="62"/>
                  </a:cubicBezTo>
                  <a:cubicBezTo>
                    <a:pt x="140" y="62"/>
                    <a:pt x="141" y="62"/>
                    <a:pt x="141" y="62"/>
                  </a:cubicBezTo>
                  <a:cubicBezTo>
                    <a:pt x="142" y="62"/>
                    <a:pt x="142" y="62"/>
                    <a:pt x="142" y="62"/>
                  </a:cubicBezTo>
                  <a:cubicBezTo>
                    <a:pt x="143" y="62"/>
                    <a:pt x="143" y="63"/>
                    <a:pt x="143" y="63"/>
                  </a:cubicBezTo>
                  <a:moveTo>
                    <a:pt x="139" y="57"/>
                  </a:moveTo>
                  <a:cubicBezTo>
                    <a:pt x="139" y="56"/>
                    <a:pt x="140" y="56"/>
                    <a:pt x="140" y="56"/>
                  </a:cubicBezTo>
                  <a:cubicBezTo>
                    <a:pt x="140" y="56"/>
                    <a:pt x="140" y="56"/>
                    <a:pt x="140" y="57"/>
                  </a:cubicBezTo>
                  <a:cubicBezTo>
                    <a:pt x="141" y="58"/>
                    <a:pt x="141" y="58"/>
                    <a:pt x="141" y="60"/>
                  </a:cubicBezTo>
                  <a:cubicBezTo>
                    <a:pt x="141" y="60"/>
                    <a:pt x="140" y="60"/>
                    <a:pt x="140" y="60"/>
                  </a:cubicBezTo>
                  <a:cubicBezTo>
                    <a:pt x="140" y="59"/>
                    <a:pt x="139" y="59"/>
                    <a:pt x="139" y="57"/>
                  </a:cubicBezTo>
                  <a:moveTo>
                    <a:pt x="148" y="50"/>
                  </a:moveTo>
                  <a:cubicBezTo>
                    <a:pt x="148" y="50"/>
                    <a:pt x="148" y="50"/>
                    <a:pt x="148" y="50"/>
                  </a:cubicBezTo>
                  <a:cubicBezTo>
                    <a:pt x="147" y="52"/>
                    <a:pt x="148" y="52"/>
                    <a:pt x="147" y="52"/>
                  </a:cubicBezTo>
                  <a:cubicBezTo>
                    <a:pt x="145" y="53"/>
                    <a:pt x="145" y="52"/>
                    <a:pt x="145" y="52"/>
                  </a:cubicBezTo>
                  <a:cubicBezTo>
                    <a:pt x="144" y="50"/>
                    <a:pt x="144" y="48"/>
                    <a:pt x="143" y="48"/>
                  </a:cubicBezTo>
                  <a:cubicBezTo>
                    <a:pt x="142" y="48"/>
                    <a:pt x="142" y="48"/>
                    <a:pt x="142" y="49"/>
                  </a:cubicBezTo>
                  <a:cubicBezTo>
                    <a:pt x="142" y="49"/>
                    <a:pt x="142" y="49"/>
                    <a:pt x="141" y="51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8" y="52"/>
                    <a:pt x="135" y="51"/>
                    <a:pt x="133" y="50"/>
                  </a:cubicBezTo>
                  <a:cubicBezTo>
                    <a:pt x="132" y="50"/>
                    <a:pt x="135" y="53"/>
                    <a:pt x="137" y="53"/>
                  </a:cubicBezTo>
                  <a:cubicBezTo>
                    <a:pt x="138" y="52"/>
                    <a:pt x="137" y="55"/>
                    <a:pt x="138" y="55"/>
                  </a:cubicBezTo>
                  <a:cubicBezTo>
                    <a:pt x="135" y="58"/>
                    <a:pt x="135" y="58"/>
                    <a:pt x="135" y="59"/>
                  </a:cubicBezTo>
                  <a:cubicBezTo>
                    <a:pt x="135" y="59"/>
                    <a:pt x="134" y="59"/>
                    <a:pt x="134" y="60"/>
                  </a:cubicBezTo>
                  <a:cubicBezTo>
                    <a:pt x="133" y="62"/>
                    <a:pt x="131" y="63"/>
                    <a:pt x="132" y="64"/>
                  </a:cubicBezTo>
                  <a:cubicBezTo>
                    <a:pt x="132" y="67"/>
                    <a:pt x="134" y="66"/>
                    <a:pt x="136" y="67"/>
                  </a:cubicBezTo>
                  <a:cubicBezTo>
                    <a:pt x="137" y="67"/>
                    <a:pt x="138" y="68"/>
                    <a:pt x="139" y="69"/>
                  </a:cubicBezTo>
                  <a:cubicBezTo>
                    <a:pt x="140" y="70"/>
                    <a:pt x="140" y="72"/>
                    <a:pt x="139" y="73"/>
                  </a:cubicBezTo>
                  <a:cubicBezTo>
                    <a:pt x="136" y="75"/>
                    <a:pt x="135" y="70"/>
                    <a:pt x="134" y="69"/>
                  </a:cubicBezTo>
                  <a:cubicBezTo>
                    <a:pt x="133" y="68"/>
                    <a:pt x="132" y="68"/>
                    <a:pt x="132" y="67"/>
                  </a:cubicBezTo>
                  <a:cubicBezTo>
                    <a:pt x="131" y="66"/>
                    <a:pt x="130" y="64"/>
                    <a:pt x="131" y="62"/>
                  </a:cubicBezTo>
                  <a:cubicBezTo>
                    <a:pt x="131" y="62"/>
                    <a:pt x="131" y="61"/>
                    <a:pt x="131" y="60"/>
                  </a:cubicBezTo>
                  <a:cubicBezTo>
                    <a:pt x="131" y="59"/>
                    <a:pt x="130" y="56"/>
                    <a:pt x="129" y="55"/>
                  </a:cubicBezTo>
                  <a:cubicBezTo>
                    <a:pt x="129" y="54"/>
                    <a:pt x="131" y="48"/>
                    <a:pt x="131" y="48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4" y="45"/>
                    <a:pt x="135" y="46"/>
                    <a:pt x="137" y="48"/>
                  </a:cubicBezTo>
                  <a:cubicBezTo>
                    <a:pt x="137" y="48"/>
                    <a:pt x="137" y="48"/>
                    <a:pt x="138" y="48"/>
                  </a:cubicBezTo>
                  <a:cubicBezTo>
                    <a:pt x="139" y="47"/>
                    <a:pt x="140" y="47"/>
                    <a:pt x="142" y="46"/>
                  </a:cubicBezTo>
                  <a:cubicBezTo>
                    <a:pt x="142" y="46"/>
                    <a:pt x="143" y="45"/>
                    <a:pt x="143" y="45"/>
                  </a:cubicBezTo>
                  <a:cubicBezTo>
                    <a:pt x="143" y="45"/>
                    <a:pt x="143" y="47"/>
                    <a:pt x="144" y="48"/>
                  </a:cubicBezTo>
                  <a:cubicBezTo>
                    <a:pt x="144" y="49"/>
                    <a:pt x="145" y="49"/>
                    <a:pt x="146" y="48"/>
                  </a:cubicBezTo>
                  <a:cubicBezTo>
                    <a:pt x="147" y="48"/>
                    <a:pt x="148" y="47"/>
                    <a:pt x="149" y="48"/>
                  </a:cubicBezTo>
                  <a:cubicBezTo>
                    <a:pt x="150" y="49"/>
                    <a:pt x="149" y="49"/>
                    <a:pt x="148" y="50"/>
                  </a:cubicBezTo>
                  <a:moveTo>
                    <a:pt x="154" y="57"/>
                  </a:moveTo>
                  <a:cubicBezTo>
                    <a:pt x="153" y="59"/>
                    <a:pt x="152" y="60"/>
                    <a:pt x="151" y="59"/>
                  </a:cubicBezTo>
                  <a:cubicBezTo>
                    <a:pt x="149" y="58"/>
                    <a:pt x="150" y="57"/>
                    <a:pt x="150" y="54"/>
                  </a:cubicBezTo>
                  <a:cubicBezTo>
                    <a:pt x="151" y="53"/>
                    <a:pt x="150" y="52"/>
                    <a:pt x="150" y="51"/>
                  </a:cubicBezTo>
                  <a:cubicBezTo>
                    <a:pt x="150" y="51"/>
                    <a:pt x="151" y="51"/>
                    <a:pt x="151" y="51"/>
                  </a:cubicBezTo>
                  <a:cubicBezTo>
                    <a:pt x="151" y="51"/>
                    <a:pt x="152" y="52"/>
                    <a:pt x="152" y="53"/>
                  </a:cubicBezTo>
                  <a:cubicBezTo>
                    <a:pt x="153" y="55"/>
                    <a:pt x="154" y="56"/>
                    <a:pt x="154" y="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9"/>
            <p:cNvSpPr>
              <a:spLocks/>
            </p:cNvSpPr>
            <p:nvPr/>
          </p:nvSpPr>
          <p:spPr bwMode="auto">
            <a:xfrm>
              <a:off x="3956" y="1722"/>
              <a:ext cx="5" cy="5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1 h 2"/>
                <a:gd name="T4" fmla="*/ 0 w 2"/>
                <a:gd name="T5" fmla="*/ 1 h 2"/>
                <a:gd name="T6" fmla="*/ 2 w 2"/>
                <a:gd name="T7" fmla="*/ 1 h 2"/>
                <a:gd name="T8" fmla="*/ 1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10"/>
            <p:cNvSpPr>
              <a:spLocks noEditPoints="1"/>
            </p:cNvSpPr>
            <p:nvPr/>
          </p:nvSpPr>
          <p:spPr bwMode="auto">
            <a:xfrm>
              <a:off x="3804" y="1698"/>
              <a:ext cx="57" cy="52"/>
            </a:xfrm>
            <a:custGeom>
              <a:avLst/>
              <a:gdLst>
                <a:gd name="T0" fmla="*/ 16 w 24"/>
                <a:gd name="T1" fmla="*/ 18 h 22"/>
                <a:gd name="T2" fmla="*/ 12 w 24"/>
                <a:gd name="T3" fmla="*/ 15 h 22"/>
                <a:gd name="T4" fmla="*/ 12 w 24"/>
                <a:gd name="T5" fmla="*/ 14 h 22"/>
                <a:gd name="T6" fmla="*/ 9 w 24"/>
                <a:gd name="T7" fmla="*/ 2 h 22"/>
                <a:gd name="T8" fmla="*/ 3 w 24"/>
                <a:gd name="T9" fmla="*/ 3 h 22"/>
                <a:gd name="T10" fmla="*/ 0 w 24"/>
                <a:gd name="T11" fmla="*/ 8 h 22"/>
                <a:gd name="T12" fmla="*/ 2 w 24"/>
                <a:gd name="T13" fmla="*/ 11 h 22"/>
                <a:gd name="T14" fmla="*/ 7 w 24"/>
                <a:gd name="T15" fmla="*/ 12 h 22"/>
                <a:gd name="T16" fmla="*/ 9 w 24"/>
                <a:gd name="T17" fmla="*/ 10 h 22"/>
                <a:gd name="T18" fmla="*/ 9 w 24"/>
                <a:gd name="T19" fmla="*/ 15 h 22"/>
                <a:gd name="T20" fmla="*/ 15 w 24"/>
                <a:gd name="T21" fmla="*/ 22 h 22"/>
                <a:gd name="T22" fmla="*/ 20 w 24"/>
                <a:gd name="T23" fmla="*/ 18 h 22"/>
                <a:gd name="T24" fmla="*/ 24 w 24"/>
                <a:gd name="T25" fmla="*/ 15 h 22"/>
                <a:gd name="T26" fmla="*/ 21 w 24"/>
                <a:gd name="T27" fmla="*/ 13 h 22"/>
                <a:gd name="T28" fmla="*/ 16 w 24"/>
                <a:gd name="T29" fmla="*/ 18 h 22"/>
                <a:gd name="T30" fmla="*/ 8 w 24"/>
                <a:gd name="T31" fmla="*/ 10 h 22"/>
                <a:gd name="T32" fmla="*/ 4 w 24"/>
                <a:gd name="T33" fmla="*/ 10 h 22"/>
                <a:gd name="T34" fmla="*/ 3 w 24"/>
                <a:gd name="T35" fmla="*/ 8 h 22"/>
                <a:gd name="T36" fmla="*/ 3 w 24"/>
                <a:gd name="T37" fmla="*/ 8 h 22"/>
                <a:gd name="T38" fmla="*/ 8 w 24"/>
                <a:gd name="T39" fmla="*/ 7 h 22"/>
                <a:gd name="T40" fmla="*/ 8 w 24"/>
                <a:gd name="T41" fmla="*/ 10 h 22"/>
                <a:gd name="T42" fmla="*/ 6 w 24"/>
                <a:gd name="T43" fmla="*/ 5 h 22"/>
                <a:gd name="T44" fmla="*/ 3 w 24"/>
                <a:gd name="T45" fmla="*/ 5 h 22"/>
                <a:gd name="T46" fmla="*/ 3 w 24"/>
                <a:gd name="T47" fmla="*/ 5 h 22"/>
                <a:gd name="T48" fmla="*/ 6 w 24"/>
                <a:gd name="T49" fmla="*/ 3 h 22"/>
                <a:gd name="T50" fmla="*/ 10 w 24"/>
                <a:gd name="T51" fmla="*/ 6 h 22"/>
                <a:gd name="T52" fmla="*/ 6 w 24"/>
                <a:gd name="T53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22">
                  <a:moveTo>
                    <a:pt x="16" y="18"/>
                  </a:moveTo>
                  <a:cubicBezTo>
                    <a:pt x="15" y="19"/>
                    <a:pt x="13" y="16"/>
                    <a:pt x="12" y="15"/>
                  </a:cubicBezTo>
                  <a:cubicBezTo>
                    <a:pt x="11" y="15"/>
                    <a:pt x="11" y="15"/>
                    <a:pt x="12" y="14"/>
                  </a:cubicBezTo>
                  <a:cubicBezTo>
                    <a:pt x="13" y="8"/>
                    <a:pt x="14" y="6"/>
                    <a:pt x="9" y="2"/>
                  </a:cubicBezTo>
                  <a:cubicBezTo>
                    <a:pt x="7" y="0"/>
                    <a:pt x="6" y="1"/>
                    <a:pt x="3" y="3"/>
                  </a:cubicBezTo>
                  <a:cubicBezTo>
                    <a:pt x="1" y="5"/>
                    <a:pt x="1" y="5"/>
                    <a:pt x="0" y="8"/>
                  </a:cubicBezTo>
                  <a:cubicBezTo>
                    <a:pt x="0" y="9"/>
                    <a:pt x="0" y="10"/>
                    <a:pt x="2" y="11"/>
                  </a:cubicBezTo>
                  <a:cubicBezTo>
                    <a:pt x="3" y="12"/>
                    <a:pt x="5" y="12"/>
                    <a:pt x="7" y="12"/>
                  </a:cubicBezTo>
                  <a:cubicBezTo>
                    <a:pt x="8" y="11"/>
                    <a:pt x="9" y="11"/>
                    <a:pt x="9" y="10"/>
                  </a:cubicBezTo>
                  <a:cubicBezTo>
                    <a:pt x="11" y="10"/>
                    <a:pt x="9" y="14"/>
                    <a:pt x="9" y="15"/>
                  </a:cubicBezTo>
                  <a:cubicBezTo>
                    <a:pt x="9" y="17"/>
                    <a:pt x="14" y="22"/>
                    <a:pt x="15" y="22"/>
                  </a:cubicBezTo>
                  <a:cubicBezTo>
                    <a:pt x="17" y="22"/>
                    <a:pt x="20" y="20"/>
                    <a:pt x="20" y="18"/>
                  </a:cubicBezTo>
                  <a:cubicBezTo>
                    <a:pt x="22" y="19"/>
                    <a:pt x="24" y="18"/>
                    <a:pt x="24" y="15"/>
                  </a:cubicBezTo>
                  <a:cubicBezTo>
                    <a:pt x="24" y="14"/>
                    <a:pt x="24" y="13"/>
                    <a:pt x="21" y="13"/>
                  </a:cubicBezTo>
                  <a:cubicBezTo>
                    <a:pt x="17" y="13"/>
                    <a:pt x="18" y="18"/>
                    <a:pt x="16" y="18"/>
                  </a:cubicBezTo>
                  <a:moveTo>
                    <a:pt x="8" y="10"/>
                  </a:moveTo>
                  <a:cubicBezTo>
                    <a:pt x="8" y="10"/>
                    <a:pt x="5" y="10"/>
                    <a:pt x="4" y="10"/>
                  </a:cubicBezTo>
                  <a:cubicBezTo>
                    <a:pt x="3" y="10"/>
                    <a:pt x="2" y="9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5" y="6"/>
                    <a:pt x="6" y="7"/>
                    <a:pt x="8" y="7"/>
                  </a:cubicBezTo>
                  <a:cubicBezTo>
                    <a:pt x="9" y="8"/>
                    <a:pt x="9" y="9"/>
                    <a:pt x="8" y="10"/>
                  </a:cubicBezTo>
                  <a:moveTo>
                    <a:pt x="6" y="5"/>
                  </a:moveTo>
                  <a:cubicBezTo>
                    <a:pt x="5" y="5"/>
                    <a:pt x="3" y="6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10" y="4"/>
                    <a:pt x="10" y="6"/>
                  </a:cubicBezTo>
                  <a:cubicBezTo>
                    <a:pt x="11" y="8"/>
                    <a:pt x="7" y="5"/>
                    <a:pt x="6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11"/>
            <p:cNvSpPr>
              <a:spLocks/>
            </p:cNvSpPr>
            <p:nvPr/>
          </p:nvSpPr>
          <p:spPr bwMode="auto">
            <a:xfrm>
              <a:off x="3838" y="2150"/>
              <a:ext cx="11" cy="43"/>
            </a:xfrm>
            <a:custGeom>
              <a:avLst/>
              <a:gdLst>
                <a:gd name="T0" fmla="*/ 5 w 5"/>
                <a:gd name="T1" fmla="*/ 0 h 18"/>
                <a:gd name="T2" fmla="*/ 4 w 5"/>
                <a:gd name="T3" fmla="*/ 0 h 18"/>
                <a:gd name="T4" fmla="*/ 3 w 5"/>
                <a:gd name="T5" fmla="*/ 7 h 18"/>
                <a:gd name="T6" fmla="*/ 0 w 5"/>
                <a:gd name="T7" fmla="*/ 17 h 18"/>
                <a:gd name="T8" fmla="*/ 2 w 5"/>
                <a:gd name="T9" fmla="*/ 18 h 18"/>
                <a:gd name="T10" fmla="*/ 3 w 5"/>
                <a:gd name="T11" fmla="*/ 17 h 18"/>
                <a:gd name="T12" fmla="*/ 4 w 5"/>
                <a:gd name="T13" fmla="*/ 18 h 18"/>
                <a:gd name="T14" fmla="*/ 5 w 5"/>
                <a:gd name="T15" fmla="*/ 18 h 18"/>
                <a:gd name="T16" fmla="*/ 5 w 5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5"/>
                    <a:pt x="3" y="7"/>
                  </a:cubicBezTo>
                  <a:cubicBezTo>
                    <a:pt x="3" y="10"/>
                    <a:pt x="2" y="14"/>
                    <a:pt x="0" y="17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7"/>
                    <a:pt x="2" y="17"/>
                    <a:pt x="3" y="17"/>
                  </a:cubicBezTo>
                  <a:cubicBezTo>
                    <a:pt x="3" y="17"/>
                    <a:pt x="3" y="17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2"/>
                    <a:pt x="4" y="6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Freeform 12"/>
            <p:cNvSpPr>
              <a:spLocks/>
            </p:cNvSpPr>
            <p:nvPr/>
          </p:nvSpPr>
          <p:spPr bwMode="auto">
            <a:xfrm>
              <a:off x="3852" y="2100"/>
              <a:ext cx="31" cy="39"/>
            </a:xfrm>
            <a:custGeom>
              <a:avLst/>
              <a:gdLst>
                <a:gd name="T0" fmla="*/ 1 w 13"/>
                <a:gd name="T1" fmla="*/ 16 h 16"/>
                <a:gd name="T2" fmla="*/ 8 w 13"/>
                <a:gd name="T3" fmla="*/ 8 h 16"/>
                <a:gd name="T4" fmla="*/ 13 w 13"/>
                <a:gd name="T5" fmla="*/ 3 h 16"/>
                <a:gd name="T6" fmla="*/ 11 w 13"/>
                <a:gd name="T7" fmla="*/ 2 h 16"/>
                <a:gd name="T8" fmla="*/ 10 w 13"/>
                <a:gd name="T9" fmla="*/ 3 h 16"/>
                <a:gd name="T10" fmla="*/ 10 w 13"/>
                <a:gd name="T11" fmla="*/ 1 h 16"/>
                <a:gd name="T12" fmla="*/ 8 w 13"/>
                <a:gd name="T13" fmla="*/ 0 h 16"/>
                <a:gd name="T14" fmla="*/ 0 w 13"/>
                <a:gd name="T15" fmla="*/ 16 h 16"/>
                <a:gd name="T16" fmla="*/ 1 w 13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6">
                  <a:moveTo>
                    <a:pt x="1" y="16"/>
                  </a:moveTo>
                  <a:cubicBezTo>
                    <a:pt x="3" y="13"/>
                    <a:pt x="5" y="10"/>
                    <a:pt x="8" y="8"/>
                  </a:cubicBezTo>
                  <a:cubicBezTo>
                    <a:pt x="9" y="6"/>
                    <a:pt x="11" y="5"/>
                    <a:pt x="13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3"/>
                    <a:pt x="10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6"/>
                    <a:pt x="3" y="11"/>
                    <a:pt x="0" y="16"/>
                  </a:cubicBezTo>
                  <a:lnTo>
                    <a:pt x="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13"/>
            <p:cNvSpPr>
              <a:spLocks/>
            </p:cNvSpPr>
            <p:nvPr/>
          </p:nvSpPr>
          <p:spPr bwMode="auto">
            <a:xfrm>
              <a:off x="3854" y="2110"/>
              <a:ext cx="36" cy="31"/>
            </a:xfrm>
            <a:custGeom>
              <a:avLst/>
              <a:gdLst>
                <a:gd name="T0" fmla="*/ 0 w 15"/>
                <a:gd name="T1" fmla="*/ 12 h 13"/>
                <a:gd name="T2" fmla="*/ 0 w 15"/>
                <a:gd name="T3" fmla="*/ 13 h 13"/>
                <a:gd name="T4" fmla="*/ 4 w 15"/>
                <a:gd name="T5" fmla="*/ 10 h 13"/>
                <a:gd name="T6" fmla="*/ 15 w 15"/>
                <a:gd name="T7" fmla="*/ 4 h 13"/>
                <a:gd name="T8" fmla="*/ 14 w 15"/>
                <a:gd name="T9" fmla="*/ 2 h 13"/>
                <a:gd name="T10" fmla="*/ 13 w 15"/>
                <a:gd name="T11" fmla="*/ 2 h 13"/>
                <a:gd name="T12" fmla="*/ 13 w 15"/>
                <a:gd name="T13" fmla="*/ 1 h 13"/>
                <a:gd name="T14" fmla="*/ 12 w 15"/>
                <a:gd name="T15" fmla="*/ 0 h 13"/>
                <a:gd name="T16" fmla="*/ 0 w 15"/>
                <a:gd name="T1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3">
                  <a:moveTo>
                    <a:pt x="0" y="12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" y="12"/>
                    <a:pt x="3" y="11"/>
                    <a:pt x="4" y="10"/>
                  </a:cubicBezTo>
                  <a:cubicBezTo>
                    <a:pt x="7" y="7"/>
                    <a:pt x="11" y="5"/>
                    <a:pt x="15" y="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5"/>
                    <a:pt x="4" y="9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14"/>
            <p:cNvSpPr>
              <a:spLocks/>
            </p:cNvSpPr>
            <p:nvPr/>
          </p:nvSpPr>
          <p:spPr bwMode="auto">
            <a:xfrm>
              <a:off x="3849" y="2098"/>
              <a:ext cx="22" cy="41"/>
            </a:xfrm>
            <a:custGeom>
              <a:avLst/>
              <a:gdLst>
                <a:gd name="T0" fmla="*/ 2 w 9"/>
                <a:gd name="T1" fmla="*/ 14 h 17"/>
                <a:gd name="T2" fmla="*/ 0 w 9"/>
                <a:gd name="T3" fmla="*/ 17 h 17"/>
                <a:gd name="T4" fmla="*/ 1 w 9"/>
                <a:gd name="T5" fmla="*/ 17 h 17"/>
                <a:gd name="T6" fmla="*/ 3 w 9"/>
                <a:gd name="T7" fmla="*/ 11 h 17"/>
                <a:gd name="T8" fmla="*/ 9 w 9"/>
                <a:gd name="T9" fmla="*/ 1 h 17"/>
                <a:gd name="T10" fmla="*/ 8 w 9"/>
                <a:gd name="T11" fmla="*/ 1 h 17"/>
                <a:gd name="T12" fmla="*/ 6 w 9"/>
                <a:gd name="T13" fmla="*/ 1 h 17"/>
                <a:gd name="T14" fmla="*/ 6 w 9"/>
                <a:gd name="T15" fmla="*/ 0 h 17"/>
                <a:gd name="T16" fmla="*/ 4 w 9"/>
                <a:gd name="T17" fmla="*/ 0 h 17"/>
                <a:gd name="T18" fmla="*/ 2 w 9"/>
                <a:gd name="T1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7">
                  <a:moveTo>
                    <a:pt x="2" y="14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5"/>
                    <a:pt x="3" y="13"/>
                    <a:pt x="3" y="11"/>
                  </a:cubicBezTo>
                  <a:cubicBezTo>
                    <a:pt x="5" y="7"/>
                    <a:pt x="7" y="4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4"/>
                    <a:pt x="3" y="9"/>
                    <a:pt x="2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15"/>
            <p:cNvSpPr>
              <a:spLocks/>
            </p:cNvSpPr>
            <p:nvPr/>
          </p:nvSpPr>
          <p:spPr bwMode="auto">
            <a:xfrm>
              <a:off x="3845" y="2141"/>
              <a:ext cx="7" cy="5"/>
            </a:xfrm>
            <a:custGeom>
              <a:avLst/>
              <a:gdLst>
                <a:gd name="T0" fmla="*/ 2 w 3"/>
                <a:gd name="T1" fmla="*/ 1 h 2"/>
                <a:gd name="T2" fmla="*/ 2 w 3"/>
                <a:gd name="T3" fmla="*/ 2 h 2"/>
                <a:gd name="T4" fmla="*/ 2 w 3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1" y="0"/>
                    <a:pt x="0" y="2"/>
                    <a:pt x="2" y="2"/>
                  </a:cubicBezTo>
                  <a:cubicBezTo>
                    <a:pt x="2" y="2"/>
                    <a:pt x="3" y="1"/>
                    <a:pt x="2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16"/>
            <p:cNvSpPr>
              <a:spLocks/>
            </p:cNvSpPr>
            <p:nvPr/>
          </p:nvSpPr>
          <p:spPr bwMode="auto">
            <a:xfrm>
              <a:off x="3835" y="2096"/>
              <a:ext cx="12" cy="43"/>
            </a:xfrm>
            <a:custGeom>
              <a:avLst/>
              <a:gdLst>
                <a:gd name="T0" fmla="*/ 5 w 5"/>
                <a:gd name="T1" fmla="*/ 17 h 18"/>
                <a:gd name="T2" fmla="*/ 5 w 5"/>
                <a:gd name="T3" fmla="*/ 1 h 18"/>
                <a:gd name="T4" fmla="*/ 5 w 5"/>
                <a:gd name="T5" fmla="*/ 0 h 18"/>
                <a:gd name="T6" fmla="*/ 3 w 5"/>
                <a:gd name="T7" fmla="*/ 0 h 18"/>
                <a:gd name="T8" fmla="*/ 2 w 5"/>
                <a:gd name="T9" fmla="*/ 1 h 18"/>
                <a:gd name="T10" fmla="*/ 1 w 5"/>
                <a:gd name="T11" fmla="*/ 1 h 18"/>
                <a:gd name="T12" fmla="*/ 0 w 5"/>
                <a:gd name="T13" fmla="*/ 1 h 18"/>
                <a:gd name="T14" fmla="*/ 5 w 5"/>
                <a:gd name="T15" fmla="*/ 18 h 18"/>
                <a:gd name="T16" fmla="*/ 5 w 5"/>
                <a:gd name="T1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8">
                  <a:moveTo>
                    <a:pt x="5" y="17"/>
                  </a:moveTo>
                  <a:cubicBezTo>
                    <a:pt x="4" y="12"/>
                    <a:pt x="4" y="6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6"/>
                    <a:pt x="4" y="12"/>
                    <a:pt x="5" y="18"/>
                  </a:cubicBezTo>
                  <a:lnTo>
                    <a:pt x="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17"/>
            <p:cNvSpPr>
              <a:spLocks/>
            </p:cNvSpPr>
            <p:nvPr/>
          </p:nvSpPr>
          <p:spPr bwMode="auto">
            <a:xfrm>
              <a:off x="3854" y="2119"/>
              <a:ext cx="40" cy="22"/>
            </a:xfrm>
            <a:custGeom>
              <a:avLst/>
              <a:gdLst>
                <a:gd name="T0" fmla="*/ 0 w 17"/>
                <a:gd name="T1" fmla="*/ 9 h 9"/>
                <a:gd name="T2" fmla="*/ 6 w 17"/>
                <a:gd name="T3" fmla="*/ 7 h 9"/>
                <a:gd name="T4" fmla="*/ 17 w 17"/>
                <a:gd name="T5" fmla="*/ 4 h 9"/>
                <a:gd name="T6" fmla="*/ 17 w 17"/>
                <a:gd name="T7" fmla="*/ 3 h 9"/>
                <a:gd name="T8" fmla="*/ 15 w 17"/>
                <a:gd name="T9" fmla="*/ 2 h 9"/>
                <a:gd name="T10" fmla="*/ 16 w 17"/>
                <a:gd name="T11" fmla="*/ 1 h 9"/>
                <a:gd name="T12" fmla="*/ 15 w 17"/>
                <a:gd name="T13" fmla="*/ 0 h 9"/>
                <a:gd name="T14" fmla="*/ 0 w 17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0" y="9"/>
                  </a:moveTo>
                  <a:cubicBezTo>
                    <a:pt x="2" y="8"/>
                    <a:pt x="4" y="8"/>
                    <a:pt x="6" y="7"/>
                  </a:cubicBezTo>
                  <a:cubicBezTo>
                    <a:pt x="10" y="6"/>
                    <a:pt x="14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5" y="2"/>
                  </a:cubicBezTo>
                  <a:cubicBezTo>
                    <a:pt x="15" y="2"/>
                    <a:pt x="16" y="1"/>
                    <a:pt x="16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4"/>
                    <a:pt x="6" y="7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18"/>
            <p:cNvSpPr>
              <a:spLocks/>
            </p:cNvSpPr>
            <p:nvPr/>
          </p:nvSpPr>
          <p:spPr bwMode="auto">
            <a:xfrm>
              <a:off x="3719" y="2119"/>
              <a:ext cx="7" cy="8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3 h 3"/>
                <a:gd name="T4" fmla="*/ 1 w 3"/>
                <a:gd name="T5" fmla="*/ 3 h 3"/>
                <a:gd name="T6" fmla="*/ 2 w 3"/>
                <a:gd name="T7" fmla="*/ 0 h 3"/>
                <a:gd name="T8" fmla="*/ 1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2"/>
                    <a:pt x="3" y="1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19"/>
            <p:cNvSpPr>
              <a:spLocks/>
            </p:cNvSpPr>
            <p:nvPr/>
          </p:nvSpPr>
          <p:spPr bwMode="auto">
            <a:xfrm>
              <a:off x="3823" y="2098"/>
              <a:ext cx="24" cy="41"/>
            </a:xfrm>
            <a:custGeom>
              <a:avLst/>
              <a:gdLst>
                <a:gd name="T0" fmla="*/ 10 w 10"/>
                <a:gd name="T1" fmla="*/ 17 h 17"/>
                <a:gd name="T2" fmla="*/ 5 w 10"/>
                <a:gd name="T3" fmla="*/ 5 h 17"/>
                <a:gd name="T4" fmla="*/ 5 w 10"/>
                <a:gd name="T5" fmla="*/ 0 h 17"/>
                <a:gd name="T6" fmla="*/ 3 w 10"/>
                <a:gd name="T7" fmla="*/ 0 h 17"/>
                <a:gd name="T8" fmla="*/ 3 w 10"/>
                <a:gd name="T9" fmla="*/ 2 h 17"/>
                <a:gd name="T10" fmla="*/ 1 w 10"/>
                <a:gd name="T11" fmla="*/ 1 h 17"/>
                <a:gd name="T12" fmla="*/ 0 w 10"/>
                <a:gd name="T13" fmla="*/ 2 h 17"/>
                <a:gd name="T14" fmla="*/ 9 w 10"/>
                <a:gd name="T15" fmla="*/ 17 h 17"/>
                <a:gd name="T16" fmla="*/ 10 w 10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7">
                  <a:moveTo>
                    <a:pt x="10" y="17"/>
                  </a:moveTo>
                  <a:cubicBezTo>
                    <a:pt x="8" y="13"/>
                    <a:pt x="6" y="9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6"/>
                    <a:pt x="7" y="12"/>
                    <a:pt x="9" y="17"/>
                  </a:cubicBezTo>
                  <a:lnTo>
                    <a:pt x="1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0"/>
            <p:cNvSpPr>
              <a:spLocks/>
            </p:cNvSpPr>
            <p:nvPr/>
          </p:nvSpPr>
          <p:spPr bwMode="auto">
            <a:xfrm>
              <a:off x="3674" y="1750"/>
              <a:ext cx="12" cy="10"/>
            </a:xfrm>
            <a:custGeom>
              <a:avLst/>
              <a:gdLst>
                <a:gd name="T0" fmla="*/ 4 w 5"/>
                <a:gd name="T1" fmla="*/ 0 h 4"/>
                <a:gd name="T2" fmla="*/ 1 w 5"/>
                <a:gd name="T3" fmla="*/ 1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1 h 4"/>
                <a:gd name="T10" fmla="*/ 4 w 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0"/>
                  </a:moveTo>
                  <a:cubicBezTo>
                    <a:pt x="4" y="0"/>
                    <a:pt x="2" y="1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5" y="1"/>
                    <a:pt x="5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21"/>
            <p:cNvSpPr>
              <a:spLocks/>
            </p:cNvSpPr>
            <p:nvPr/>
          </p:nvSpPr>
          <p:spPr bwMode="auto">
            <a:xfrm>
              <a:off x="3759" y="1977"/>
              <a:ext cx="17" cy="62"/>
            </a:xfrm>
            <a:custGeom>
              <a:avLst/>
              <a:gdLst>
                <a:gd name="T0" fmla="*/ 1 w 7"/>
                <a:gd name="T1" fmla="*/ 25 h 26"/>
                <a:gd name="T2" fmla="*/ 6 w 7"/>
                <a:gd name="T3" fmla="*/ 3 h 26"/>
                <a:gd name="T4" fmla="*/ 5 w 7"/>
                <a:gd name="T5" fmla="*/ 0 h 26"/>
                <a:gd name="T6" fmla="*/ 4 w 7"/>
                <a:gd name="T7" fmla="*/ 1 h 26"/>
                <a:gd name="T8" fmla="*/ 4 w 7"/>
                <a:gd name="T9" fmla="*/ 9 h 26"/>
                <a:gd name="T10" fmla="*/ 1 w 7"/>
                <a:gd name="T11" fmla="*/ 23 h 26"/>
                <a:gd name="T12" fmla="*/ 1 w 7"/>
                <a:gd name="T13" fmla="*/ 26 h 26"/>
                <a:gd name="T14" fmla="*/ 1 w 7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26">
                  <a:moveTo>
                    <a:pt x="1" y="25"/>
                  </a:moveTo>
                  <a:cubicBezTo>
                    <a:pt x="5" y="18"/>
                    <a:pt x="7" y="10"/>
                    <a:pt x="6" y="3"/>
                  </a:cubicBezTo>
                  <a:cubicBezTo>
                    <a:pt x="6" y="2"/>
                    <a:pt x="6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4" y="2"/>
                    <a:pt x="4" y="6"/>
                    <a:pt x="4" y="9"/>
                  </a:cubicBezTo>
                  <a:cubicBezTo>
                    <a:pt x="4" y="11"/>
                    <a:pt x="2" y="18"/>
                    <a:pt x="1" y="23"/>
                  </a:cubicBezTo>
                  <a:cubicBezTo>
                    <a:pt x="1" y="24"/>
                    <a:pt x="0" y="25"/>
                    <a:pt x="1" y="26"/>
                  </a:cubicBezTo>
                  <a:cubicBezTo>
                    <a:pt x="1" y="26"/>
                    <a:pt x="1" y="25"/>
                    <a:pt x="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Freeform 22"/>
            <p:cNvSpPr>
              <a:spLocks/>
            </p:cNvSpPr>
            <p:nvPr/>
          </p:nvSpPr>
          <p:spPr bwMode="auto">
            <a:xfrm>
              <a:off x="3857" y="2131"/>
              <a:ext cx="40" cy="12"/>
            </a:xfrm>
            <a:custGeom>
              <a:avLst/>
              <a:gdLst>
                <a:gd name="T0" fmla="*/ 0 w 17"/>
                <a:gd name="T1" fmla="*/ 5 h 5"/>
                <a:gd name="T2" fmla="*/ 15 w 17"/>
                <a:gd name="T3" fmla="*/ 4 h 5"/>
                <a:gd name="T4" fmla="*/ 17 w 17"/>
                <a:gd name="T5" fmla="*/ 5 h 5"/>
                <a:gd name="T6" fmla="*/ 17 w 17"/>
                <a:gd name="T7" fmla="*/ 3 h 5"/>
                <a:gd name="T8" fmla="*/ 16 w 17"/>
                <a:gd name="T9" fmla="*/ 2 h 5"/>
                <a:gd name="T10" fmla="*/ 17 w 17"/>
                <a:gd name="T11" fmla="*/ 1 h 5"/>
                <a:gd name="T12" fmla="*/ 16 w 17"/>
                <a:gd name="T13" fmla="*/ 0 h 5"/>
                <a:gd name="T14" fmla="*/ 0 w 17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5">
                  <a:moveTo>
                    <a:pt x="0" y="5"/>
                  </a:moveTo>
                  <a:cubicBezTo>
                    <a:pt x="5" y="4"/>
                    <a:pt x="10" y="4"/>
                    <a:pt x="15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6" y="2"/>
                    <a:pt x="17" y="1"/>
                    <a:pt x="17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2"/>
                    <a:pt x="5" y="4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Freeform 23"/>
            <p:cNvSpPr>
              <a:spLocks/>
            </p:cNvSpPr>
            <p:nvPr/>
          </p:nvSpPr>
          <p:spPr bwMode="auto">
            <a:xfrm>
              <a:off x="3857" y="2143"/>
              <a:ext cx="40" cy="12"/>
            </a:xfrm>
            <a:custGeom>
              <a:avLst/>
              <a:gdLst>
                <a:gd name="T0" fmla="*/ 0 w 17"/>
                <a:gd name="T1" fmla="*/ 0 h 5"/>
                <a:gd name="T2" fmla="*/ 0 w 17"/>
                <a:gd name="T3" fmla="*/ 1 h 5"/>
                <a:gd name="T4" fmla="*/ 14 w 17"/>
                <a:gd name="T5" fmla="*/ 4 h 5"/>
                <a:gd name="T6" fmla="*/ 17 w 17"/>
                <a:gd name="T7" fmla="*/ 5 h 5"/>
                <a:gd name="T8" fmla="*/ 17 w 17"/>
                <a:gd name="T9" fmla="*/ 3 h 5"/>
                <a:gd name="T10" fmla="*/ 16 w 17"/>
                <a:gd name="T11" fmla="*/ 2 h 5"/>
                <a:gd name="T12" fmla="*/ 17 w 17"/>
                <a:gd name="T13" fmla="*/ 1 h 5"/>
                <a:gd name="T14" fmla="*/ 17 w 17"/>
                <a:gd name="T15" fmla="*/ 0 h 5"/>
                <a:gd name="T16" fmla="*/ 0 w 17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10" y="2"/>
                    <a:pt x="14" y="4"/>
                  </a:cubicBezTo>
                  <a:cubicBezTo>
                    <a:pt x="15" y="4"/>
                    <a:pt x="16" y="4"/>
                    <a:pt x="17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6" y="2"/>
                    <a:pt x="17" y="2"/>
                    <a:pt x="17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1"/>
                    <a:pt x="5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Freeform 24"/>
            <p:cNvSpPr>
              <a:spLocks/>
            </p:cNvSpPr>
            <p:nvPr/>
          </p:nvSpPr>
          <p:spPr bwMode="auto">
            <a:xfrm>
              <a:off x="3854" y="2146"/>
              <a:ext cx="43" cy="21"/>
            </a:xfrm>
            <a:custGeom>
              <a:avLst/>
              <a:gdLst>
                <a:gd name="T0" fmla="*/ 0 w 18"/>
                <a:gd name="T1" fmla="*/ 1 h 9"/>
                <a:gd name="T2" fmla="*/ 14 w 18"/>
                <a:gd name="T3" fmla="*/ 8 h 9"/>
                <a:gd name="T4" fmla="*/ 16 w 18"/>
                <a:gd name="T5" fmla="*/ 9 h 9"/>
                <a:gd name="T6" fmla="*/ 17 w 18"/>
                <a:gd name="T7" fmla="*/ 7 h 9"/>
                <a:gd name="T8" fmla="*/ 17 w 18"/>
                <a:gd name="T9" fmla="*/ 6 h 9"/>
                <a:gd name="T10" fmla="*/ 18 w 18"/>
                <a:gd name="T11" fmla="*/ 4 h 9"/>
                <a:gd name="T12" fmla="*/ 1 w 18"/>
                <a:gd name="T13" fmla="*/ 0 h 9"/>
                <a:gd name="T14" fmla="*/ 0 w 18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9">
                  <a:moveTo>
                    <a:pt x="0" y="1"/>
                  </a:moveTo>
                  <a:cubicBezTo>
                    <a:pt x="5" y="2"/>
                    <a:pt x="10" y="5"/>
                    <a:pt x="14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5" y="6"/>
                    <a:pt x="17" y="6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2" y="4"/>
                    <a:pt x="6" y="2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Freeform 25"/>
            <p:cNvSpPr>
              <a:spLocks/>
            </p:cNvSpPr>
            <p:nvPr/>
          </p:nvSpPr>
          <p:spPr bwMode="auto">
            <a:xfrm>
              <a:off x="3849" y="2150"/>
              <a:ext cx="15" cy="43"/>
            </a:xfrm>
            <a:custGeom>
              <a:avLst/>
              <a:gdLst>
                <a:gd name="T0" fmla="*/ 0 w 6"/>
                <a:gd name="T1" fmla="*/ 0 h 18"/>
                <a:gd name="T2" fmla="*/ 1 w 6"/>
                <a:gd name="T3" fmla="*/ 16 h 18"/>
                <a:gd name="T4" fmla="*/ 0 w 6"/>
                <a:gd name="T5" fmla="*/ 18 h 18"/>
                <a:gd name="T6" fmla="*/ 2 w 6"/>
                <a:gd name="T7" fmla="*/ 18 h 18"/>
                <a:gd name="T8" fmla="*/ 3 w 6"/>
                <a:gd name="T9" fmla="*/ 16 h 18"/>
                <a:gd name="T10" fmla="*/ 4 w 6"/>
                <a:gd name="T11" fmla="*/ 17 h 18"/>
                <a:gd name="T12" fmla="*/ 6 w 6"/>
                <a:gd name="T13" fmla="*/ 17 h 18"/>
                <a:gd name="T14" fmla="*/ 1 w 6"/>
                <a:gd name="T15" fmla="*/ 0 h 18"/>
                <a:gd name="T16" fmla="*/ 0 w 6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cubicBezTo>
                    <a:pt x="1" y="5"/>
                    <a:pt x="1" y="11"/>
                    <a:pt x="1" y="1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7"/>
                    <a:pt x="2" y="17"/>
                    <a:pt x="3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3" y="12"/>
                    <a:pt x="1" y="6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Freeform 26"/>
            <p:cNvSpPr>
              <a:spLocks/>
            </p:cNvSpPr>
            <p:nvPr/>
          </p:nvSpPr>
          <p:spPr bwMode="auto">
            <a:xfrm>
              <a:off x="3852" y="2150"/>
              <a:ext cx="21" cy="41"/>
            </a:xfrm>
            <a:custGeom>
              <a:avLst/>
              <a:gdLst>
                <a:gd name="T0" fmla="*/ 0 w 9"/>
                <a:gd name="T1" fmla="*/ 0 h 17"/>
                <a:gd name="T2" fmla="*/ 2 w 9"/>
                <a:gd name="T3" fmla="*/ 5 h 17"/>
                <a:gd name="T4" fmla="*/ 5 w 9"/>
                <a:gd name="T5" fmla="*/ 17 h 17"/>
                <a:gd name="T6" fmla="*/ 6 w 9"/>
                <a:gd name="T7" fmla="*/ 16 h 17"/>
                <a:gd name="T8" fmla="*/ 7 w 9"/>
                <a:gd name="T9" fmla="*/ 15 h 17"/>
                <a:gd name="T10" fmla="*/ 8 w 9"/>
                <a:gd name="T11" fmla="*/ 16 h 17"/>
                <a:gd name="T12" fmla="*/ 9 w 9"/>
                <a:gd name="T13" fmla="*/ 15 h 17"/>
                <a:gd name="T14" fmla="*/ 0 w 9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7">
                  <a:moveTo>
                    <a:pt x="0" y="0"/>
                  </a:moveTo>
                  <a:cubicBezTo>
                    <a:pt x="0" y="2"/>
                    <a:pt x="1" y="3"/>
                    <a:pt x="2" y="5"/>
                  </a:cubicBezTo>
                  <a:cubicBezTo>
                    <a:pt x="3" y="9"/>
                    <a:pt x="5" y="13"/>
                    <a:pt x="5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7" y="15"/>
                  </a:cubicBezTo>
                  <a:cubicBezTo>
                    <a:pt x="7" y="15"/>
                    <a:pt x="8" y="15"/>
                    <a:pt x="8" y="16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5" y="10"/>
                    <a:pt x="3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Freeform 27"/>
            <p:cNvSpPr>
              <a:spLocks/>
            </p:cNvSpPr>
            <p:nvPr/>
          </p:nvSpPr>
          <p:spPr bwMode="auto">
            <a:xfrm>
              <a:off x="3814" y="2103"/>
              <a:ext cx="31" cy="36"/>
            </a:xfrm>
            <a:custGeom>
              <a:avLst/>
              <a:gdLst>
                <a:gd name="T0" fmla="*/ 12 w 13"/>
                <a:gd name="T1" fmla="*/ 15 h 15"/>
                <a:gd name="T2" fmla="*/ 13 w 13"/>
                <a:gd name="T3" fmla="*/ 15 h 15"/>
                <a:gd name="T4" fmla="*/ 4 w 13"/>
                <a:gd name="T5" fmla="*/ 0 h 15"/>
                <a:gd name="T6" fmla="*/ 2 w 13"/>
                <a:gd name="T7" fmla="*/ 1 h 15"/>
                <a:gd name="T8" fmla="*/ 2 w 13"/>
                <a:gd name="T9" fmla="*/ 3 h 15"/>
                <a:gd name="T10" fmla="*/ 1 w 13"/>
                <a:gd name="T11" fmla="*/ 2 h 15"/>
                <a:gd name="T12" fmla="*/ 0 w 13"/>
                <a:gd name="T13" fmla="*/ 3 h 15"/>
                <a:gd name="T14" fmla="*/ 12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12" y="15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9" y="11"/>
                    <a:pt x="5" y="6"/>
                    <a:pt x="4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6"/>
                    <a:pt x="9" y="11"/>
                    <a:pt x="1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Freeform 28"/>
            <p:cNvSpPr>
              <a:spLocks/>
            </p:cNvSpPr>
            <p:nvPr/>
          </p:nvSpPr>
          <p:spPr bwMode="auto">
            <a:xfrm>
              <a:off x="3816" y="2150"/>
              <a:ext cx="29" cy="36"/>
            </a:xfrm>
            <a:custGeom>
              <a:avLst/>
              <a:gdLst>
                <a:gd name="T0" fmla="*/ 12 w 12"/>
                <a:gd name="T1" fmla="*/ 0 h 15"/>
                <a:gd name="T2" fmla="*/ 0 w 12"/>
                <a:gd name="T3" fmla="*/ 12 h 15"/>
                <a:gd name="T4" fmla="*/ 1 w 12"/>
                <a:gd name="T5" fmla="*/ 13 h 15"/>
                <a:gd name="T6" fmla="*/ 2 w 12"/>
                <a:gd name="T7" fmla="*/ 13 h 15"/>
                <a:gd name="T8" fmla="*/ 3 w 12"/>
                <a:gd name="T9" fmla="*/ 15 h 15"/>
                <a:gd name="T10" fmla="*/ 4 w 12"/>
                <a:gd name="T11" fmla="*/ 15 h 15"/>
                <a:gd name="T12" fmla="*/ 12 w 12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8" y="4"/>
                    <a:pt x="4" y="9"/>
                    <a:pt x="0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3" y="13"/>
                    <a:pt x="2" y="14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0"/>
                    <a:pt x="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826" y="2150"/>
              <a:ext cx="21" cy="41"/>
            </a:xfrm>
            <a:custGeom>
              <a:avLst/>
              <a:gdLst>
                <a:gd name="T0" fmla="*/ 8 w 9"/>
                <a:gd name="T1" fmla="*/ 0 h 17"/>
                <a:gd name="T2" fmla="*/ 1 w 9"/>
                <a:gd name="T3" fmla="*/ 14 h 17"/>
                <a:gd name="T4" fmla="*/ 0 w 9"/>
                <a:gd name="T5" fmla="*/ 15 h 17"/>
                <a:gd name="T6" fmla="*/ 1 w 9"/>
                <a:gd name="T7" fmla="*/ 16 h 17"/>
                <a:gd name="T8" fmla="*/ 3 w 9"/>
                <a:gd name="T9" fmla="*/ 15 h 17"/>
                <a:gd name="T10" fmla="*/ 3 w 9"/>
                <a:gd name="T11" fmla="*/ 17 h 17"/>
                <a:gd name="T12" fmla="*/ 5 w 9"/>
                <a:gd name="T13" fmla="*/ 17 h 17"/>
                <a:gd name="T14" fmla="*/ 9 w 9"/>
                <a:gd name="T15" fmla="*/ 0 h 17"/>
                <a:gd name="T16" fmla="*/ 8 w 9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7">
                  <a:moveTo>
                    <a:pt x="8" y="0"/>
                  </a:moveTo>
                  <a:cubicBezTo>
                    <a:pt x="7" y="5"/>
                    <a:pt x="4" y="10"/>
                    <a:pt x="1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2" y="15"/>
                    <a:pt x="3" y="15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2"/>
                    <a:pt x="7" y="6"/>
                    <a:pt x="9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5" name="Freeform 30"/>
            <p:cNvSpPr>
              <a:spLocks/>
            </p:cNvSpPr>
            <p:nvPr/>
          </p:nvSpPr>
          <p:spPr bwMode="auto">
            <a:xfrm>
              <a:off x="3852" y="2148"/>
              <a:ext cx="33" cy="38"/>
            </a:xfrm>
            <a:custGeom>
              <a:avLst/>
              <a:gdLst>
                <a:gd name="T0" fmla="*/ 1 w 14"/>
                <a:gd name="T1" fmla="*/ 0 h 16"/>
                <a:gd name="T2" fmla="*/ 0 w 14"/>
                <a:gd name="T3" fmla="*/ 1 h 16"/>
                <a:gd name="T4" fmla="*/ 8 w 14"/>
                <a:gd name="T5" fmla="*/ 12 h 16"/>
                <a:gd name="T6" fmla="*/ 10 w 14"/>
                <a:gd name="T7" fmla="*/ 16 h 16"/>
                <a:gd name="T8" fmla="*/ 11 w 14"/>
                <a:gd name="T9" fmla="*/ 15 h 16"/>
                <a:gd name="T10" fmla="*/ 11 w 14"/>
                <a:gd name="T11" fmla="*/ 13 h 16"/>
                <a:gd name="T12" fmla="*/ 13 w 14"/>
                <a:gd name="T13" fmla="*/ 13 h 16"/>
                <a:gd name="T14" fmla="*/ 14 w 14"/>
                <a:gd name="T15" fmla="*/ 12 h 16"/>
                <a:gd name="T16" fmla="*/ 1 w 14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4"/>
                    <a:pt x="6" y="8"/>
                    <a:pt x="8" y="12"/>
                  </a:cubicBezTo>
                  <a:cubicBezTo>
                    <a:pt x="9" y="13"/>
                    <a:pt x="9" y="14"/>
                    <a:pt x="10" y="16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4"/>
                    <a:pt x="11" y="14"/>
                    <a:pt x="11" y="13"/>
                  </a:cubicBezTo>
                  <a:cubicBezTo>
                    <a:pt x="12" y="13"/>
                    <a:pt x="12" y="13"/>
                    <a:pt x="13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8" y="9"/>
                    <a:pt x="5" y="5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7" name="Freeform 31"/>
            <p:cNvSpPr>
              <a:spLocks/>
            </p:cNvSpPr>
            <p:nvPr/>
          </p:nvSpPr>
          <p:spPr bwMode="auto">
            <a:xfrm>
              <a:off x="3854" y="2148"/>
              <a:ext cx="38" cy="29"/>
            </a:xfrm>
            <a:custGeom>
              <a:avLst/>
              <a:gdLst>
                <a:gd name="T0" fmla="*/ 13 w 16"/>
                <a:gd name="T1" fmla="*/ 10 h 12"/>
                <a:gd name="T2" fmla="*/ 15 w 16"/>
                <a:gd name="T3" fmla="*/ 9 h 12"/>
                <a:gd name="T4" fmla="*/ 16 w 16"/>
                <a:gd name="T5" fmla="*/ 8 h 12"/>
                <a:gd name="T6" fmla="*/ 0 w 16"/>
                <a:gd name="T7" fmla="*/ 0 h 12"/>
                <a:gd name="T8" fmla="*/ 0 w 16"/>
                <a:gd name="T9" fmla="*/ 0 h 12"/>
                <a:gd name="T10" fmla="*/ 12 w 16"/>
                <a:gd name="T11" fmla="*/ 11 h 12"/>
                <a:gd name="T12" fmla="*/ 13 w 16"/>
                <a:gd name="T13" fmla="*/ 12 h 12"/>
                <a:gd name="T14" fmla="*/ 14 w 16"/>
                <a:gd name="T15" fmla="*/ 11 h 12"/>
                <a:gd name="T16" fmla="*/ 13 w 16"/>
                <a:gd name="T1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2">
                  <a:moveTo>
                    <a:pt x="13" y="10"/>
                  </a:moveTo>
                  <a:cubicBezTo>
                    <a:pt x="14" y="9"/>
                    <a:pt x="15" y="9"/>
                    <a:pt x="15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0" y="6"/>
                    <a:pt x="5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3"/>
                    <a:pt x="8" y="7"/>
                    <a:pt x="12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0"/>
                    <a:pt x="13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8" name="Freeform 32"/>
            <p:cNvSpPr>
              <a:spLocks/>
            </p:cNvSpPr>
            <p:nvPr/>
          </p:nvSpPr>
          <p:spPr bwMode="auto">
            <a:xfrm>
              <a:off x="3921" y="2119"/>
              <a:ext cx="4" cy="8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1 h 3"/>
                <a:gd name="T4" fmla="*/ 0 w 2"/>
                <a:gd name="T5" fmla="*/ 2 h 3"/>
                <a:gd name="T6" fmla="*/ 0 w 2"/>
                <a:gd name="T7" fmla="*/ 2 h 3"/>
                <a:gd name="T8" fmla="*/ 2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2" y="2"/>
                    <a:pt x="2" y="1"/>
                    <a:pt x="1" y="1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2" y="2"/>
                    <a:pt x="2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9" name="Freeform 33"/>
            <p:cNvSpPr>
              <a:spLocks/>
            </p:cNvSpPr>
            <p:nvPr/>
          </p:nvSpPr>
          <p:spPr bwMode="auto">
            <a:xfrm>
              <a:off x="3807" y="2148"/>
              <a:ext cx="38" cy="31"/>
            </a:xfrm>
            <a:custGeom>
              <a:avLst/>
              <a:gdLst>
                <a:gd name="T0" fmla="*/ 16 w 16"/>
                <a:gd name="T1" fmla="*/ 1 h 13"/>
                <a:gd name="T2" fmla="*/ 15 w 16"/>
                <a:gd name="T3" fmla="*/ 0 h 13"/>
                <a:gd name="T4" fmla="*/ 0 w 16"/>
                <a:gd name="T5" fmla="*/ 9 h 13"/>
                <a:gd name="T6" fmla="*/ 1 w 16"/>
                <a:gd name="T7" fmla="*/ 11 h 13"/>
                <a:gd name="T8" fmla="*/ 3 w 16"/>
                <a:gd name="T9" fmla="*/ 11 h 13"/>
                <a:gd name="T10" fmla="*/ 2 w 16"/>
                <a:gd name="T11" fmla="*/ 12 h 13"/>
                <a:gd name="T12" fmla="*/ 3 w 16"/>
                <a:gd name="T13" fmla="*/ 13 h 13"/>
                <a:gd name="T14" fmla="*/ 16 w 16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">
                  <a:moveTo>
                    <a:pt x="16" y="1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1" y="4"/>
                    <a:pt x="6" y="8"/>
                    <a:pt x="0" y="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0"/>
                    <a:pt x="3" y="11"/>
                  </a:cubicBezTo>
                  <a:cubicBezTo>
                    <a:pt x="3" y="11"/>
                    <a:pt x="2" y="12"/>
                    <a:pt x="2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8"/>
                    <a:pt x="11" y="4"/>
                    <a:pt x="16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0" name="Freeform 34"/>
            <p:cNvSpPr>
              <a:spLocks/>
            </p:cNvSpPr>
            <p:nvPr/>
          </p:nvSpPr>
          <p:spPr bwMode="auto">
            <a:xfrm>
              <a:off x="3802" y="2122"/>
              <a:ext cx="40" cy="21"/>
            </a:xfrm>
            <a:custGeom>
              <a:avLst/>
              <a:gdLst>
                <a:gd name="T0" fmla="*/ 17 w 17"/>
                <a:gd name="T1" fmla="*/ 9 h 9"/>
                <a:gd name="T2" fmla="*/ 17 w 17"/>
                <a:gd name="T3" fmla="*/ 8 h 9"/>
                <a:gd name="T4" fmla="*/ 6 w 17"/>
                <a:gd name="T5" fmla="*/ 3 h 9"/>
                <a:gd name="T6" fmla="*/ 1 w 17"/>
                <a:gd name="T7" fmla="*/ 0 h 9"/>
                <a:gd name="T8" fmla="*/ 1 w 17"/>
                <a:gd name="T9" fmla="*/ 1 h 9"/>
                <a:gd name="T10" fmla="*/ 1 w 17"/>
                <a:gd name="T11" fmla="*/ 3 h 9"/>
                <a:gd name="T12" fmla="*/ 0 w 17"/>
                <a:gd name="T13" fmla="*/ 3 h 9"/>
                <a:gd name="T14" fmla="*/ 0 w 17"/>
                <a:gd name="T15" fmla="*/ 5 h 9"/>
                <a:gd name="T16" fmla="*/ 17 w 17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9">
                  <a:moveTo>
                    <a:pt x="17" y="9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3" y="7"/>
                    <a:pt x="9" y="5"/>
                    <a:pt x="6" y="3"/>
                  </a:cubicBezTo>
                  <a:cubicBezTo>
                    <a:pt x="4" y="2"/>
                    <a:pt x="3" y="1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5"/>
                    <a:pt x="12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1" name="Freeform 35"/>
            <p:cNvSpPr>
              <a:spLocks/>
            </p:cNvSpPr>
            <p:nvPr/>
          </p:nvSpPr>
          <p:spPr bwMode="auto">
            <a:xfrm>
              <a:off x="3804" y="2112"/>
              <a:ext cx="38" cy="29"/>
            </a:xfrm>
            <a:custGeom>
              <a:avLst/>
              <a:gdLst>
                <a:gd name="T0" fmla="*/ 16 w 16"/>
                <a:gd name="T1" fmla="*/ 12 h 12"/>
                <a:gd name="T2" fmla="*/ 16 w 16"/>
                <a:gd name="T3" fmla="*/ 11 h 12"/>
                <a:gd name="T4" fmla="*/ 3 w 16"/>
                <a:gd name="T5" fmla="*/ 0 h 12"/>
                <a:gd name="T6" fmla="*/ 2 w 16"/>
                <a:gd name="T7" fmla="*/ 1 h 12"/>
                <a:gd name="T8" fmla="*/ 3 w 16"/>
                <a:gd name="T9" fmla="*/ 2 h 12"/>
                <a:gd name="T10" fmla="*/ 1 w 16"/>
                <a:gd name="T11" fmla="*/ 2 h 12"/>
                <a:gd name="T12" fmla="*/ 0 w 16"/>
                <a:gd name="T13" fmla="*/ 4 h 12"/>
                <a:gd name="T14" fmla="*/ 13 w 16"/>
                <a:gd name="T15" fmla="*/ 10 h 12"/>
                <a:gd name="T16" fmla="*/ 16 w 16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2">
                  <a:moveTo>
                    <a:pt x="16" y="12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2" y="8"/>
                    <a:pt x="7" y="4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9" y="8"/>
                    <a:pt x="13" y="10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2" name="Freeform 36"/>
            <p:cNvSpPr>
              <a:spLocks/>
            </p:cNvSpPr>
            <p:nvPr/>
          </p:nvSpPr>
          <p:spPr bwMode="auto">
            <a:xfrm>
              <a:off x="3800" y="2134"/>
              <a:ext cx="42" cy="12"/>
            </a:xfrm>
            <a:custGeom>
              <a:avLst/>
              <a:gdLst>
                <a:gd name="T0" fmla="*/ 18 w 18"/>
                <a:gd name="T1" fmla="*/ 4 h 5"/>
                <a:gd name="T2" fmla="*/ 18 w 18"/>
                <a:gd name="T3" fmla="*/ 4 h 5"/>
                <a:gd name="T4" fmla="*/ 0 w 18"/>
                <a:gd name="T5" fmla="*/ 0 h 5"/>
                <a:gd name="T6" fmla="*/ 0 w 18"/>
                <a:gd name="T7" fmla="*/ 1 h 5"/>
                <a:gd name="T8" fmla="*/ 1 w 18"/>
                <a:gd name="T9" fmla="*/ 3 h 5"/>
                <a:gd name="T10" fmla="*/ 0 w 18"/>
                <a:gd name="T11" fmla="*/ 4 h 5"/>
                <a:gd name="T12" fmla="*/ 0 w 18"/>
                <a:gd name="T13" fmla="*/ 5 h 5"/>
                <a:gd name="T14" fmla="*/ 18 w 18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5">
                  <a:moveTo>
                    <a:pt x="18" y="4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12" y="3"/>
                    <a:pt x="6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3"/>
                  </a:cubicBezTo>
                  <a:cubicBezTo>
                    <a:pt x="1" y="3"/>
                    <a:pt x="0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3"/>
                    <a:pt x="12" y="4"/>
                    <a:pt x="18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3" name="Freeform 37"/>
            <p:cNvSpPr>
              <a:spLocks/>
            </p:cNvSpPr>
            <p:nvPr/>
          </p:nvSpPr>
          <p:spPr bwMode="auto">
            <a:xfrm>
              <a:off x="3800" y="2146"/>
              <a:ext cx="42" cy="12"/>
            </a:xfrm>
            <a:custGeom>
              <a:avLst/>
              <a:gdLst>
                <a:gd name="T0" fmla="*/ 18 w 18"/>
                <a:gd name="T1" fmla="*/ 0 h 5"/>
                <a:gd name="T2" fmla="*/ 18 w 18"/>
                <a:gd name="T3" fmla="*/ 0 h 5"/>
                <a:gd name="T4" fmla="*/ 0 w 18"/>
                <a:gd name="T5" fmla="*/ 0 h 5"/>
                <a:gd name="T6" fmla="*/ 0 w 18"/>
                <a:gd name="T7" fmla="*/ 2 h 5"/>
                <a:gd name="T8" fmla="*/ 0 w 18"/>
                <a:gd name="T9" fmla="*/ 4 h 5"/>
                <a:gd name="T10" fmla="*/ 1 w 18"/>
                <a:gd name="T11" fmla="*/ 5 h 5"/>
                <a:gd name="T12" fmla="*/ 13 w 18"/>
                <a:gd name="T13" fmla="*/ 1 h 5"/>
                <a:gd name="T14" fmla="*/ 18 w 1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5"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2" y="1"/>
                    <a:pt x="6" y="1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3"/>
                    <a:pt x="1" y="2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5" y="3"/>
                    <a:pt x="9" y="2"/>
                    <a:pt x="13" y="1"/>
                  </a:cubicBezTo>
                  <a:cubicBezTo>
                    <a:pt x="14" y="1"/>
                    <a:pt x="16" y="0"/>
                    <a:pt x="1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" name="Freeform 38"/>
            <p:cNvSpPr>
              <a:spLocks/>
            </p:cNvSpPr>
            <p:nvPr/>
          </p:nvSpPr>
          <p:spPr bwMode="auto">
            <a:xfrm>
              <a:off x="3802" y="2146"/>
              <a:ext cx="40" cy="23"/>
            </a:xfrm>
            <a:custGeom>
              <a:avLst/>
              <a:gdLst>
                <a:gd name="T0" fmla="*/ 17 w 17"/>
                <a:gd name="T1" fmla="*/ 1 h 10"/>
                <a:gd name="T2" fmla="*/ 17 w 17"/>
                <a:gd name="T3" fmla="*/ 0 h 10"/>
                <a:gd name="T4" fmla="*/ 2 w 17"/>
                <a:gd name="T5" fmla="*/ 5 h 10"/>
                <a:gd name="T6" fmla="*/ 0 w 17"/>
                <a:gd name="T7" fmla="*/ 5 h 10"/>
                <a:gd name="T8" fmla="*/ 0 w 17"/>
                <a:gd name="T9" fmla="*/ 7 h 10"/>
                <a:gd name="T10" fmla="*/ 2 w 17"/>
                <a:gd name="T11" fmla="*/ 7 h 10"/>
                <a:gd name="T12" fmla="*/ 1 w 17"/>
                <a:gd name="T13" fmla="*/ 9 h 10"/>
                <a:gd name="T14" fmla="*/ 2 w 17"/>
                <a:gd name="T15" fmla="*/ 10 h 10"/>
                <a:gd name="T16" fmla="*/ 17 w 17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2" y="3"/>
                    <a:pt x="7" y="5"/>
                    <a:pt x="2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8"/>
                    <a:pt x="1" y="8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6"/>
                    <a:pt x="12" y="3"/>
                    <a:pt x="17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" name="Freeform 39"/>
            <p:cNvSpPr>
              <a:spLocks noEditPoints="1"/>
            </p:cNvSpPr>
            <p:nvPr/>
          </p:nvSpPr>
          <p:spPr bwMode="auto">
            <a:xfrm>
              <a:off x="3712" y="2243"/>
              <a:ext cx="254" cy="43"/>
            </a:xfrm>
            <a:custGeom>
              <a:avLst/>
              <a:gdLst>
                <a:gd name="T0" fmla="*/ 20 w 107"/>
                <a:gd name="T1" fmla="*/ 16 h 18"/>
                <a:gd name="T2" fmla="*/ 18 w 107"/>
                <a:gd name="T3" fmla="*/ 16 h 18"/>
                <a:gd name="T4" fmla="*/ 24 w 107"/>
                <a:gd name="T5" fmla="*/ 10 h 18"/>
                <a:gd name="T6" fmla="*/ 27 w 107"/>
                <a:gd name="T7" fmla="*/ 8 h 18"/>
                <a:gd name="T8" fmla="*/ 26 w 107"/>
                <a:gd name="T9" fmla="*/ 12 h 18"/>
                <a:gd name="T10" fmla="*/ 25 w 107"/>
                <a:gd name="T11" fmla="*/ 13 h 18"/>
                <a:gd name="T12" fmla="*/ 31 w 107"/>
                <a:gd name="T13" fmla="*/ 7 h 18"/>
                <a:gd name="T14" fmla="*/ 43 w 107"/>
                <a:gd name="T15" fmla="*/ 7 h 18"/>
                <a:gd name="T16" fmla="*/ 88 w 107"/>
                <a:gd name="T17" fmla="*/ 9 h 18"/>
                <a:gd name="T18" fmla="*/ 86 w 107"/>
                <a:gd name="T19" fmla="*/ 13 h 18"/>
                <a:gd name="T20" fmla="*/ 90 w 107"/>
                <a:gd name="T21" fmla="*/ 14 h 18"/>
                <a:gd name="T22" fmla="*/ 99 w 107"/>
                <a:gd name="T23" fmla="*/ 1 h 18"/>
                <a:gd name="T24" fmla="*/ 105 w 107"/>
                <a:gd name="T25" fmla="*/ 7 h 18"/>
                <a:gd name="T26" fmla="*/ 98 w 107"/>
                <a:gd name="T27" fmla="*/ 11 h 18"/>
                <a:gd name="T28" fmla="*/ 101 w 107"/>
                <a:gd name="T29" fmla="*/ 17 h 18"/>
                <a:gd name="T30" fmla="*/ 98 w 107"/>
                <a:gd name="T31" fmla="*/ 16 h 18"/>
                <a:gd name="T32" fmla="*/ 97 w 107"/>
                <a:gd name="T33" fmla="*/ 10 h 18"/>
                <a:gd name="T34" fmla="*/ 95 w 107"/>
                <a:gd name="T35" fmla="*/ 7 h 18"/>
                <a:gd name="T36" fmla="*/ 92 w 107"/>
                <a:gd name="T37" fmla="*/ 15 h 18"/>
                <a:gd name="T38" fmla="*/ 84 w 107"/>
                <a:gd name="T39" fmla="*/ 11 h 18"/>
                <a:gd name="T40" fmla="*/ 86 w 107"/>
                <a:gd name="T41" fmla="*/ 8 h 18"/>
                <a:gd name="T42" fmla="*/ 81 w 107"/>
                <a:gd name="T43" fmla="*/ 18 h 18"/>
                <a:gd name="T44" fmla="*/ 76 w 107"/>
                <a:gd name="T45" fmla="*/ 13 h 18"/>
                <a:gd name="T46" fmla="*/ 75 w 107"/>
                <a:gd name="T47" fmla="*/ 17 h 18"/>
                <a:gd name="T48" fmla="*/ 68 w 107"/>
                <a:gd name="T49" fmla="*/ 10 h 18"/>
                <a:gd name="T50" fmla="*/ 71 w 107"/>
                <a:gd name="T51" fmla="*/ 14 h 18"/>
                <a:gd name="T52" fmla="*/ 74 w 107"/>
                <a:gd name="T53" fmla="*/ 11 h 18"/>
                <a:gd name="T54" fmla="*/ 67 w 107"/>
                <a:gd name="T55" fmla="*/ 7 h 18"/>
                <a:gd name="T56" fmla="*/ 95 w 107"/>
                <a:gd name="T57" fmla="*/ 6 h 18"/>
                <a:gd name="T58" fmla="*/ 12 w 107"/>
                <a:gd name="T59" fmla="*/ 12 h 18"/>
                <a:gd name="T60" fmla="*/ 7 w 107"/>
                <a:gd name="T61" fmla="*/ 7 h 18"/>
                <a:gd name="T62" fmla="*/ 6 w 107"/>
                <a:gd name="T63" fmla="*/ 13 h 18"/>
                <a:gd name="T64" fmla="*/ 6 w 107"/>
                <a:gd name="T65" fmla="*/ 15 h 18"/>
                <a:gd name="T66" fmla="*/ 6 w 107"/>
                <a:gd name="T67" fmla="*/ 17 h 18"/>
                <a:gd name="T68" fmla="*/ 3 w 107"/>
                <a:gd name="T69" fmla="*/ 10 h 18"/>
                <a:gd name="T70" fmla="*/ 6 w 107"/>
                <a:gd name="T71" fmla="*/ 11 h 18"/>
                <a:gd name="T72" fmla="*/ 0 w 107"/>
                <a:gd name="T73" fmla="*/ 6 h 18"/>
                <a:gd name="T74" fmla="*/ 34 w 107"/>
                <a:gd name="T75" fmla="*/ 6 h 18"/>
                <a:gd name="T76" fmla="*/ 44 w 107"/>
                <a:gd name="T77" fmla="*/ 6 h 18"/>
                <a:gd name="T78" fmla="*/ 55 w 107"/>
                <a:gd name="T79" fmla="*/ 7 h 18"/>
                <a:gd name="T80" fmla="*/ 53 w 107"/>
                <a:gd name="T81" fmla="*/ 15 h 18"/>
                <a:gd name="T82" fmla="*/ 48 w 107"/>
                <a:gd name="T83" fmla="*/ 13 h 18"/>
                <a:gd name="T84" fmla="*/ 52 w 107"/>
                <a:gd name="T85" fmla="*/ 9 h 18"/>
                <a:gd name="T86" fmla="*/ 53 w 107"/>
                <a:gd name="T87" fmla="*/ 10 h 18"/>
                <a:gd name="T88" fmla="*/ 49 w 107"/>
                <a:gd name="T89" fmla="*/ 12 h 18"/>
                <a:gd name="T90" fmla="*/ 53 w 107"/>
                <a:gd name="T91" fmla="*/ 14 h 18"/>
                <a:gd name="T92" fmla="*/ 45 w 107"/>
                <a:gd name="T93" fmla="*/ 7 h 18"/>
                <a:gd name="T94" fmla="*/ 39 w 107"/>
                <a:gd name="T95" fmla="*/ 14 h 18"/>
                <a:gd name="T96" fmla="*/ 37 w 107"/>
                <a:gd name="T97" fmla="*/ 14 h 18"/>
                <a:gd name="T98" fmla="*/ 36 w 107"/>
                <a:gd name="T99" fmla="*/ 11 h 18"/>
                <a:gd name="T100" fmla="*/ 34 w 107"/>
                <a:gd name="T101" fmla="*/ 7 h 18"/>
                <a:gd name="T102" fmla="*/ 28 w 107"/>
                <a:gd name="T103" fmla="*/ 16 h 18"/>
                <a:gd name="T104" fmla="*/ 24 w 107"/>
                <a:gd name="T105" fmla="*/ 11 h 18"/>
                <a:gd name="T106" fmla="*/ 25 w 107"/>
                <a:gd name="T107" fmla="*/ 7 h 18"/>
                <a:gd name="T108" fmla="*/ 13 w 107"/>
                <a:gd name="T109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" h="18">
                  <a:moveTo>
                    <a:pt x="19" y="11"/>
                  </a:moveTo>
                  <a:cubicBezTo>
                    <a:pt x="19" y="11"/>
                    <a:pt x="19" y="11"/>
                    <a:pt x="19" y="11"/>
                  </a:cubicBezTo>
                  <a:cubicBezTo>
                    <a:pt x="18" y="11"/>
                    <a:pt x="18" y="11"/>
                    <a:pt x="18" y="12"/>
                  </a:cubicBezTo>
                  <a:cubicBezTo>
                    <a:pt x="18" y="13"/>
                    <a:pt x="18" y="13"/>
                    <a:pt x="18" y="14"/>
                  </a:cubicBezTo>
                  <a:cubicBezTo>
                    <a:pt x="19" y="15"/>
                    <a:pt x="19" y="15"/>
                    <a:pt x="20" y="16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4"/>
                    <a:pt x="17" y="13"/>
                    <a:pt x="17" y="12"/>
                  </a:cubicBezTo>
                  <a:cubicBezTo>
                    <a:pt x="17" y="12"/>
                    <a:pt x="17" y="11"/>
                    <a:pt x="17" y="11"/>
                  </a:cubicBezTo>
                  <a:cubicBezTo>
                    <a:pt x="17" y="10"/>
                    <a:pt x="18" y="10"/>
                    <a:pt x="19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19" y="11"/>
                  </a:lnTo>
                  <a:close/>
                  <a:moveTo>
                    <a:pt x="31" y="7"/>
                  </a:move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4"/>
                    <a:pt x="27" y="15"/>
                    <a:pt x="28" y="15"/>
                  </a:cubicBezTo>
                  <a:cubicBezTo>
                    <a:pt x="29" y="15"/>
                    <a:pt x="30" y="15"/>
                    <a:pt x="30" y="14"/>
                  </a:cubicBezTo>
                  <a:cubicBezTo>
                    <a:pt x="30" y="14"/>
                    <a:pt x="31" y="14"/>
                    <a:pt x="31" y="14"/>
                  </a:cubicBezTo>
                  <a:cubicBezTo>
                    <a:pt x="31" y="13"/>
                    <a:pt x="31" y="13"/>
                    <a:pt x="31" y="13"/>
                  </a:cubicBezTo>
                  <a:lnTo>
                    <a:pt x="31" y="7"/>
                  </a:lnTo>
                  <a:close/>
                  <a:moveTo>
                    <a:pt x="43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3" y="11"/>
                    <a:pt x="43" y="11"/>
                    <a:pt x="43" y="11"/>
                  </a:cubicBezTo>
                  <a:lnTo>
                    <a:pt x="43" y="7"/>
                  </a:lnTo>
                  <a:close/>
                  <a:moveTo>
                    <a:pt x="92" y="7"/>
                  </a:moveTo>
                  <a:cubicBezTo>
                    <a:pt x="87" y="7"/>
                    <a:pt x="87" y="7"/>
                    <a:pt x="87" y="7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88" y="11"/>
                    <a:pt x="88" y="11"/>
                    <a:pt x="87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4"/>
                    <a:pt x="87" y="15"/>
                    <a:pt x="89" y="15"/>
                  </a:cubicBezTo>
                  <a:cubicBezTo>
                    <a:pt x="89" y="15"/>
                    <a:pt x="90" y="15"/>
                    <a:pt x="90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2" y="13"/>
                    <a:pt x="92" y="13"/>
                    <a:pt x="92" y="13"/>
                  </a:cubicBezTo>
                  <a:lnTo>
                    <a:pt x="92" y="7"/>
                  </a:lnTo>
                  <a:close/>
                  <a:moveTo>
                    <a:pt x="104" y="6"/>
                  </a:moveTo>
                  <a:cubicBezTo>
                    <a:pt x="99" y="1"/>
                    <a:pt x="99" y="1"/>
                    <a:pt x="99" y="1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9" y="11"/>
                    <a:pt x="98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8" y="13"/>
                    <a:pt x="98" y="14"/>
                    <a:pt x="99" y="15"/>
                  </a:cubicBezTo>
                  <a:cubicBezTo>
                    <a:pt x="99" y="16"/>
                    <a:pt x="100" y="17"/>
                    <a:pt x="100" y="17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97" y="14"/>
                    <a:pt x="96" y="14"/>
                  </a:cubicBezTo>
                  <a:cubicBezTo>
                    <a:pt x="96" y="13"/>
                    <a:pt x="96" y="13"/>
                    <a:pt x="96" y="12"/>
                  </a:cubicBezTo>
                  <a:cubicBezTo>
                    <a:pt x="96" y="11"/>
                    <a:pt x="96" y="11"/>
                    <a:pt x="97" y="10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8" y="10"/>
                    <a:pt x="98" y="9"/>
                    <a:pt x="98" y="9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5"/>
                    <a:pt x="90" y="16"/>
                    <a:pt x="89" y="16"/>
                  </a:cubicBezTo>
                  <a:cubicBezTo>
                    <a:pt x="87" y="16"/>
                    <a:pt x="86" y="15"/>
                    <a:pt x="85" y="15"/>
                  </a:cubicBezTo>
                  <a:cubicBezTo>
                    <a:pt x="85" y="14"/>
                    <a:pt x="84" y="13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6" y="11"/>
                    <a:pt x="86" y="11"/>
                  </a:cubicBezTo>
                  <a:cubicBezTo>
                    <a:pt x="87" y="11"/>
                    <a:pt x="87" y="10"/>
                    <a:pt x="87" y="9"/>
                  </a:cubicBezTo>
                  <a:cubicBezTo>
                    <a:pt x="87" y="9"/>
                    <a:pt x="87" y="9"/>
                    <a:pt x="86" y="8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6" y="11"/>
                    <a:pt x="76" y="11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6"/>
                    <a:pt x="76" y="16"/>
                    <a:pt x="75" y="17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2" y="17"/>
                    <a:pt x="71" y="16"/>
                    <a:pt x="70" y="15"/>
                  </a:cubicBezTo>
                  <a:cubicBezTo>
                    <a:pt x="70" y="14"/>
                    <a:pt x="69" y="13"/>
                    <a:pt x="69" y="1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2"/>
                    <a:pt x="70" y="13"/>
                    <a:pt x="71" y="14"/>
                  </a:cubicBezTo>
                  <a:cubicBezTo>
                    <a:pt x="72" y="15"/>
                    <a:pt x="73" y="16"/>
                    <a:pt x="74" y="16"/>
                  </a:cubicBezTo>
                  <a:cubicBezTo>
                    <a:pt x="74" y="16"/>
                    <a:pt x="75" y="16"/>
                    <a:pt x="75" y="15"/>
                  </a:cubicBezTo>
                  <a:cubicBezTo>
                    <a:pt x="75" y="15"/>
                    <a:pt x="75" y="15"/>
                    <a:pt x="75" y="14"/>
                  </a:cubicBezTo>
                  <a:cubicBezTo>
                    <a:pt x="75" y="14"/>
                    <a:pt x="75" y="13"/>
                    <a:pt x="75" y="13"/>
                  </a:cubicBezTo>
                  <a:cubicBezTo>
                    <a:pt x="75" y="12"/>
                    <a:pt x="75" y="12"/>
                    <a:pt x="74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0"/>
                    <a:pt x="73" y="10"/>
                    <a:pt x="73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5" y="6"/>
                    <a:pt x="95" y="6"/>
                    <a:pt x="95" y="6"/>
                  </a:cubicBezTo>
                  <a:lnTo>
                    <a:pt x="104" y="6"/>
                  </a:lnTo>
                  <a:close/>
                  <a:moveTo>
                    <a:pt x="13" y="7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8"/>
                    <a:pt x="7" y="18"/>
                    <a:pt x="6" y="17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6"/>
                    <a:pt x="50" y="15"/>
                    <a:pt x="49" y="15"/>
                  </a:cubicBezTo>
                  <a:cubicBezTo>
                    <a:pt x="49" y="14"/>
                    <a:pt x="48" y="14"/>
                    <a:pt x="48" y="14"/>
                  </a:cubicBezTo>
                  <a:cubicBezTo>
                    <a:pt x="48" y="14"/>
                    <a:pt x="48" y="13"/>
                    <a:pt x="48" y="13"/>
                  </a:cubicBezTo>
                  <a:cubicBezTo>
                    <a:pt x="48" y="13"/>
                    <a:pt x="48" y="13"/>
                    <a:pt x="48" y="12"/>
                  </a:cubicBezTo>
                  <a:cubicBezTo>
                    <a:pt x="48" y="12"/>
                    <a:pt x="48" y="11"/>
                    <a:pt x="49" y="10"/>
                  </a:cubicBezTo>
                  <a:cubicBezTo>
                    <a:pt x="49" y="9"/>
                    <a:pt x="50" y="9"/>
                    <a:pt x="51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1" y="10"/>
                    <a:pt x="51" y="10"/>
                    <a:pt x="50" y="10"/>
                  </a:cubicBezTo>
                  <a:cubicBezTo>
                    <a:pt x="50" y="10"/>
                    <a:pt x="50" y="11"/>
                    <a:pt x="49" y="11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4"/>
                    <a:pt x="50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3" y="14"/>
                    <a:pt x="53" y="14"/>
                  </a:cubicBezTo>
                  <a:cubicBezTo>
                    <a:pt x="53" y="14"/>
                    <a:pt x="54" y="14"/>
                    <a:pt x="54" y="13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4"/>
                    <a:pt x="37" y="14"/>
                  </a:cubicBezTo>
                  <a:cubicBezTo>
                    <a:pt x="37" y="14"/>
                    <a:pt x="37" y="13"/>
                    <a:pt x="36" y="1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6"/>
                    <a:pt x="28" y="16"/>
                  </a:cubicBezTo>
                  <a:cubicBezTo>
                    <a:pt x="27" y="16"/>
                    <a:pt x="26" y="15"/>
                    <a:pt x="25" y="15"/>
                  </a:cubicBezTo>
                  <a:cubicBezTo>
                    <a:pt x="24" y="14"/>
                    <a:pt x="24" y="13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6" y="11"/>
                    <a:pt x="26" y="11"/>
                  </a:cubicBezTo>
                  <a:cubicBezTo>
                    <a:pt x="26" y="11"/>
                    <a:pt x="27" y="10"/>
                    <a:pt x="27" y="9"/>
                  </a:cubicBezTo>
                  <a:cubicBezTo>
                    <a:pt x="27" y="9"/>
                    <a:pt x="26" y="9"/>
                    <a:pt x="26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lnTo>
                    <a:pt x="13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" name="Freeform 40"/>
            <p:cNvSpPr>
              <a:spLocks noEditPoints="1"/>
            </p:cNvSpPr>
            <p:nvPr/>
          </p:nvSpPr>
          <p:spPr bwMode="auto">
            <a:xfrm>
              <a:off x="3712" y="2243"/>
              <a:ext cx="256" cy="45"/>
            </a:xfrm>
            <a:custGeom>
              <a:avLst/>
              <a:gdLst>
                <a:gd name="T0" fmla="*/ 40 w 256"/>
                <a:gd name="T1" fmla="*/ 29 h 45"/>
                <a:gd name="T2" fmla="*/ 40 w 256"/>
                <a:gd name="T3" fmla="*/ 36 h 45"/>
                <a:gd name="T4" fmla="*/ 47 w 256"/>
                <a:gd name="T5" fmla="*/ 41 h 45"/>
                <a:gd name="T6" fmla="*/ 43 w 256"/>
                <a:gd name="T7" fmla="*/ 29 h 45"/>
                <a:gd name="T8" fmla="*/ 45 w 256"/>
                <a:gd name="T9" fmla="*/ 26 h 45"/>
                <a:gd name="T10" fmla="*/ 71 w 256"/>
                <a:gd name="T11" fmla="*/ 34 h 45"/>
                <a:gd name="T12" fmla="*/ 66 w 256"/>
                <a:gd name="T13" fmla="*/ 36 h 45"/>
                <a:gd name="T14" fmla="*/ 62 w 256"/>
                <a:gd name="T15" fmla="*/ 29 h 45"/>
                <a:gd name="T16" fmla="*/ 66 w 256"/>
                <a:gd name="T17" fmla="*/ 17 h 45"/>
                <a:gd name="T18" fmla="*/ 216 w 256"/>
                <a:gd name="T19" fmla="*/ 36 h 45"/>
                <a:gd name="T20" fmla="*/ 209 w 256"/>
                <a:gd name="T21" fmla="*/ 36 h 45"/>
                <a:gd name="T22" fmla="*/ 204 w 256"/>
                <a:gd name="T23" fmla="*/ 29 h 45"/>
                <a:gd name="T24" fmla="*/ 206 w 256"/>
                <a:gd name="T25" fmla="*/ 17 h 45"/>
                <a:gd name="T26" fmla="*/ 175 w 256"/>
                <a:gd name="T27" fmla="*/ 24 h 45"/>
                <a:gd name="T28" fmla="*/ 175 w 256"/>
                <a:gd name="T29" fmla="*/ 29 h 45"/>
                <a:gd name="T30" fmla="*/ 178 w 256"/>
                <a:gd name="T31" fmla="*/ 36 h 45"/>
                <a:gd name="T32" fmla="*/ 171 w 256"/>
                <a:gd name="T33" fmla="*/ 38 h 45"/>
                <a:gd name="T34" fmla="*/ 168 w 256"/>
                <a:gd name="T35" fmla="*/ 34 h 45"/>
                <a:gd name="T36" fmla="*/ 166 w 256"/>
                <a:gd name="T37" fmla="*/ 36 h 45"/>
                <a:gd name="T38" fmla="*/ 175 w 256"/>
                <a:gd name="T39" fmla="*/ 38 h 45"/>
                <a:gd name="T40" fmla="*/ 178 w 256"/>
                <a:gd name="T41" fmla="*/ 41 h 45"/>
                <a:gd name="T42" fmla="*/ 182 w 256"/>
                <a:gd name="T43" fmla="*/ 34 h 45"/>
                <a:gd name="T44" fmla="*/ 180 w 256"/>
                <a:gd name="T45" fmla="*/ 26 h 45"/>
                <a:gd name="T46" fmla="*/ 206 w 256"/>
                <a:gd name="T47" fmla="*/ 22 h 45"/>
                <a:gd name="T48" fmla="*/ 206 w 256"/>
                <a:gd name="T49" fmla="*/ 26 h 45"/>
                <a:gd name="T50" fmla="*/ 201 w 256"/>
                <a:gd name="T51" fmla="*/ 26 h 45"/>
                <a:gd name="T52" fmla="*/ 204 w 256"/>
                <a:gd name="T53" fmla="*/ 36 h 45"/>
                <a:gd name="T54" fmla="*/ 213 w 256"/>
                <a:gd name="T55" fmla="*/ 38 h 45"/>
                <a:gd name="T56" fmla="*/ 232 w 256"/>
                <a:gd name="T57" fmla="*/ 24 h 45"/>
                <a:gd name="T58" fmla="*/ 230 w 256"/>
                <a:gd name="T59" fmla="*/ 24 h 45"/>
                <a:gd name="T60" fmla="*/ 227 w 256"/>
                <a:gd name="T61" fmla="*/ 31 h 45"/>
                <a:gd name="T62" fmla="*/ 232 w 256"/>
                <a:gd name="T63" fmla="*/ 41 h 45"/>
                <a:gd name="T64" fmla="*/ 237 w 256"/>
                <a:gd name="T65" fmla="*/ 45 h 45"/>
                <a:gd name="T66" fmla="*/ 235 w 256"/>
                <a:gd name="T67" fmla="*/ 41 h 45"/>
                <a:gd name="T68" fmla="*/ 235 w 256"/>
                <a:gd name="T69" fmla="*/ 36 h 45"/>
                <a:gd name="T70" fmla="*/ 235 w 256"/>
                <a:gd name="T71" fmla="*/ 24 h 45"/>
                <a:gd name="T72" fmla="*/ 249 w 256"/>
                <a:gd name="T73" fmla="*/ 15 h 45"/>
                <a:gd name="T74" fmla="*/ 62 w 256"/>
                <a:gd name="T75" fmla="*/ 22 h 45"/>
                <a:gd name="T76" fmla="*/ 62 w 256"/>
                <a:gd name="T77" fmla="*/ 26 h 45"/>
                <a:gd name="T78" fmla="*/ 57 w 256"/>
                <a:gd name="T79" fmla="*/ 26 h 45"/>
                <a:gd name="T80" fmla="*/ 62 w 256"/>
                <a:gd name="T81" fmla="*/ 36 h 45"/>
                <a:gd name="T82" fmla="*/ 71 w 256"/>
                <a:gd name="T83" fmla="*/ 38 h 45"/>
                <a:gd name="T84" fmla="*/ 85 w 256"/>
                <a:gd name="T85" fmla="*/ 29 h 45"/>
                <a:gd name="T86" fmla="*/ 85 w 256"/>
                <a:gd name="T87" fmla="*/ 31 h 45"/>
                <a:gd name="T88" fmla="*/ 90 w 256"/>
                <a:gd name="T89" fmla="*/ 34 h 45"/>
                <a:gd name="T90" fmla="*/ 92 w 256"/>
                <a:gd name="T91" fmla="*/ 29 h 45"/>
                <a:gd name="T92" fmla="*/ 126 w 256"/>
                <a:gd name="T93" fmla="*/ 34 h 45"/>
                <a:gd name="T94" fmla="*/ 123 w 256"/>
                <a:gd name="T95" fmla="*/ 36 h 45"/>
                <a:gd name="T96" fmla="*/ 116 w 256"/>
                <a:gd name="T97" fmla="*/ 31 h 45"/>
                <a:gd name="T98" fmla="*/ 116 w 256"/>
                <a:gd name="T99" fmla="*/ 24 h 45"/>
                <a:gd name="T100" fmla="*/ 121 w 256"/>
                <a:gd name="T101" fmla="*/ 24 h 45"/>
                <a:gd name="T102" fmla="*/ 126 w 256"/>
                <a:gd name="T103" fmla="*/ 22 h 45"/>
                <a:gd name="T104" fmla="*/ 121 w 256"/>
                <a:gd name="T105" fmla="*/ 22 h 45"/>
                <a:gd name="T106" fmla="*/ 114 w 256"/>
                <a:gd name="T107" fmla="*/ 31 h 45"/>
                <a:gd name="T108" fmla="*/ 116 w 256"/>
                <a:gd name="T109" fmla="*/ 34 h 45"/>
                <a:gd name="T110" fmla="*/ 116 w 256"/>
                <a:gd name="T111" fmla="*/ 36 h 45"/>
                <a:gd name="T112" fmla="*/ 109 w 256"/>
                <a:gd name="T113" fmla="*/ 15 h 45"/>
                <a:gd name="T114" fmla="*/ 14 w 256"/>
                <a:gd name="T115" fmla="*/ 26 h 45"/>
                <a:gd name="T116" fmla="*/ 10 w 256"/>
                <a:gd name="T117" fmla="*/ 29 h 45"/>
                <a:gd name="T118" fmla="*/ 17 w 256"/>
                <a:gd name="T119" fmla="*/ 41 h 45"/>
                <a:gd name="T120" fmla="*/ 12 w 256"/>
                <a:gd name="T121" fmla="*/ 31 h 45"/>
                <a:gd name="T122" fmla="*/ 14 w 256"/>
                <a:gd name="T123" fmla="*/ 29 h 45"/>
                <a:gd name="T124" fmla="*/ 17 w 256"/>
                <a:gd name="T125" fmla="*/ 3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" h="45">
                  <a:moveTo>
                    <a:pt x="45" y="24"/>
                  </a:moveTo>
                  <a:lnTo>
                    <a:pt x="45" y="24"/>
                  </a:lnTo>
                  <a:lnTo>
                    <a:pt x="57" y="24"/>
                  </a:lnTo>
                  <a:lnTo>
                    <a:pt x="57" y="26"/>
                  </a:lnTo>
                  <a:lnTo>
                    <a:pt x="45" y="26"/>
                  </a:lnTo>
                  <a:lnTo>
                    <a:pt x="45" y="24"/>
                  </a:lnTo>
                  <a:close/>
                  <a:moveTo>
                    <a:pt x="57" y="26"/>
                  </a:move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close/>
                  <a:moveTo>
                    <a:pt x="57" y="26"/>
                  </a:moveTo>
                  <a:lnTo>
                    <a:pt x="57" y="26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6"/>
                  </a:lnTo>
                  <a:lnTo>
                    <a:pt x="57" y="26"/>
                  </a:lnTo>
                  <a:close/>
                  <a:moveTo>
                    <a:pt x="57" y="24"/>
                  </a:move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close/>
                  <a:moveTo>
                    <a:pt x="57" y="24"/>
                  </a:moveTo>
                  <a:lnTo>
                    <a:pt x="57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57" y="24"/>
                  </a:lnTo>
                  <a:lnTo>
                    <a:pt x="57" y="24"/>
                  </a:lnTo>
                  <a:close/>
                  <a:moveTo>
                    <a:pt x="45" y="24"/>
                  </a:move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close/>
                  <a:moveTo>
                    <a:pt x="40" y="24"/>
                  </a:move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close/>
                  <a:moveTo>
                    <a:pt x="38" y="29"/>
                  </a:move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close/>
                  <a:moveTo>
                    <a:pt x="40" y="36"/>
                  </a:move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close/>
                  <a:moveTo>
                    <a:pt x="40" y="36"/>
                  </a:moveTo>
                  <a:lnTo>
                    <a:pt x="43" y="36"/>
                  </a:lnTo>
                  <a:lnTo>
                    <a:pt x="45" y="38"/>
                  </a:lnTo>
                  <a:lnTo>
                    <a:pt x="43" y="41"/>
                  </a:lnTo>
                  <a:lnTo>
                    <a:pt x="40" y="36"/>
                  </a:lnTo>
                  <a:lnTo>
                    <a:pt x="40" y="36"/>
                  </a:lnTo>
                  <a:close/>
                  <a:moveTo>
                    <a:pt x="43" y="41"/>
                  </a:move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close/>
                  <a:moveTo>
                    <a:pt x="43" y="41"/>
                  </a:moveTo>
                  <a:lnTo>
                    <a:pt x="45" y="38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3" y="41"/>
                  </a:lnTo>
                  <a:lnTo>
                    <a:pt x="43" y="41"/>
                  </a:lnTo>
                  <a:close/>
                  <a:moveTo>
                    <a:pt x="45" y="41"/>
                  </a:move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close/>
                  <a:moveTo>
                    <a:pt x="45" y="41"/>
                  </a:moveTo>
                  <a:lnTo>
                    <a:pt x="45" y="41"/>
                  </a:lnTo>
                  <a:lnTo>
                    <a:pt x="50" y="43"/>
                  </a:lnTo>
                  <a:lnTo>
                    <a:pt x="47" y="43"/>
                  </a:lnTo>
                  <a:lnTo>
                    <a:pt x="45" y="41"/>
                  </a:lnTo>
                  <a:lnTo>
                    <a:pt x="45" y="41"/>
                  </a:lnTo>
                  <a:close/>
                  <a:moveTo>
                    <a:pt x="50" y="43"/>
                  </a:moveTo>
                  <a:lnTo>
                    <a:pt x="47" y="45"/>
                  </a:lnTo>
                  <a:lnTo>
                    <a:pt x="47" y="43"/>
                  </a:lnTo>
                  <a:lnTo>
                    <a:pt x="50" y="43"/>
                  </a:lnTo>
                  <a:close/>
                  <a:moveTo>
                    <a:pt x="47" y="43"/>
                  </a:moveTo>
                  <a:lnTo>
                    <a:pt x="47" y="43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47" y="43"/>
                  </a:lnTo>
                  <a:close/>
                  <a:moveTo>
                    <a:pt x="50" y="41"/>
                  </a:moveTo>
                  <a:lnTo>
                    <a:pt x="52" y="41"/>
                  </a:lnTo>
                  <a:lnTo>
                    <a:pt x="50" y="43"/>
                  </a:lnTo>
                  <a:lnTo>
                    <a:pt x="50" y="41"/>
                  </a:lnTo>
                  <a:close/>
                  <a:moveTo>
                    <a:pt x="50" y="43"/>
                  </a:moveTo>
                  <a:lnTo>
                    <a:pt x="50" y="41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7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3"/>
                  </a:lnTo>
                  <a:close/>
                  <a:moveTo>
                    <a:pt x="47" y="41"/>
                  </a:move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close/>
                  <a:moveTo>
                    <a:pt x="47" y="41"/>
                  </a:moveTo>
                  <a:lnTo>
                    <a:pt x="47" y="41"/>
                  </a:lnTo>
                  <a:lnTo>
                    <a:pt x="45" y="38"/>
                  </a:lnTo>
                  <a:lnTo>
                    <a:pt x="47" y="38"/>
                  </a:lnTo>
                  <a:lnTo>
                    <a:pt x="50" y="41"/>
                  </a:lnTo>
                  <a:lnTo>
                    <a:pt x="47" y="41"/>
                  </a:lnTo>
                  <a:close/>
                  <a:moveTo>
                    <a:pt x="45" y="38"/>
                  </a:move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close/>
                  <a:moveTo>
                    <a:pt x="47" y="38"/>
                  </a:move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close/>
                  <a:moveTo>
                    <a:pt x="45" y="34"/>
                  </a:move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5" y="34"/>
                  </a:lnTo>
                  <a:close/>
                  <a:moveTo>
                    <a:pt x="43" y="29"/>
                  </a:move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73" y="17"/>
                  </a:moveTo>
                  <a:lnTo>
                    <a:pt x="76" y="17"/>
                  </a:lnTo>
                  <a:lnTo>
                    <a:pt x="76" y="17"/>
                  </a:lnTo>
                  <a:lnTo>
                    <a:pt x="73" y="17"/>
                  </a:lnTo>
                  <a:close/>
                  <a:moveTo>
                    <a:pt x="73" y="17"/>
                  </a:moveTo>
                  <a:lnTo>
                    <a:pt x="76" y="17"/>
                  </a:lnTo>
                  <a:lnTo>
                    <a:pt x="76" y="31"/>
                  </a:lnTo>
                  <a:lnTo>
                    <a:pt x="73" y="31"/>
                  </a:lnTo>
                  <a:lnTo>
                    <a:pt x="73" y="17"/>
                  </a:lnTo>
                  <a:lnTo>
                    <a:pt x="73" y="17"/>
                  </a:lnTo>
                  <a:close/>
                  <a:moveTo>
                    <a:pt x="76" y="31"/>
                  </a:move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close/>
                  <a:moveTo>
                    <a:pt x="76" y="31"/>
                  </a:moveTo>
                  <a:lnTo>
                    <a:pt x="76" y="31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1"/>
                  </a:lnTo>
                  <a:lnTo>
                    <a:pt x="76" y="31"/>
                  </a:lnTo>
                  <a:close/>
                  <a:moveTo>
                    <a:pt x="73" y="34"/>
                  </a:move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close/>
                  <a:moveTo>
                    <a:pt x="73" y="34"/>
                  </a:move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close/>
                  <a:moveTo>
                    <a:pt x="71" y="34"/>
                  </a:move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71" y="34"/>
                  </a:move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66" y="36"/>
                  </a:move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close/>
                  <a:moveTo>
                    <a:pt x="62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59" y="31"/>
                  </a:lnTo>
                  <a:close/>
                  <a:moveTo>
                    <a:pt x="62" y="31"/>
                  </a:move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close/>
                  <a:moveTo>
                    <a:pt x="62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29"/>
                  </a:lnTo>
                  <a:lnTo>
                    <a:pt x="59" y="29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62" y="29"/>
                  </a:move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close/>
                  <a:moveTo>
                    <a:pt x="62" y="29"/>
                  </a:moveTo>
                  <a:lnTo>
                    <a:pt x="62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2" y="29"/>
                  </a:lnTo>
                  <a:close/>
                  <a:moveTo>
                    <a:pt x="64" y="29"/>
                  </a:move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close/>
                  <a:moveTo>
                    <a:pt x="64" y="29"/>
                  </a:moveTo>
                  <a:lnTo>
                    <a:pt x="64" y="29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close/>
                  <a:moveTo>
                    <a:pt x="66" y="24"/>
                  </a:move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close/>
                  <a:moveTo>
                    <a:pt x="66" y="24"/>
                  </a:moveTo>
                  <a:lnTo>
                    <a:pt x="66" y="24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4"/>
                  </a:lnTo>
                  <a:lnTo>
                    <a:pt x="66" y="24"/>
                  </a:lnTo>
                  <a:close/>
                  <a:moveTo>
                    <a:pt x="66" y="22"/>
                  </a:move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close/>
                  <a:moveTo>
                    <a:pt x="66" y="22"/>
                  </a:moveTo>
                  <a:lnTo>
                    <a:pt x="66" y="22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2"/>
                  </a:lnTo>
                  <a:lnTo>
                    <a:pt x="66" y="22"/>
                  </a:lnTo>
                  <a:close/>
                  <a:moveTo>
                    <a:pt x="66" y="19"/>
                  </a:moveTo>
                  <a:lnTo>
                    <a:pt x="66" y="19"/>
                  </a:lnTo>
                  <a:lnTo>
                    <a:pt x="66" y="19"/>
                  </a:lnTo>
                  <a:lnTo>
                    <a:pt x="66" y="19"/>
                  </a:lnTo>
                  <a:close/>
                  <a:moveTo>
                    <a:pt x="66" y="19"/>
                  </a:moveTo>
                  <a:lnTo>
                    <a:pt x="64" y="19"/>
                  </a:lnTo>
                  <a:lnTo>
                    <a:pt x="64" y="19"/>
                  </a:lnTo>
                  <a:lnTo>
                    <a:pt x="66" y="17"/>
                  </a:lnTo>
                  <a:lnTo>
                    <a:pt x="66" y="19"/>
                  </a:lnTo>
                  <a:lnTo>
                    <a:pt x="66" y="19"/>
                  </a:lnTo>
                  <a:close/>
                  <a:moveTo>
                    <a:pt x="66" y="17"/>
                  </a:moveTo>
                  <a:lnTo>
                    <a:pt x="66" y="17"/>
                  </a:lnTo>
                  <a:lnTo>
                    <a:pt x="66" y="17"/>
                  </a:lnTo>
                  <a:close/>
                  <a:moveTo>
                    <a:pt x="66" y="17"/>
                  </a:moveTo>
                  <a:lnTo>
                    <a:pt x="64" y="19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6" y="17"/>
                  </a:lnTo>
                  <a:close/>
                  <a:moveTo>
                    <a:pt x="64" y="17"/>
                  </a:moveTo>
                  <a:lnTo>
                    <a:pt x="64" y="17"/>
                  </a:lnTo>
                  <a:lnTo>
                    <a:pt x="64" y="17"/>
                  </a:lnTo>
                  <a:lnTo>
                    <a:pt x="64" y="17"/>
                  </a:lnTo>
                  <a:close/>
                  <a:moveTo>
                    <a:pt x="64" y="17"/>
                  </a:moveTo>
                  <a:lnTo>
                    <a:pt x="64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64" y="17"/>
                  </a:lnTo>
                  <a:lnTo>
                    <a:pt x="64" y="17"/>
                  </a:lnTo>
                  <a:close/>
                  <a:moveTo>
                    <a:pt x="102" y="17"/>
                  </a:moveTo>
                  <a:lnTo>
                    <a:pt x="104" y="17"/>
                  </a:lnTo>
                  <a:lnTo>
                    <a:pt x="104" y="17"/>
                  </a:lnTo>
                  <a:lnTo>
                    <a:pt x="102" y="17"/>
                  </a:lnTo>
                  <a:close/>
                  <a:moveTo>
                    <a:pt x="102" y="17"/>
                  </a:moveTo>
                  <a:lnTo>
                    <a:pt x="104" y="17"/>
                  </a:lnTo>
                  <a:lnTo>
                    <a:pt x="104" y="26"/>
                  </a:lnTo>
                  <a:lnTo>
                    <a:pt x="102" y="26"/>
                  </a:lnTo>
                  <a:lnTo>
                    <a:pt x="102" y="17"/>
                  </a:lnTo>
                  <a:lnTo>
                    <a:pt x="102" y="17"/>
                  </a:lnTo>
                  <a:close/>
                  <a:moveTo>
                    <a:pt x="104" y="26"/>
                  </a:moveTo>
                  <a:lnTo>
                    <a:pt x="104" y="29"/>
                  </a:lnTo>
                  <a:lnTo>
                    <a:pt x="102" y="29"/>
                  </a:lnTo>
                  <a:lnTo>
                    <a:pt x="104" y="26"/>
                  </a:lnTo>
                  <a:close/>
                  <a:moveTo>
                    <a:pt x="104" y="26"/>
                  </a:moveTo>
                  <a:lnTo>
                    <a:pt x="102" y="29"/>
                  </a:lnTo>
                  <a:lnTo>
                    <a:pt x="92" y="29"/>
                  </a:lnTo>
                  <a:lnTo>
                    <a:pt x="92" y="26"/>
                  </a:lnTo>
                  <a:lnTo>
                    <a:pt x="102" y="26"/>
                  </a:lnTo>
                  <a:lnTo>
                    <a:pt x="104" y="26"/>
                  </a:lnTo>
                  <a:close/>
                  <a:moveTo>
                    <a:pt x="92" y="29"/>
                  </a:moveTo>
                  <a:lnTo>
                    <a:pt x="92" y="29"/>
                  </a:lnTo>
                  <a:lnTo>
                    <a:pt x="92" y="26"/>
                  </a:lnTo>
                  <a:lnTo>
                    <a:pt x="92" y="29"/>
                  </a:lnTo>
                  <a:close/>
                  <a:moveTo>
                    <a:pt x="92" y="29"/>
                  </a:moveTo>
                  <a:lnTo>
                    <a:pt x="92" y="26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26"/>
                  </a:lnTo>
                  <a:lnTo>
                    <a:pt x="92" y="29"/>
                  </a:lnTo>
                  <a:close/>
                  <a:moveTo>
                    <a:pt x="92" y="17"/>
                  </a:move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close/>
                  <a:moveTo>
                    <a:pt x="92" y="17"/>
                  </a:moveTo>
                  <a:lnTo>
                    <a:pt x="92" y="17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92" y="17"/>
                  </a:lnTo>
                  <a:lnTo>
                    <a:pt x="92" y="17"/>
                  </a:lnTo>
                  <a:close/>
                  <a:moveTo>
                    <a:pt x="218" y="17"/>
                  </a:moveTo>
                  <a:lnTo>
                    <a:pt x="218" y="17"/>
                  </a:lnTo>
                  <a:lnTo>
                    <a:pt x="218" y="17"/>
                  </a:lnTo>
                  <a:lnTo>
                    <a:pt x="218" y="17"/>
                  </a:lnTo>
                  <a:close/>
                  <a:moveTo>
                    <a:pt x="218" y="17"/>
                  </a:moveTo>
                  <a:lnTo>
                    <a:pt x="218" y="17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18" y="17"/>
                  </a:lnTo>
                  <a:lnTo>
                    <a:pt x="218" y="17"/>
                  </a:lnTo>
                  <a:close/>
                  <a:moveTo>
                    <a:pt x="218" y="31"/>
                  </a:moveTo>
                  <a:lnTo>
                    <a:pt x="218" y="31"/>
                  </a:lnTo>
                  <a:lnTo>
                    <a:pt x="218" y="31"/>
                  </a:lnTo>
                  <a:lnTo>
                    <a:pt x="218" y="31"/>
                  </a:lnTo>
                  <a:close/>
                  <a:moveTo>
                    <a:pt x="218" y="31"/>
                  </a:moveTo>
                  <a:lnTo>
                    <a:pt x="218" y="31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8" y="31"/>
                  </a:lnTo>
                  <a:lnTo>
                    <a:pt x="218" y="31"/>
                  </a:lnTo>
                  <a:close/>
                  <a:moveTo>
                    <a:pt x="216" y="34"/>
                  </a:move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close/>
                  <a:moveTo>
                    <a:pt x="216" y="34"/>
                  </a:move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close/>
                  <a:moveTo>
                    <a:pt x="213" y="34"/>
                  </a:move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close/>
                  <a:moveTo>
                    <a:pt x="213" y="34"/>
                  </a:move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close/>
                  <a:moveTo>
                    <a:pt x="211" y="36"/>
                  </a:moveTo>
                  <a:lnTo>
                    <a:pt x="211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11" y="36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1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1" y="31"/>
                  </a:lnTo>
                  <a:lnTo>
                    <a:pt x="201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1" y="31"/>
                  </a:move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close/>
                  <a:moveTo>
                    <a:pt x="201" y="31"/>
                  </a:moveTo>
                  <a:lnTo>
                    <a:pt x="201" y="31"/>
                  </a:lnTo>
                  <a:lnTo>
                    <a:pt x="201" y="31"/>
                  </a:lnTo>
                  <a:lnTo>
                    <a:pt x="204" y="29"/>
                  </a:lnTo>
                  <a:lnTo>
                    <a:pt x="204" y="31"/>
                  </a:lnTo>
                  <a:lnTo>
                    <a:pt x="201" y="31"/>
                  </a:lnTo>
                  <a:close/>
                  <a:moveTo>
                    <a:pt x="201" y="31"/>
                  </a:moveTo>
                  <a:lnTo>
                    <a:pt x="201" y="29"/>
                  </a:lnTo>
                  <a:lnTo>
                    <a:pt x="201" y="29"/>
                  </a:lnTo>
                  <a:lnTo>
                    <a:pt x="201" y="31"/>
                  </a:lnTo>
                  <a:close/>
                  <a:moveTo>
                    <a:pt x="201" y="31"/>
                  </a:moveTo>
                  <a:lnTo>
                    <a:pt x="201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31"/>
                  </a:lnTo>
                  <a:lnTo>
                    <a:pt x="201" y="31"/>
                  </a:lnTo>
                  <a:close/>
                  <a:moveTo>
                    <a:pt x="204" y="29"/>
                  </a:move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close/>
                  <a:moveTo>
                    <a:pt x="204" y="29"/>
                  </a:moveTo>
                  <a:lnTo>
                    <a:pt x="204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4" y="29"/>
                  </a:lnTo>
                  <a:lnTo>
                    <a:pt x="204" y="29"/>
                  </a:lnTo>
                  <a:close/>
                  <a:moveTo>
                    <a:pt x="206" y="29"/>
                  </a:move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close/>
                  <a:moveTo>
                    <a:pt x="206" y="29"/>
                  </a:move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close/>
                  <a:moveTo>
                    <a:pt x="211" y="24"/>
                  </a:move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close/>
                  <a:moveTo>
                    <a:pt x="211" y="24"/>
                  </a:moveTo>
                  <a:lnTo>
                    <a:pt x="209" y="24"/>
                  </a:lnTo>
                  <a:lnTo>
                    <a:pt x="209" y="22"/>
                  </a:lnTo>
                  <a:lnTo>
                    <a:pt x="211" y="22"/>
                  </a:lnTo>
                  <a:lnTo>
                    <a:pt x="211" y="24"/>
                  </a:lnTo>
                  <a:lnTo>
                    <a:pt x="211" y="24"/>
                  </a:lnTo>
                  <a:close/>
                  <a:moveTo>
                    <a:pt x="211" y="22"/>
                  </a:moveTo>
                  <a:lnTo>
                    <a:pt x="211" y="22"/>
                  </a:lnTo>
                  <a:lnTo>
                    <a:pt x="211" y="22"/>
                  </a:lnTo>
                  <a:lnTo>
                    <a:pt x="211" y="22"/>
                  </a:lnTo>
                  <a:close/>
                  <a:moveTo>
                    <a:pt x="211" y="22"/>
                  </a:moveTo>
                  <a:lnTo>
                    <a:pt x="209" y="22"/>
                  </a:lnTo>
                  <a:lnTo>
                    <a:pt x="209" y="19"/>
                  </a:lnTo>
                  <a:lnTo>
                    <a:pt x="209" y="19"/>
                  </a:lnTo>
                  <a:lnTo>
                    <a:pt x="211" y="22"/>
                  </a:lnTo>
                  <a:lnTo>
                    <a:pt x="211" y="22"/>
                  </a:lnTo>
                  <a:close/>
                  <a:moveTo>
                    <a:pt x="209" y="19"/>
                  </a:moveTo>
                  <a:lnTo>
                    <a:pt x="209" y="19"/>
                  </a:lnTo>
                  <a:lnTo>
                    <a:pt x="209" y="19"/>
                  </a:lnTo>
                  <a:lnTo>
                    <a:pt x="209" y="19"/>
                  </a:lnTo>
                  <a:close/>
                  <a:moveTo>
                    <a:pt x="209" y="19"/>
                  </a:moveTo>
                  <a:lnTo>
                    <a:pt x="209" y="19"/>
                  </a:lnTo>
                  <a:lnTo>
                    <a:pt x="206" y="19"/>
                  </a:lnTo>
                  <a:lnTo>
                    <a:pt x="209" y="17"/>
                  </a:lnTo>
                  <a:lnTo>
                    <a:pt x="209" y="19"/>
                  </a:lnTo>
                  <a:lnTo>
                    <a:pt x="209" y="19"/>
                  </a:lnTo>
                  <a:close/>
                  <a:moveTo>
                    <a:pt x="209" y="17"/>
                  </a:moveTo>
                  <a:lnTo>
                    <a:pt x="209" y="17"/>
                  </a:lnTo>
                  <a:lnTo>
                    <a:pt x="209" y="17"/>
                  </a:lnTo>
                  <a:close/>
                  <a:moveTo>
                    <a:pt x="209" y="17"/>
                  </a:moveTo>
                  <a:lnTo>
                    <a:pt x="206" y="19"/>
                  </a:lnTo>
                  <a:lnTo>
                    <a:pt x="206" y="17"/>
                  </a:lnTo>
                  <a:lnTo>
                    <a:pt x="209" y="17"/>
                  </a:lnTo>
                  <a:lnTo>
                    <a:pt x="209" y="17"/>
                  </a:lnTo>
                  <a:lnTo>
                    <a:pt x="209" y="17"/>
                  </a:lnTo>
                  <a:close/>
                  <a:moveTo>
                    <a:pt x="206" y="17"/>
                  </a:moveTo>
                  <a:lnTo>
                    <a:pt x="206" y="17"/>
                  </a:lnTo>
                  <a:lnTo>
                    <a:pt x="206" y="17"/>
                  </a:lnTo>
                  <a:lnTo>
                    <a:pt x="206" y="17"/>
                  </a:lnTo>
                  <a:close/>
                  <a:moveTo>
                    <a:pt x="206" y="17"/>
                  </a:moveTo>
                  <a:lnTo>
                    <a:pt x="206" y="17"/>
                  </a:lnTo>
                  <a:lnTo>
                    <a:pt x="218" y="17"/>
                  </a:lnTo>
                  <a:lnTo>
                    <a:pt x="218" y="17"/>
                  </a:lnTo>
                  <a:lnTo>
                    <a:pt x="206" y="17"/>
                  </a:lnTo>
                  <a:lnTo>
                    <a:pt x="206" y="17"/>
                  </a:lnTo>
                  <a:close/>
                  <a:moveTo>
                    <a:pt x="246" y="15"/>
                  </a:moveTo>
                  <a:lnTo>
                    <a:pt x="249" y="15"/>
                  </a:lnTo>
                  <a:lnTo>
                    <a:pt x="246" y="15"/>
                  </a:lnTo>
                  <a:lnTo>
                    <a:pt x="246" y="15"/>
                  </a:lnTo>
                  <a:close/>
                  <a:moveTo>
                    <a:pt x="246" y="15"/>
                  </a:moveTo>
                  <a:lnTo>
                    <a:pt x="246" y="15"/>
                  </a:lnTo>
                  <a:lnTo>
                    <a:pt x="225" y="15"/>
                  </a:lnTo>
                  <a:lnTo>
                    <a:pt x="225" y="15"/>
                  </a:lnTo>
                  <a:lnTo>
                    <a:pt x="246" y="15"/>
                  </a:lnTo>
                  <a:lnTo>
                    <a:pt x="246" y="15"/>
                  </a:lnTo>
                  <a:close/>
                  <a:moveTo>
                    <a:pt x="225" y="15"/>
                  </a:moveTo>
                  <a:lnTo>
                    <a:pt x="225" y="15"/>
                  </a:lnTo>
                  <a:lnTo>
                    <a:pt x="225" y="15"/>
                  </a:lnTo>
                  <a:lnTo>
                    <a:pt x="225" y="15"/>
                  </a:lnTo>
                  <a:lnTo>
                    <a:pt x="225" y="15"/>
                  </a:lnTo>
                  <a:lnTo>
                    <a:pt x="225" y="15"/>
                  </a:lnTo>
                  <a:close/>
                  <a:moveTo>
                    <a:pt x="225" y="15"/>
                  </a:moveTo>
                  <a:lnTo>
                    <a:pt x="225" y="15"/>
                  </a:lnTo>
                  <a:lnTo>
                    <a:pt x="197" y="15"/>
                  </a:lnTo>
                  <a:lnTo>
                    <a:pt x="197" y="15"/>
                  </a:lnTo>
                  <a:lnTo>
                    <a:pt x="225" y="15"/>
                  </a:lnTo>
                  <a:lnTo>
                    <a:pt x="225" y="15"/>
                  </a:lnTo>
                  <a:close/>
                  <a:moveTo>
                    <a:pt x="197" y="15"/>
                  </a:moveTo>
                  <a:lnTo>
                    <a:pt x="197" y="15"/>
                  </a:lnTo>
                  <a:lnTo>
                    <a:pt x="194" y="15"/>
                  </a:lnTo>
                  <a:lnTo>
                    <a:pt x="194" y="15"/>
                  </a:lnTo>
                  <a:lnTo>
                    <a:pt x="197" y="15"/>
                  </a:lnTo>
                  <a:lnTo>
                    <a:pt x="197" y="15"/>
                  </a:lnTo>
                  <a:close/>
                  <a:moveTo>
                    <a:pt x="194" y="15"/>
                  </a:moveTo>
                  <a:lnTo>
                    <a:pt x="194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94" y="15"/>
                  </a:lnTo>
                  <a:lnTo>
                    <a:pt x="194" y="15"/>
                  </a:lnTo>
                  <a:close/>
                  <a:moveTo>
                    <a:pt x="156" y="15"/>
                  </a:moveTo>
                  <a:lnTo>
                    <a:pt x="156" y="15"/>
                  </a:lnTo>
                  <a:lnTo>
                    <a:pt x="159" y="15"/>
                  </a:lnTo>
                  <a:lnTo>
                    <a:pt x="156" y="15"/>
                  </a:lnTo>
                  <a:close/>
                  <a:moveTo>
                    <a:pt x="159" y="15"/>
                  </a:moveTo>
                  <a:lnTo>
                    <a:pt x="159" y="15"/>
                  </a:lnTo>
                  <a:lnTo>
                    <a:pt x="159" y="17"/>
                  </a:lnTo>
                  <a:lnTo>
                    <a:pt x="156" y="17"/>
                  </a:lnTo>
                  <a:lnTo>
                    <a:pt x="156" y="15"/>
                  </a:lnTo>
                  <a:lnTo>
                    <a:pt x="159" y="15"/>
                  </a:lnTo>
                  <a:close/>
                  <a:moveTo>
                    <a:pt x="159" y="17"/>
                  </a:moveTo>
                  <a:lnTo>
                    <a:pt x="156" y="17"/>
                  </a:lnTo>
                  <a:lnTo>
                    <a:pt x="156" y="17"/>
                  </a:lnTo>
                  <a:lnTo>
                    <a:pt x="159" y="17"/>
                  </a:lnTo>
                  <a:close/>
                  <a:moveTo>
                    <a:pt x="156" y="17"/>
                  </a:moveTo>
                  <a:lnTo>
                    <a:pt x="159" y="17"/>
                  </a:lnTo>
                  <a:lnTo>
                    <a:pt x="187" y="17"/>
                  </a:lnTo>
                  <a:lnTo>
                    <a:pt x="187" y="17"/>
                  </a:lnTo>
                  <a:lnTo>
                    <a:pt x="159" y="17"/>
                  </a:lnTo>
                  <a:lnTo>
                    <a:pt x="156" y="17"/>
                  </a:lnTo>
                  <a:close/>
                  <a:moveTo>
                    <a:pt x="187" y="17"/>
                  </a:moveTo>
                  <a:lnTo>
                    <a:pt x="187" y="17"/>
                  </a:lnTo>
                  <a:lnTo>
                    <a:pt x="187" y="17"/>
                  </a:lnTo>
                  <a:lnTo>
                    <a:pt x="187" y="17"/>
                  </a:lnTo>
                  <a:close/>
                  <a:moveTo>
                    <a:pt x="187" y="17"/>
                  </a:moveTo>
                  <a:lnTo>
                    <a:pt x="187" y="17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17"/>
                  </a:lnTo>
                  <a:lnTo>
                    <a:pt x="187" y="17"/>
                  </a:lnTo>
                  <a:close/>
                  <a:moveTo>
                    <a:pt x="187" y="24"/>
                  </a:move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close/>
                  <a:moveTo>
                    <a:pt x="187" y="24"/>
                  </a:moveTo>
                  <a:lnTo>
                    <a:pt x="187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87" y="24"/>
                  </a:lnTo>
                  <a:lnTo>
                    <a:pt x="187" y="24"/>
                  </a:lnTo>
                  <a:close/>
                  <a:moveTo>
                    <a:pt x="173" y="24"/>
                  </a:move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close/>
                  <a:moveTo>
                    <a:pt x="173" y="24"/>
                  </a:move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close/>
                  <a:moveTo>
                    <a:pt x="173" y="26"/>
                  </a:moveTo>
                  <a:lnTo>
                    <a:pt x="173" y="26"/>
                  </a:lnTo>
                  <a:lnTo>
                    <a:pt x="173" y="26"/>
                  </a:lnTo>
                  <a:close/>
                  <a:moveTo>
                    <a:pt x="173" y="26"/>
                  </a:moveTo>
                  <a:lnTo>
                    <a:pt x="175" y="24"/>
                  </a:lnTo>
                  <a:lnTo>
                    <a:pt x="178" y="26"/>
                  </a:lnTo>
                  <a:lnTo>
                    <a:pt x="175" y="29"/>
                  </a:lnTo>
                  <a:lnTo>
                    <a:pt x="173" y="26"/>
                  </a:lnTo>
                  <a:lnTo>
                    <a:pt x="173" y="26"/>
                  </a:lnTo>
                  <a:close/>
                  <a:moveTo>
                    <a:pt x="175" y="29"/>
                  </a:move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close/>
                  <a:moveTo>
                    <a:pt x="175" y="29"/>
                  </a:move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close/>
                  <a:moveTo>
                    <a:pt x="178" y="31"/>
                  </a:move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close/>
                  <a:moveTo>
                    <a:pt x="178" y="34"/>
                  </a:move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close/>
                  <a:moveTo>
                    <a:pt x="178" y="36"/>
                  </a:moveTo>
                  <a:lnTo>
                    <a:pt x="178" y="36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close/>
                  <a:moveTo>
                    <a:pt x="175" y="38"/>
                  </a:moveTo>
                  <a:lnTo>
                    <a:pt x="175" y="38"/>
                  </a:lnTo>
                  <a:lnTo>
                    <a:pt x="175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close/>
                  <a:moveTo>
                    <a:pt x="168" y="34"/>
                  </a:move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close/>
                  <a:moveTo>
                    <a:pt x="164" y="26"/>
                  </a:moveTo>
                  <a:lnTo>
                    <a:pt x="164" y="26"/>
                  </a:lnTo>
                  <a:lnTo>
                    <a:pt x="164" y="26"/>
                  </a:lnTo>
                  <a:lnTo>
                    <a:pt x="164" y="26"/>
                  </a:lnTo>
                  <a:close/>
                  <a:moveTo>
                    <a:pt x="164" y="26"/>
                  </a:moveTo>
                  <a:lnTo>
                    <a:pt x="164" y="26"/>
                  </a:lnTo>
                  <a:lnTo>
                    <a:pt x="164" y="24"/>
                  </a:lnTo>
                  <a:lnTo>
                    <a:pt x="164" y="24"/>
                  </a:lnTo>
                  <a:lnTo>
                    <a:pt x="166" y="26"/>
                  </a:lnTo>
                  <a:lnTo>
                    <a:pt x="164" y="26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2"/>
                  </a:move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close/>
                  <a:moveTo>
                    <a:pt x="164" y="22"/>
                  </a:moveTo>
                  <a:lnTo>
                    <a:pt x="164" y="24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4" y="22"/>
                  </a:lnTo>
                  <a:lnTo>
                    <a:pt x="164" y="22"/>
                  </a:lnTo>
                  <a:close/>
                  <a:moveTo>
                    <a:pt x="161" y="24"/>
                  </a:moveTo>
                  <a:lnTo>
                    <a:pt x="161" y="24"/>
                  </a:lnTo>
                  <a:lnTo>
                    <a:pt x="161" y="24"/>
                  </a:lnTo>
                  <a:lnTo>
                    <a:pt x="161" y="24"/>
                  </a:lnTo>
                  <a:close/>
                  <a:moveTo>
                    <a:pt x="161" y="24"/>
                  </a:moveTo>
                  <a:lnTo>
                    <a:pt x="161" y="24"/>
                  </a:lnTo>
                  <a:lnTo>
                    <a:pt x="161" y="26"/>
                  </a:lnTo>
                  <a:lnTo>
                    <a:pt x="161" y="26"/>
                  </a:lnTo>
                  <a:lnTo>
                    <a:pt x="161" y="24"/>
                  </a:lnTo>
                  <a:lnTo>
                    <a:pt x="161" y="24"/>
                  </a:lnTo>
                  <a:close/>
                  <a:moveTo>
                    <a:pt x="161" y="26"/>
                  </a:moveTo>
                  <a:lnTo>
                    <a:pt x="161" y="26"/>
                  </a:lnTo>
                  <a:lnTo>
                    <a:pt x="161" y="26"/>
                  </a:lnTo>
                  <a:lnTo>
                    <a:pt x="161" y="26"/>
                  </a:lnTo>
                  <a:close/>
                  <a:moveTo>
                    <a:pt x="161" y="26"/>
                  </a:moveTo>
                  <a:lnTo>
                    <a:pt x="161" y="26"/>
                  </a:lnTo>
                  <a:lnTo>
                    <a:pt x="164" y="29"/>
                  </a:lnTo>
                  <a:lnTo>
                    <a:pt x="161" y="29"/>
                  </a:lnTo>
                  <a:lnTo>
                    <a:pt x="161" y="26"/>
                  </a:lnTo>
                  <a:lnTo>
                    <a:pt x="161" y="26"/>
                  </a:lnTo>
                  <a:close/>
                  <a:moveTo>
                    <a:pt x="161" y="29"/>
                  </a:moveTo>
                  <a:lnTo>
                    <a:pt x="161" y="29"/>
                  </a:lnTo>
                  <a:lnTo>
                    <a:pt x="161" y="29"/>
                  </a:lnTo>
                  <a:lnTo>
                    <a:pt x="161" y="29"/>
                  </a:lnTo>
                  <a:close/>
                  <a:moveTo>
                    <a:pt x="161" y="29"/>
                  </a:move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29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61" y="29"/>
                  </a:lnTo>
                  <a:close/>
                  <a:moveTo>
                    <a:pt x="166" y="36"/>
                  </a:move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close/>
                  <a:moveTo>
                    <a:pt x="166" y="36"/>
                  </a:move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close/>
                  <a:moveTo>
                    <a:pt x="175" y="41"/>
                  </a:move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close/>
                  <a:moveTo>
                    <a:pt x="178" y="41"/>
                  </a:move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close/>
                  <a:moveTo>
                    <a:pt x="178" y="41"/>
                  </a:move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close/>
                  <a:moveTo>
                    <a:pt x="180" y="36"/>
                  </a:move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close/>
                  <a:moveTo>
                    <a:pt x="182" y="36"/>
                  </a:move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close/>
                  <a:moveTo>
                    <a:pt x="182" y="34"/>
                  </a:move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close/>
                  <a:moveTo>
                    <a:pt x="182" y="34"/>
                  </a:move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close/>
                  <a:moveTo>
                    <a:pt x="182" y="34"/>
                  </a:moveTo>
                  <a:lnTo>
                    <a:pt x="180" y="34"/>
                  </a:lnTo>
                  <a:lnTo>
                    <a:pt x="180" y="31"/>
                  </a:lnTo>
                  <a:lnTo>
                    <a:pt x="182" y="31"/>
                  </a:lnTo>
                  <a:lnTo>
                    <a:pt x="182" y="34"/>
                  </a:lnTo>
                  <a:lnTo>
                    <a:pt x="182" y="34"/>
                  </a:lnTo>
                  <a:close/>
                  <a:moveTo>
                    <a:pt x="182" y="31"/>
                  </a:moveTo>
                  <a:lnTo>
                    <a:pt x="182" y="31"/>
                  </a:lnTo>
                  <a:lnTo>
                    <a:pt x="182" y="31"/>
                  </a:lnTo>
                  <a:lnTo>
                    <a:pt x="182" y="31"/>
                  </a:lnTo>
                  <a:close/>
                  <a:moveTo>
                    <a:pt x="182" y="31"/>
                  </a:moveTo>
                  <a:lnTo>
                    <a:pt x="180" y="31"/>
                  </a:lnTo>
                  <a:lnTo>
                    <a:pt x="180" y="31"/>
                  </a:lnTo>
                  <a:lnTo>
                    <a:pt x="180" y="29"/>
                  </a:lnTo>
                  <a:lnTo>
                    <a:pt x="182" y="31"/>
                  </a:lnTo>
                  <a:lnTo>
                    <a:pt x="182" y="31"/>
                  </a:lnTo>
                  <a:close/>
                  <a:moveTo>
                    <a:pt x="180" y="29"/>
                  </a:moveTo>
                  <a:lnTo>
                    <a:pt x="180" y="29"/>
                  </a:lnTo>
                  <a:lnTo>
                    <a:pt x="180" y="29"/>
                  </a:lnTo>
                  <a:lnTo>
                    <a:pt x="180" y="29"/>
                  </a:lnTo>
                  <a:close/>
                  <a:moveTo>
                    <a:pt x="180" y="29"/>
                  </a:moveTo>
                  <a:lnTo>
                    <a:pt x="180" y="31"/>
                  </a:lnTo>
                  <a:lnTo>
                    <a:pt x="178" y="29"/>
                  </a:lnTo>
                  <a:lnTo>
                    <a:pt x="180" y="26"/>
                  </a:lnTo>
                  <a:lnTo>
                    <a:pt x="180" y="29"/>
                  </a:lnTo>
                  <a:lnTo>
                    <a:pt x="180" y="29"/>
                  </a:lnTo>
                  <a:close/>
                  <a:moveTo>
                    <a:pt x="180" y="26"/>
                  </a:move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close/>
                  <a:moveTo>
                    <a:pt x="178" y="26"/>
                  </a:moveTo>
                  <a:lnTo>
                    <a:pt x="175" y="26"/>
                  </a:lnTo>
                  <a:lnTo>
                    <a:pt x="178" y="26"/>
                  </a:lnTo>
                  <a:lnTo>
                    <a:pt x="178" y="26"/>
                  </a:lnTo>
                  <a:close/>
                  <a:moveTo>
                    <a:pt x="178" y="26"/>
                  </a:moveTo>
                  <a:lnTo>
                    <a:pt x="178" y="26"/>
                  </a:lnTo>
                  <a:lnTo>
                    <a:pt x="187" y="26"/>
                  </a:lnTo>
                  <a:lnTo>
                    <a:pt x="187" y="26"/>
                  </a:lnTo>
                  <a:lnTo>
                    <a:pt x="178" y="26"/>
                  </a:lnTo>
                  <a:lnTo>
                    <a:pt x="178" y="26"/>
                  </a:lnTo>
                  <a:close/>
                  <a:moveTo>
                    <a:pt x="187" y="26"/>
                  </a:moveTo>
                  <a:lnTo>
                    <a:pt x="187" y="26"/>
                  </a:lnTo>
                  <a:lnTo>
                    <a:pt x="187" y="26"/>
                  </a:lnTo>
                  <a:lnTo>
                    <a:pt x="187" y="26"/>
                  </a:lnTo>
                  <a:close/>
                  <a:moveTo>
                    <a:pt x="187" y="26"/>
                  </a:moveTo>
                  <a:lnTo>
                    <a:pt x="187" y="26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26"/>
                  </a:lnTo>
                  <a:lnTo>
                    <a:pt x="187" y="26"/>
                  </a:lnTo>
                  <a:close/>
                  <a:moveTo>
                    <a:pt x="187" y="45"/>
                  </a:moveTo>
                  <a:lnTo>
                    <a:pt x="187" y="45"/>
                  </a:lnTo>
                  <a:lnTo>
                    <a:pt x="187" y="43"/>
                  </a:lnTo>
                  <a:lnTo>
                    <a:pt x="187" y="45"/>
                  </a:lnTo>
                  <a:close/>
                  <a:moveTo>
                    <a:pt x="187" y="43"/>
                  </a:moveTo>
                  <a:lnTo>
                    <a:pt x="187" y="43"/>
                  </a:lnTo>
                  <a:lnTo>
                    <a:pt x="192" y="43"/>
                  </a:lnTo>
                  <a:lnTo>
                    <a:pt x="192" y="45"/>
                  </a:lnTo>
                  <a:lnTo>
                    <a:pt x="187" y="45"/>
                  </a:lnTo>
                  <a:lnTo>
                    <a:pt x="187" y="43"/>
                  </a:lnTo>
                  <a:close/>
                  <a:moveTo>
                    <a:pt x="192" y="43"/>
                  </a:moveTo>
                  <a:lnTo>
                    <a:pt x="192" y="45"/>
                  </a:lnTo>
                  <a:lnTo>
                    <a:pt x="192" y="45"/>
                  </a:lnTo>
                  <a:lnTo>
                    <a:pt x="192" y="43"/>
                  </a:lnTo>
                  <a:close/>
                  <a:moveTo>
                    <a:pt x="192" y="45"/>
                  </a:moveTo>
                  <a:lnTo>
                    <a:pt x="190" y="43"/>
                  </a:lnTo>
                  <a:lnTo>
                    <a:pt x="190" y="17"/>
                  </a:lnTo>
                  <a:lnTo>
                    <a:pt x="192" y="17"/>
                  </a:lnTo>
                  <a:lnTo>
                    <a:pt x="192" y="43"/>
                  </a:lnTo>
                  <a:lnTo>
                    <a:pt x="192" y="45"/>
                  </a:lnTo>
                  <a:close/>
                  <a:moveTo>
                    <a:pt x="190" y="17"/>
                  </a:moveTo>
                  <a:lnTo>
                    <a:pt x="190" y="17"/>
                  </a:ln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4" y="17"/>
                  </a:lnTo>
                  <a:lnTo>
                    <a:pt x="194" y="17"/>
                  </a:ln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4" y="17"/>
                  </a:moveTo>
                  <a:lnTo>
                    <a:pt x="194" y="17"/>
                  </a:lnTo>
                  <a:lnTo>
                    <a:pt x="197" y="17"/>
                  </a:lnTo>
                  <a:lnTo>
                    <a:pt x="197" y="17"/>
                  </a:lnTo>
                  <a:lnTo>
                    <a:pt x="194" y="17"/>
                  </a:lnTo>
                  <a:lnTo>
                    <a:pt x="194" y="17"/>
                  </a:lnTo>
                  <a:close/>
                  <a:moveTo>
                    <a:pt x="197" y="17"/>
                  </a:moveTo>
                  <a:lnTo>
                    <a:pt x="197" y="17"/>
                  </a:lnTo>
                  <a:lnTo>
                    <a:pt x="204" y="17"/>
                  </a:lnTo>
                  <a:lnTo>
                    <a:pt x="204" y="17"/>
                  </a:lnTo>
                  <a:lnTo>
                    <a:pt x="197" y="17"/>
                  </a:lnTo>
                  <a:lnTo>
                    <a:pt x="197" y="17"/>
                  </a:lnTo>
                  <a:close/>
                  <a:moveTo>
                    <a:pt x="204" y="17"/>
                  </a:moveTo>
                  <a:lnTo>
                    <a:pt x="204" y="17"/>
                  </a:lnTo>
                  <a:lnTo>
                    <a:pt x="204" y="17"/>
                  </a:lnTo>
                  <a:lnTo>
                    <a:pt x="204" y="17"/>
                  </a:lnTo>
                  <a:close/>
                  <a:moveTo>
                    <a:pt x="204" y="17"/>
                  </a:moveTo>
                  <a:lnTo>
                    <a:pt x="204" y="17"/>
                  </a:lnTo>
                  <a:lnTo>
                    <a:pt x="206" y="19"/>
                  </a:lnTo>
                  <a:lnTo>
                    <a:pt x="204" y="19"/>
                  </a:lnTo>
                  <a:lnTo>
                    <a:pt x="204" y="17"/>
                  </a:lnTo>
                  <a:lnTo>
                    <a:pt x="204" y="17"/>
                  </a:lnTo>
                  <a:close/>
                  <a:moveTo>
                    <a:pt x="206" y="19"/>
                  </a:move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close/>
                  <a:moveTo>
                    <a:pt x="204" y="19"/>
                  </a:move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close/>
                  <a:moveTo>
                    <a:pt x="206" y="22"/>
                  </a:moveTo>
                  <a:lnTo>
                    <a:pt x="206" y="22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2"/>
                  </a:lnTo>
                  <a:close/>
                  <a:moveTo>
                    <a:pt x="206" y="26"/>
                  </a:moveTo>
                  <a:lnTo>
                    <a:pt x="206" y="26"/>
                  </a:lnTo>
                  <a:lnTo>
                    <a:pt x="206" y="26"/>
                  </a:lnTo>
                  <a:close/>
                  <a:moveTo>
                    <a:pt x="204" y="26"/>
                  </a:move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close/>
                  <a:moveTo>
                    <a:pt x="201" y="29"/>
                  </a:moveTo>
                  <a:lnTo>
                    <a:pt x="201" y="29"/>
                  </a:lnTo>
                  <a:lnTo>
                    <a:pt x="201" y="29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9"/>
                  </a:lnTo>
                  <a:close/>
                  <a:moveTo>
                    <a:pt x="201" y="26"/>
                  </a:move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201" y="26"/>
                  </a:lnTo>
                  <a:lnTo>
                    <a:pt x="199" y="29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9"/>
                  </a:lnTo>
                  <a:close/>
                  <a:moveTo>
                    <a:pt x="199" y="26"/>
                  </a:move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close/>
                  <a:moveTo>
                    <a:pt x="199" y="26"/>
                  </a:move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199" y="34"/>
                  </a:lnTo>
                  <a:lnTo>
                    <a:pt x="199" y="34"/>
                  </a:lnTo>
                  <a:lnTo>
                    <a:pt x="199" y="34"/>
                  </a:lnTo>
                  <a:lnTo>
                    <a:pt x="199" y="34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close/>
                  <a:moveTo>
                    <a:pt x="201" y="36"/>
                  </a:moveTo>
                  <a:lnTo>
                    <a:pt x="204" y="34"/>
                  </a:lnTo>
                  <a:lnTo>
                    <a:pt x="204" y="34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4" y="38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close/>
                  <a:moveTo>
                    <a:pt x="211" y="38"/>
                  </a:move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8" y="36"/>
                  </a:lnTo>
                  <a:lnTo>
                    <a:pt x="218" y="34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close/>
                  <a:moveTo>
                    <a:pt x="218" y="34"/>
                  </a:moveTo>
                  <a:lnTo>
                    <a:pt x="218" y="34"/>
                  </a:lnTo>
                  <a:lnTo>
                    <a:pt x="218" y="36"/>
                  </a:lnTo>
                  <a:lnTo>
                    <a:pt x="218" y="34"/>
                  </a:lnTo>
                  <a:close/>
                  <a:moveTo>
                    <a:pt x="218" y="34"/>
                  </a:moveTo>
                  <a:lnTo>
                    <a:pt x="218" y="36"/>
                  </a:lnTo>
                  <a:lnTo>
                    <a:pt x="218" y="43"/>
                  </a:lnTo>
                  <a:lnTo>
                    <a:pt x="218" y="43"/>
                  </a:lnTo>
                  <a:lnTo>
                    <a:pt x="218" y="36"/>
                  </a:lnTo>
                  <a:lnTo>
                    <a:pt x="218" y="34"/>
                  </a:lnTo>
                  <a:close/>
                  <a:moveTo>
                    <a:pt x="218" y="45"/>
                  </a:moveTo>
                  <a:lnTo>
                    <a:pt x="218" y="45"/>
                  </a:lnTo>
                  <a:lnTo>
                    <a:pt x="218" y="43"/>
                  </a:lnTo>
                  <a:lnTo>
                    <a:pt x="218" y="45"/>
                  </a:lnTo>
                  <a:close/>
                  <a:moveTo>
                    <a:pt x="218" y="43"/>
                  </a:moveTo>
                  <a:lnTo>
                    <a:pt x="218" y="43"/>
                  </a:lnTo>
                  <a:lnTo>
                    <a:pt x="220" y="43"/>
                  </a:lnTo>
                  <a:lnTo>
                    <a:pt x="220" y="45"/>
                  </a:lnTo>
                  <a:lnTo>
                    <a:pt x="218" y="45"/>
                  </a:lnTo>
                  <a:lnTo>
                    <a:pt x="218" y="43"/>
                  </a:lnTo>
                  <a:close/>
                  <a:moveTo>
                    <a:pt x="220" y="43"/>
                  </a:moveTo>
                  <a:lnTo>
                    <a:pt x="220" y="45"/>
                  </a:lnTo>
                  <a:lnTo>
                    <a:pt x="220" y="45"/>
                  </a:lnTo>
                  <a:lnTo>
                    <a:pt x="220" y="43"/>
                  </a:lnTo>
                  <a:close/>
                  <a:moveTo>
                    <a:pt x="220" y="45"/>
                  </a:moveTo>
                  <a:lnTo>
                    <a:pt x="220" y="43"/>
                  </a:lnTo>
                  <a:lnTo>
                    <a:pt x="220" y="17"/>
                  </a:lnTo>
                  <a:lnTo>
                    <a:pt x="220" y="17"/>
                  </a:lnTo>
                  <a:lnTo>
                    <a:pt x="220" y="43"/>
                  </a:lnTo>
                  <a:lnTo>
                    <a:pt x="220" y="45"/>
                  </a:lnTo>
                  <a:close/>
                  <a:moveTo>
                    <a:pt x="220" y="17"/>
                  </a:moveTo>
                  <a:lnTo>
                    <a:pt x="220" y="17"/>
                  </a:lnTo>
                  <a:lnTo>
                    <a:pt x="220" y="17"/>
                  </a:lnTo>
                  <a:lnTo>
                    <a:pt x="220" y="17"/>
                  </a:lnTo>
                  <a:close/>
                  <a:moveTo>
                    <a:pt x="220" y="17"/>
                  </a:moveTo>
                  <a:lnTo>
                    <a:pt x="220" y="17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20" y="17"/>
                  </a:lnTo>
                  <a:lnTo>
                    <a:pt x="220" y="17"/>
                  </a:lnTo>
                  <a:close/>
                  <a:moveTo>
                    <a:pt x="225" y="17"/>
                  </a:moveTo>
                  <a:lnTo>
                    <a:pt x="225" y="17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25" y="17"/>
                  </a:lnTo>
                  <a:close/>
                  <a:moveTo>
                    <a:pt x="225" y="17"/>
                  </a:moveTo>
                  <a:lnTo>
                    <a:pt x="225" y="17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225" y="17"/>
                  </a:lnTo>
                  <a:lnTo>
                    <a:pt x="225" y="17"/>
                  </a:lnTo>
                  <a:close/>
                  <a:moveTo>
                    <a:pt x="246" y="17"/>
                  </a:moveTo>
                  <a:lnTo>
                    <a:pt x="246" y="17"/>
                  </a:lnTo>
                  <a:lnTo>
                    <a:pt x="246" y="17"/>
                  </a:lnTo>
                  <a:lnTo>
                    <a:pt x="246" y="17"/>
                  </a:lnTo>
                  <a:close/>
                  <a:moveTo>
                    <a:pt x="246" y="17"/>
                  </a:moveTo>
                  <a:lnTo>
                    <a:pt x="246" y="17"/>
                  </a:lnTo>
                  <a:lnTo>
                    <a:pt x="246" y="22"/>
                  </a:lnTo>
                  <a:lnTo>
                    <a:pt x="246" y="22"/>
                  </a:lnTo>
                  <a:lnTo>
                    <a:pt x="246" y="17"/>
                  </a:lnTo>
                  <a:lnTo>
                    <a:pt x="246" y="17"/>
                  </a:lnTo>
                  <a:close/>
                  <a:moveTo>
                    <a:pt x="246" y="22"/>
                  </a:moveTo>
                  <a:lnTo>
                    <a:pt x="246" y="24"/>
                  </a:lnTo>
                  <a:lnTo>
                    <a:pt x="246" y="24"/>
                  </a:lnTo>
                  <a:lnTo>
                    <a:pt x="246" y="22"/>
                  </a:lnTo>
                  <a:close/>
                  <a:moveTo>
                    <a:pt x="246" y="22"/>
                  </a:moveTo>
                  <a:lnTo>
                    <a:pt x="246" y="24"/>
                  </a:lnTo>
                  <a:lnTo>
                    <a:pt x="232" y="24"/>
                  </a:lnTo>
                  <a:lnTo>
                    <a:pt x="232" y="22"/>
                  </a:lnTo>
                  <a:lnTo>
                    <a:pt x="246" y="22"/>
                  </a:lnTo>
                  <a:lnTo>
                    <a:pt x="246" y="22"/>
                  </a:lnTo>
                  <a:close/>
                  <a:moveTo>
                    <a:pt x="232" y="22"/>
                  </a:move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close/>
                  <a:moveTo>
                    <a:pt x="230" y="22"/>
                  </a:move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close/>
                  <a:moveTo>
                    <a:pt x="230" y="24"/>
                  </a:move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close/>
                  <a:moveTo>
                    <a:pt x="230" y="24"/>
                  </a:move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close/>
                  <a:moveTo>
                    <a:pt x="227" y="29"/>
                  </a:move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close/>
                  <a:moveTo>
                    <a:pt x="227" y="34"/>
                  </a:move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close/>
                  <a:moveTo>
                    <a:pt x="230" y="36"/>
                  </a:move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close/>
                  <a:moveTo>
                    <a:pt x="230" y="36"/>
                  </a:moveTo>
                  <a:lnTo>
                    <a:pt x="230" y="36"/>
                  </a:lnTo>
                  <a:lnTo>
                    <a:pt x="232" y="38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6"/>
                  </a:lnTo>
                  <a:close/>
                  <a:moveTo>
                    <a:pt x="230" y="38"/>
                  </a:moveTo>
                  <a:lnTo>
                    <a:pt x="230" y="38"/>
                  </a:lnTo>
                  <a:lnTo>
                    <a:pt x="230" y="38"/>
                  </a:lnTo>
                  <a:lnTo>
                    <a:pt x="230" y="38"/>
                  </a:lnTo>
                  <a:close/>
                  <a:moveTo>
                    <a:pt x="230" y="38"/>
                  </a:moveTo>
                  <a:lnTo>
                    <a:pt x="232" y="38"/>
                  </a:lnTo>
                  <a:lnTo>
                    <a:pt x="232" y="38"/>
                  </a:lnTo>
                  <a:lnTo>
                    <a:pt x="232" y="41"/>
                  </a:lnTo>
                  <a:lnTo>
                    <a:pt x="230" y="38"/>
                  </a:lnTo>
                  <a:lnTo>
                    <a:pt x="230" y="38"/>
                  </a:lnTo>
                  <a:close/>
                  <a:moveTo>
                    <a:pt x="232" y="41"/>
                  </a:moveTo>
                  <a:lnTo>
                    <a:pt x="232" y="41"/>
                  </a:lnTo>
                  <a:lnTo>
                    <a:pt x="232" y="41"/>
                  </a:lnTo>
                  <a:lnTo>
                    <a:pt x="232" y="41"/>
                  </a:lnTo>
                  <a:close/>
                  <a:moveTo>
                    <a:pt x="232" y="41"/>
                  </a:moveTo>
                  <a:lnTo>
                    <a:pt x="232" y="38"/>
                  </a:lnTo>
                  <a:lnTo>
                    <a:pt x="235" y="41"/>
                  </a:lnTo>
                  <a:lnTo>
                    <a:pt x="235" y="43"/>
                  </a:lnTo>
                  <a:lnTo>
                    <a:pt x="232" y="41"/>
                  </a:lnTo>
                  <a:lnTo>
                    <a:pt x="232" y="41"/>
                  </a:lnTo>
                  <a:close/>
                  <a:moveTo>
                    <a:pt x="235" y="43"/>
                  </a:moveTo>
                  <a:lnTo>
                    <a:pt x="235" y="43"/>
                  </a:lnTo>
                  <a:lnTo>
                    <a:pt x="235" y="43"/>
                  </a:lnTo>
                  <a:close/>
                  <a:moveTo>
                    <a:pt x="235" y="43"/>
                  </a:moveTo>
                  <a:lnTo>
                    <a:pt x="235" y="41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5" y="43"/>
                  </a:lnTo>
                  <a:lnTo>
                    <a:pt x="235" y="43"/>
                  </a:lnTo>
                  <a:close/>
                  <a:moveTo>
                    <a:pt x="237" y="43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close/>
                  <a:moveTo>
                    <a:pt x="237" y="43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close/>
                  <a:moveTo>
                    <a:pt x="237" y="45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close/>
                  <a:moveTo>
                    <a:pt x="237" y="45"/>
                  </a:move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close/>
                  <a:moveTo>
                    <a:pt x="237" y="45"/>
                  </a:moveTo>
                  <a:lnTo>
                    <a:pt x="237" y="43"/>
                  </a:lnTo>
                  <a:lnTo>
                    <a:pt x="239" y="41"/>
                  </a:lnTo>
                  <a:lnTo>
                    <a:pt x="239" y="43"/>
                  </a:lnTo>
                  <a:lnTo>
                    <a:pt x="237" y="45"/>
                  </a:lnTo>
                  <a:lnTo>
                    <a:pt x="237" y="45"/>
                  </a:lnTo>
                  <a:close/>
                  <a:moveTo>
                    <a:pt x="239" y="41"/>
                  </a:moveTo>
                  <a:lnTo>
                    <a:pt x="242" y="41"/>
                  </a:lnTo>
                  <a:lnTo>
                    <a:pt x="239" y="43"/>
                  </a:lnTo>
                  <a:lnTo>
                    <a:pt x="239" y="41"/>
                  </a:lnTo>
                  <a:close/>
                  <a:moveTo>
                    <a:pt x="239" y="43"/>
                  </a:moveTo>
                  <a:lnTo>
                    <a:pt x="239" y="41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3"/>
                  </a:lnTo>
                  <a:close/>
                  <a:moveTo>
                    <a:pt x="239" y="41"/>
                  </a:move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close/>
                  <a:moveTo>
                    <a:pt x="239" y="41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2" y="38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close/>
                  <a:moveTo>
                    <a:pt x="235" y="36"/>
                  </a:move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0" y="34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close/>
                  <a:moveTo>
                    <a:pt x="230" y="29"/>
                  </a:move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close/>
                  <a:moveTo>
                    <a:pt x="230" y="29"/>
                  </a:moveTo>
                  <a:lnTo>
                    <a:pt x="230" y="29"/>
                  </a:lnTo>
                  <a:lnTo>
                    <a:pt x="230" y="26"/>
                  </a:lnTo>
                  <a:lnTo>
                    <a:pt x="232" y="26"/>
                  </a:lnTo>
                  <a:lnTo>
                    <a:pt x="232" y="29"/>
                  </a:lnTo>
                  <a:lnTo>
                    <a:pt x="230" y="29"/>
                  </a:lnTo>
                  <a:close/>
                  <a:moveTo>
                    <a:pt x="230" y="26"/>
                  </a:move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close/>
                  <a:moveTo>
                    <a:pt x="232" y="26"/>
                  </a:move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5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9"/>
                  </a:lnTo>
                  <a:lnTo>
                    <a:pt x="232" y="26"/>
                  </a:lnTo>
                  <a:close/>
                  <a:moveTo>
                    <a:pt x="235" y="26"/>
                  </a:move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close/>
                  <a:moveTo>
                    <a:pt x="235" y="26"/>
                  </a:move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close/>
                  <a:moveTo>
                    <a:pt x="235" y="24"/>
                  </a:moveTo>
                  <a:lnTo>
                    <a:pt x="235" y="24"/>
                  </a:lnTo>
                  <a:lnTo>
                    <a:pt x="246" y="24"/>
                  </a:lnTo>
                  <a:lnTo>
                    <a:pt x="246" y="26"/>
                  </a:lnTo>
                  <a:lnTo>
                    <a:pt x="235" y="26"/>
                  </a:lnTo>
                  <a:lnTo>
                    <a:pt x="235" y="24"/>
                  </a:lnTo>
                  <a:close/>
                  <a:moveTo>
                    <a:pt x="246" y="24"/>
                  </a:moveTo>
                  <a:lnTo>
                    <a:pt x="246" y="24"/>
                  </a:lnTo>
                  <a:lnTo>
                    <a:pt x="246" y="24"/>
                  </a:lnTo>
                  <a:lnTo>
                    <a:pt x="246" y="24"/>
                  </a:lnTo>
                  <a:close/>
                  <a:moveTo>
                    <a:pt x="246" y="24"/>
                  </a:moveTo>
                  <a:lnTo>
                    <a:pt x="246" y="24"/>
                  </a:lnTo>
                  <a:lnTo>
                    <a:pt x="246" y="43"/>
                  </a:lnTo>
                  <a:lnTo>
                    <a:pt x="246" y="43"/>
                  </a:lnTo>
                  <a:lnTo>
                    <a:pt x="246" y="24"/>
                  </a:lnTo>
                  <a:lnTo>
                    <a:pt x="246" y="24"/>
                  </a:lnTo>
                  <a:close/>
                  <a:moveTo>
                    <a:pt x="246" y="45"/>
                  </a:moveTo>
                  <a:lnTo>
                    <a:pt x="246" y="45"/>
                  </a:lnTo>
                  <a:lnTo>
                    <a:pt x="246" y="43"/>
                  </a:lnTo>
                  <a:lnTo>
                    <a:pt x="246" y="45"/>
                  </a:lnTo>
                  <a:close/>
                  <a:moveTo>
                    <a:pt x="246" y="43"/>
                  </a:moveTo>
                  <a:lnTo>
                    <a:pt x="246" y="43"/>
                  </a:lnTo>
                  <a:lnTo>
                    <a:pt x="249" y="43"/>
                  </a:lnTo>
                  <a:lnTo>
                    <a:pt x="249" y="45"/>
                  </a:lnTo>
                  <a:lnTo>
                    <a:pt x="246" y="45"/>
                  </a:lnTo>
                  <a:lnTo>
                    <a:pt x="246" y="43"/>
                  </a:lnTo>
                  <a:close/>
                  <a:moveTo>
                    <a:pt x="249" y="43"/>
                  </a:moveTo>
                  <a:lnTo>
                    <a:pt x="249" y="45"/>
                  </a:lnTo>
                  <a:lnTo>
                    <a:pt x="249" y="45"/>
                  </a:lnTo>
                  <a:lnTo>
                    <a:pt x="249" y="43"/>
                  </a:lnTo>
                  <a:close/>
                  <a:moveTo>
                    <a:pt x="249" y="45"/>
                  </a:moveTo>
                  <a:lnTo>
                    <a:pt x="249" y="43"/>
                  </a:lnTo>
                  <a:lnTo>
                    <a:pt x="249" y="17"/>
                  </a:lnTo>
                  <a:lnTo>
                    <a:pt x="249" y="17"/>
                  </a:lnTo>
                  <a:lnTo>
                    <a:pt x="249" y="43"/>
                  </a:lnTo>
                  <a:lnTo>
                    <a:pt x="249" y="45"/>
                  </a:lnTo>
                  <a:close/>
                  <a:moveTo>
                    <a:pt x="249" y="17"/>
                  </a:moveTo>
                  <a:lnTo>
                    <a:pt x="249" y="17"/>
                  </a:lnTo>
                  <a:lnTo>
                    <a:pt x="249" y="17"/>
                  </a:lnTo>
                  <a:lnTo>
                    <a:pt x="249" y="17"/>
                  </a:lnTo>
                  <a:close/>
                  <a:moveTo>
                    <a:pt x="249" y="17"/>
                  </a:moveTo>
                  <a:lnTo>
                    <a:pt x="249" y="17"/>
                  </a:lnTo>
                  <a:lnTo>
                    <a:pt x="254" y="17"/>
                  </a:lnTo>
                  <a:lnTo>
                    <a:pt x="254" y="17"/>
                  </a:lnTo>
                  <a:lnTo>
                    <a:pt x="249" y="17"/>
                  </a:lnTo>
                  <a:lnTo>
                    <a:pt x="249" y="17"/>
                  </a:lnTo>
                  <a:close/>
                  <a:moveTo>
                    <a:pt x="256" y="17"/>
                  </a:moveTo>
                  <a:lnTo>
                    <a:pt x="256" y="17"/>
                  </a:lnTo>
                  <a:lnTo>
                    <a:pt x="254" y="17"/>
                  </a:lnTo>
                  <a:lnTo>
                    <a:pt x="256" y="17"/>
                  </a:lnTo>
                  <a:close/>
                  <a:moveTo>
                    <a:pt x="254" y="17"/>
                  </a:moveTo>
                  <a:lnTo>
                    <a:pt x="254" y="17"/>
                  </a:lnTo>
                  <a:lnTo>
                    <a:pt x="254" y="15"/>
                  </a:lnTo>
                  <a:lnTo>
                    <a:pt x="256" y="15"/>
                  </a:lnTo>
                  <a:lnTo>
                    <a:pt x="256" y="17"/>
                  </a:lnTo>
                  <a:lnTo>
                    <a:pt x="254" y="17"/>
                  </a:lnTo>
                  <a:close/>
                  <a:moveTo>
                    <a:pt x="254" y="15"/>
                  </a:moveTo>
                  <a:lnTo>
                    <a:pt x="256" y="15"/>
                  </a:lnTo>
                  <a:lnTo>
                    <a:pt x="256" y="15"/>
                  </a:lnTo>
                  <a:lnTo>
                    <a:pt x="254" y="15"/>
                  </a:lnTo>
                  <a:close/>
                  <a:moveTo>
                    <a:pt x="256" y="15"/>
                  </a:moveTo>
                  <a:lnTo>
                    <a:pt x="254" y="15"/>
                  </a:lnTo>
                  <a:lnTo>
                    <a:pt x="249" y="15"/>
                  </a:lnTo>
                  <a:lnTo>
                    <a:pt x="249" y="15"/>
                  </a:lnTo>
                  <a:lnTo>
                    <a:pt x="254" y="15"/>
                  </a:lnTo>
                  <a:lnTo>
                    <a:pt x="256" y="15"/>
                  </a:lnTo>
                  <a:close/>
                  <a:moveTo>
                    <a:pt x="249" y="15"/>
                  </a:moveTo>
                  <a:lnTo>
                    <a:pt x="249" y="15"/>
                  </a:lnTo>
                  <a:lnTo>
                    <a:pt x="249" y="15"/>
                  </a:lnTo>
                  <a:lnTo>
                    <a:pt x="249" y="15"/>
                  </a:lnTo>
                  <a:close/>
                  <a:moveTo>
                    <a:pt x="249" y="15"/>
                  </a:moveTo>
                  <a:lnTo>
                    <a:pt x="249" y="15"/>
                  </a:lnTo>
                  <a:lnTo>
                    <a:pt x="237" y="0"/>
                  </a:lnTo>
                  <a:lnTo>
                    <a:pt x="237" y="0"/>
                  </a:lnTo>
                  <a:lnTo>
                    <a:pt x="249" y="15"/>
                  </a:lnTo>
                  <a:lnTo>
                    <a:pt x="249" y="15"/>
                  </a:lnTo>
                  <a:close/>
                  <a:moveTo>
                    <a:pt x="237" y="0"/>
                  </a:moveTo>
                  <a:lnTo>
                    <a:pt x="237" y="0"/>
                  </a:lnTo>
                  <a:lnTo>
                    <a:pt x="237" y="0"/>
                  </a:lnTo>
                  <a:lnTo>
                    <a:pt x="237" y="0"/>
                  </a:lnTo>
                  <a:close/>
                  <a:moveTo>
                    <a:pt x="237" y="0"/>
                  </a:moveTo>
                  <a:lnTo>
                    <a:pt x="237" y="0"/>
                  </a:lnTo>
                  <a:lnTo>
                    <a:pt x="235" y="3"/>
                  </a:lnTo>
                  <a:lnTo>
                    <a:pt x="235" y="3"/>
                  </a:lnTo>
                  <a:lnTo>
                    <a:pt x="237" y="0"/>
                  </a:lnTo>
                  <a:lnTo>
                    <a:pt x="237" y="0"/>
                  </a:lnTo>
                  <a:close/>
                  <a:moveTo>
                    <a:pt x="235" y="3"/>
                  </a:moveTo>
                  <a:lnTo>
                    <a:pt x="235" y="3"/>
                  </a:lnTo>
                  <a:lnTo>
                    <a:pt x="235" y="3"/>
                  </a:lnTo>
                  <a:lnTo>
                    <a:pt x="235" y="3"/>
                  </a:lnTo>
                  <a:close/>
                  <a:moveTo>
                    <a:pt x="235" y="3"/>
                  </a:moveTo>
                  <a:lnTo>
                    <a:pt x="235" y="3"/>
                  </a:lnTo>
                  <a:lnTo>
                    <a:pt x="246" y="15"/>
                  </a:lnTo>
                  <a:lnTo>
                    <a:pt x="246" y="15"/>
                  </a:lnTo>
                  <a:lnTo>
                    <a:pt x="235" y="3"/>
                  </a:lnTo>
                  <a:lnTo>
                    <a:pt x="235" y="3"/>
                  </a:lnTo>
                  <a:close/>
                  <a:moveTo>
                    <a:pt x="31" y="17"/>
                  </a:move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close/>
                  <a:moveTo>
                    <a:pt x="31" y="17"/>
                  </a:moveTo>
                  <a:lnTo>
                    <a:pt x="31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1" y="17"/>
                  </a:lnTo>
                  <a:lnTo>
                    <a:pt x="31" y="17"/>
                  </a:lnTo>
                  <a:close/>
                  <a:moveTo>
                    <a:pt x="36" y="17"/>
                  </a:move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36" y="17"/>
                  </a:moveTo>
                  <a:lnTo>
                    <a:pt x="36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52" y="17"/>
                  </a:move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52" y="17"/>
                  </a:moveTo>
                  <a:lnTo>
                    <a:pt x="52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59" y="17"/>
                  </a:moveTo>
                  <a:lnTo>
                    <a:pt x="62" y="17"/>
                  </a:lnTo>
                  <a:lnTo>
                    <a:pt x="62" y="17"/>
                  </a:lnTo>
                  <a:lnTo>
                    <a:pt x="59" y="17"/>
                  </a:lnTo>
                  <a:close/>
                  <a:moveTo>
                    <a:pt x="59" y="17"/>
                  </a:moveTo>
                  <a:lnTo>
                    <a:pt x="62" y="17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59" y="17"/>
                  </a:lnTo>
                  <a:lnTo>
                    <a:pt x="59" y="17"/>
                  </a:lnTo>
                  <a:close/>
                  <a:moveTo>
                    <a:pt x="62" y="19"/>
                  </a:move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close/>
                  <a:moveTo>
                    <a:pt x="62" y="19"/>
                  </a:move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close/>
                  <a:moveTo>
                    <a:pt x="62" y="22"/>
                  </a:move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2"/>
                  </a:lnTo>
                  <a:close/>
                  <a:moveTo>
                    <a:pt x="62" y="26"/>
                  </a:moveTo>
                  <a:lnTo>
                    <a:pt x="62" y="26"/>
                  </a:lnTo>
                  <a:lnTo>
                    <a:pt x="62" y="26"/>
                  </a:lnTo>
                  <a:close/>
                  <a:moveTo>
                    <a:pt x="62" y="26"/>
                  </a:move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close/>
                  <a:moveTo>
                    <a:pt x="59" y="29"/>
                  </a:moveTo>
                  <a:lnTo>
                    <a:pt x="59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9" y="26"/>
                  </a:lnTo>
                  <a:lnTo>
                    <a:pt x="59" y="29"/>
                  </a:lnTo>
                  <a:close/>
                  <a:moveTo>
                    <a:pt x="57" y="26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9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9"/>
                  </a:lnTo>
                  <a:close/>
                  <a:moveTo>
                    <a:pt x="55" y="26"/>
                  </a:moveTo>
                  <a:lnTo>
                    <a:pt x="55" y="26"/>
                  </a:lnTo>
                  <a:lnTo>
                    <a:pt x="57" y="26"/>
                  </a:lnTo>
                  <a:lnTo>
                    <a:pt x="55" y="26"/>
                  </a:lnTo>
                  <a:close/>
                  <a:moveTo>
                    <a:pt x="57" y="26"/>
                  </a:move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7" y="26"/>
                  </a:lnTo>
                  <a:close/>
                  <a:moveTo>
                    <a:pt x="59" y="36"/>
                  </a:move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close/>
                  <a:moveTo>
                    <a:pt x="66" y="38"/>
                  </a:moveTo>
                  <a:lnTo>
                    <a:pt x="66" y="36"/>
                  </a:lnTo>
                  <a:lnTo>
                    <a:pt x="66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4"/>
                  </a:lnTo>
                  <a:lnTo>
                    <a:pt x="76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6" y="38"/>
                  </a:lnTo>
                  <a:lnTo>
                    <a:pt x="66" y="38"/>
                  </a:lnTo>
                  <a:close/>
                  <a:moveTo>
                    <a:pt x="73" y="34"/>
                  </a:moveTo>
                  <a:lnTo>
                    <a:pt x="76" y="34"/>
                  </a:lnTo>
                  <a:lnTo>
                    <a:pt x="76" y="36"/>
                  </a:lnTo>
                  <a:lnTo>
                    <a:pt x="73" y="34"/>
                  </a:lnTo>
                  <a:close/>
                  <a:moveTo>
                    <a:pt x="73" y="34"/>
                  </a:moveTo>
                  <a:lnTo>
                    <a:pt x="76" y="36"/>
                  </a:lnTo>
                  <a:lnTo>
                    <a:pt x="76" y="43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4"/>
                  </a:lnTo>
                  <a:close/>
                  <a:moveTo>
                    <a:pt x="73" y="45"/>
                  </a:moveTo>
                  <a:lnTo>
                    <a:pt x="73" y="45"/>
                  </a:lnTo>
                  <a:lnTo>
                    <a:pt x="73" y="43"/>
                  </a:lnTo>
                  <a:lnTo>
                    <a:pt x="73" y="45"/>
                  </a:lnTo>
                  <a:close/>
                  <a:moveTo>
                    <a:pt x="73" y="43"/>
                  </a:moveTo>
                  <a:lnTo>
                    <a:pt x="73" y="43"/>
                  </a:lnTo>
                  <a:lnTo>
                    <a:pt x="78" y="43"/>
                  </a:lnTo>
                  <a:lnTo>
                    <a:pt x="78" y="45"/>
                  </a:lnTo>
                  <a:lnTo>
                    <a:pt x="73" y="45"/>
                  </a:lnTo>
                  <a:lnTo>
                    <a:pt x="73" y="43"/>
                  </a:lnTo>
                  <a:close/>
                  <a:moveTo>
                    <a:pt x="78" y="43"/>
                  </a:moveTo>
                  <a:lnTo>
                    <a:pt x="78" y="45"/>
                  </a:lnTo>
                  <a:lnTo>
                    <a:pt x="78" y="45"/>
                  </a:lnTo>
                  <a:lnTo>
                    <a:pt x="78" y="43"/>
                  </a:lnTo>
                  <a:close/>
                  <a:moveTo>
                    <a:pt x="78" y="45"/>
                  </a:moveTo>
                  <a:lnTo>
                    <a:pt x="76" y="43"/>
                  </a:lnTo>
                  <a:lnTo>
                    <a:pt x="76" y="17"/>
                  </a:lnTo>
                  <a:lnTo>
                    <a:pt x="78" y="17"/>
                  </a:lnTo>
                  <a:lnTo>
                    <a:pt x="78" y="43"/>
                  </a:lnTo>
                  <a:lnTo>
                    <a:pt x="78" y="45"/>
                  </a:lnTo>
                  <a:close/>
                  <a:moveTo>
                    <a:pt x="76" y="17"/>
                  </a:moveTo>
                  <a:lnTo>
                    <a:pt x="76" y="17"/>
                  </a:lnTo>
                  <a:lnTo>
                    <a:pt x="78" y="17"/>
                  </a:lnTo>
                  <a:lnTo>
                    <a:pt x="76" y="17"/>
                  </a:lnTo>
                  <a:close/>
                  <a:moveTo>
                    <a:pt x="76" y="17"/>
                  </a:moveTo>
                  <a:lnTo>
                    <a:pt x="78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78" y="17"/>
                  </a:lnTo>
                  <a:lnTo>
                    <a:pt x="76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81" y="17"/>
                  </a:lnTo>
                  <a:lnTo>
                    <a:pt x="81" y="17"/>
                  </a:lnTo>
                  <a:close/>
                  <a:moveTo>
                    <a:pt x="90" y="17"/>
                  </a:moveTo>
                  <a:lnTo>
                    <a:pt x="90" y="17"/>
                  </a:lnTo>
                  <a:lnTo>
                    <a:pt x="90" y="17"/>
                  </a:lnTo>
                  <a:lnTo>
                    <a:pt x="90" y="17"/>
                  </a:lnTo>
                  <a:close/>
                  <a:moveTo>
                    <a:pt x="90" y="17"/>
                  </a:moveTo>
                  <a:lnTo>
                    <a:pt x="90" y="17"/>
                  </a:lnTo>
                  <a:lnTo>
                    <a:pt x="90" y="26"/>
                  </a:lnTo>
                  <a:lnTo>
                    <a:pt x="88" y="26"/>
                  </a:lnTo>
                  <a:lnTo>
                    <a:pt x="88" y="17"/>
                  </a:lnTo>
                  <a:lnTo>
                    <a:pt x="90" y="17"/>
                  </a:lnTo>
                  <a:close/>
                  <a:moveTo>
                    <a:pt x="90" y="26"/>
                  </a:moveTo>
                  <a:lnTo>
                    <a:pt x="90" y="29"/>
                  </a:lnTo>
                  <a:lnTo>
                    <a:pt x="90" y="29"/>
                  </a:lnTo>
                  <a:lnTo>
                    <a:pt x="90" y="26"/>
                  </a:lnTo>
                  <a:close/>
                  <a:moveTo>
                    <a:pt x="90" y="26"/>
                  </a:moveTo>
                  <a:lnTo>
                    <a:pt x="90" y="29"/>
                  </a:lnTo>
                  <a:lnTo>
                    <a:pt x="88" y="29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0" y="26"/>
                  </a:lnTo>
                  <a:close/>
                  <a:moveTo>
                    <a:pt x="85" y="26"/>
                  </a:moveTo>
                  <a:lnTo>
                    <a:pt x="85" y="26"/>
                  </a:lnTo>
                  <a:lnTo>
                    <a:pt x="88" y="26"/>
                  </a:lnTo>
                  <a:lnTo>
                    <a:pt x="85" y="26"/>
                  </a:lnTo>
                  <a:close/>
                  <a:moveTo>
                    <a:pt x="88" y="26"/>
                  </a:moveTo>
                  <a:lnTo>
                    <a:pt x="88" y="29"/>
                  </a:lnTo>
                  <a:lnTo>
                    <a:pt x="85" y="29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8" y="26"/>
                  </a:lnTo>
                  <a:close/>
                  <a:moveTo>
                    <a:pt x="85" y="26"/>
                  </a:move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6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6"/>
                  </a:move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6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9"/>
                  </a:moveTo>
                  <a:lnTo>
                    <a:pt x="85" y="29"/>
                  </a:lnTo>
                  <a:lnTo>
                    <a:pt x="85" y="26"/>
                  </a:lnTo>
                  <a:lnTo>
                    <a:pt x="85" y="29"/>
                  </a:lnTo>
                  <a:close/>
                  <a:moveTo>
                    <a:pt x="85" y="26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6"/>
                  </a:lnTo>
                  <a:close/>
                  <a:moveTo>
                    <a:pt x="85" y="29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close/>
                  <a:moveTo>
                    <a:pt x="85" y="29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close/>
                  <a:moveTo>
                    <a:pt x="85" y="31"/>
                  </a:move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close/>
                  <a:moveTo>
                    <a:pt x="85" y="31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5" y="34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close/>
                  <a:moveTo>
                    <a:pt x="88" y="34"/>
                  </a:move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close/>
                  <a:moveTo>
                    <a:pt x="88" y="34"/>
                  </a:moveTo>
                  <a:lnTo>
                    <a:pt x="88" y="34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close/>
                  <a:moveTo>
                    <a:pt x="90" y="36"/>
                  </a:move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close/>
                  <a:moveTo>
                    <a:pt x="90" y="36"/>
                  </a:moveTo>
                  <a:lnTo>
                    <a:pt x="90" y="34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90" y="36"/>
                  </a:lnTo>
                  <a:close/>
                  <a:moveTo>
                    <a:pt x="92" y="36"/>
                  </a:move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close/>
                  <a:moveTo>
                    <a:pt x="92" y="36"/>
                  </a:moveTo>
                  <a:lnTo>
                    <a:pt x="90" y="34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close/>
                  <a:moveTo>
                    <a:pt x="92" y="34"/>
                  </a:moveTo>
                  <a:lnTo>
                    <a:pt x="92" y="36"/>
                  </a:lnTo>
                  <a:lnTo>
                    <a:pt x="92" y="36"/>
                  </a:lnTo>
                  <a:lnTo>
                    <a:pt x="92" y="34"/>
                  </a:lnTo>
                  <a:close/>
                  <a:moveTo>
                    <a:pt x="92" y="36"/>
                  </a:move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6"/>
                  </a:lnTo>
                  <a:close/>
                  <a:moveTo>
                    <a:pt x="92" y="34"/>
                  </a:move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close/>
                  <a:moveTo>
                    <a:pt x="92" y="34"/>
                  </a:moveTo>
                  <a:lnTo>
                    <a:pt x="92" y="34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34"/>
                  </a:lnTo>
                  <a:lnTo>
                    <a:pt x="92" y="34"/>
                  </a:lnTo>
                  <a:close/>
                  <a:moveTo>
                    <a:pt x="92" y="29"/>
                  </a:move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close/>
                  <a:moveTo>
                    <a:pt x="92" y="29"/>
                  </a:moveTo>
                  <a:lnTo>
                    <a:pt x="92" y="29"/>
                  </a:lnTo>
                  <a:lnTo>
                    <a:pt x="102" y="29"/>
                  </a:lnTo>
                  <a:lnTo>
                    <a:pt x="102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102" y="29"/>
                  </a:moveTo>
                  <a:lnTo>
                    <a:pt x="104" y="29"/>
                  </a:lnTo>
                  <a:lnTo>
                    <a:pt x="104" y="29"/>
                  </a:lnTo>
                  <a:lnTo>
                    <a:pt x="102" y="29"/>
                  </a:lnTo>
                  <a:close/>
                  <a:moveTo>
                    <a:pt x="102" y="29"/>
                  </a:moveTo>
                  <a:lnTo>
                    <a:pt x="104" y="29"/>
                  </a:lnTo>
                  <a:lnTo>
                    <a:pt x="104" y="43"/>
                  </a:lnTo>
                  <a:lnTo>
                    <a:pt x="102" y="43"/>
                  </a:lnTo>
                  <a:lnTo>
                    <a:pt x="102" y="29"/>
                  </a:lnTo>
                  <a:lnTo>
                    <a:pt x="102" y="29"/>
                  </a:lnTo>
                  <a:close/>
                  <a:moveTo>
                    <a:pt x="102" y="45"/>
                  </a:moveTo>
                  <a:lnTo>
                    <a:pt x="102" y="45"/>
                  </a:lnTo>
                  <a:lnTo>
                    <a:pt x="102" y="43"/>
                  </a:lnTo>
                  <a:lnTo>
                    <a:pt x="102" y="45"/>
                  </a:lnTo>
                  <a:close/>
                  <a:moveTo>
                    <a:pt x="102" y="43"/>
                  </a:moveTo>
                  <a:lnTo>
                    <a:pt x="102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2" y="45"/>
                  </a:lnTo>
                  <a:lnTo>
                    <a:pt x="102" y="43"/>
                  </a:lnTo>
                  <a:close/>
                  <a:moveTo>
                    <a:pt x="107" y="43"/>
                  </a:moveTo>
                  <a:lnTo>
                    <a:pt x="107" y="45"/>
                  </a:lnTo>
                  <a:lnTo>
                    <a:pt x="107" y="45"/>
                  </a:lnTo>
                  <a:lnTo>
                    <a:pt x="107" y="43"/>
                  </a:lnTo>
                  <a:close/>
                  <a:moveTo>
                    <a:pt x="107" y="45"/>
                  </a:moveTo>
                  <a:lnTo>
                    <a:pt x="104" y="43"/>
                  </a:lnTo>
                  <a:lnTo>
                    <a:pt x="104" y="17"/>
                  </a:lnTo>
                  <a:lnTo>
                    <a:pt x="107" y="17"/>
                  </a:lnTo>
                  <a:lnTo>
                    <a:pt x="107" y="43"/>
                  </a:lnTo>
                  <a:lnTo>
                    <a:pt x="107" y="45"/>
                  </a:lnTo>
                  <a:close/>
                  <a:moveTo>
                    <a:pt x="104" y="17"/>
                  </a:moveTo>
                  <a:lnTo>
                    <a:pt x="104" y="17"/>
                  </a:lnTo>
                  <a:lnTo>
                    <a:pt x="107" y="17"/>
                  </a:lnTo>
                  <a:lnTo>
                    <a:pt x="104" y="17"/>
                  </a:lnTo>
                  <a:close/>
                  <a:moveTo>
                    <a:pt x="104" y="17"/>
                  </a:moveTo>
                  <a:lnTo>
                    <a:pt x="107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7" y="17"/>
                  </a:lnTo>
                  <a:lnTo>
                    <a:pt x="104" y="17"/>
                  </a:lnTo>
                  <a:close/>
                  <a:moveTo>
                    <a:pt x="109" y="17"/>
                  </a:moveTo>
                  <a:lnTo>
                    <a:pt x="109" y="17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09" y="17"/>
                  </a:lnTo>
                  <a:lnTo>
                    <a:pt x="109" y="17"/>
                  </a:lnTo>
                  <a:close/>
                  <a:moveTo>
                    <a:pt x="111" y="17"/>
                  </a:moveTo>
                  <a:lnTo>
                    <a:pt x="111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11" y="17"/>
                  </a:lnTo>
                  <a:lnTo>
                    <a:pt x="111" y="17"/>
                  </a:lnTo>
                  <a:close/>
                  <a:moveTo>
                    <a:pt x="128" y="17"/>
                  </a:move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close/>
                  <a:moveTo>
                    <a:pt x="128" y="17"/>
                  </a:moveTo>
                  <a:lnTo>
                    <a:pt x="128" y="17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17"/>
                  </a:lnTo>
                  <a:lnTo>
                    <a:pt x="128" y="17"/>
                  </a:lnTo>
                  <a:close/>
                  <a:moveTo>
                    <a:pt x="128" y="31"/>
                  </a:move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close/>
                  <a:moveTo>
                    <a:pt x="128" y="31"/>
                  </a:move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close/>
                  <a:moveTo>
                    <a:pt x="126" y="34"/>
                  </a:move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close/>
                  <a:moveTo>
                    <a:pt x="126" y="34"/>
                  </a:moveTo>
                  <a:lnTo>
                    <a:pt x="126" y="36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close/>
                  <a:moveTo>
                    <a:pt x="123" y="34"/>
                  </a:move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close/>
                  <a:moveTo>
                    <a:pt x="123" y="34"/>
                  </a:moveTo>
                  <a:lnTo>
                    <a:pt x="123" y="36"/>
                  </a:lnTo>
                  <a:lnTo>
                    <a:pt x="123" y="36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close/>
                  <a:moveTo>
                    <a:pt x="123" y="36"/>
                  </a:move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close/>
                  <a:moveTo>
                    <a:pt x="123" y="36"/>
                  </a:moveTo>
                  <a:lnTo>
                    <a:pt x="123" y="36"/>
                  </a:lnTo>
                  <a:lnTo>
                    <a:pt x="121" y="36"/>
                  </a:lnTo>
                  <a:lnTo>
                    <a:pt x="121" y="34"/>
                  </a:lnTo>
                  <a:lnTo>
                    <a:pt x="123" y="34"/>
                  </a:lnTo>
                  <a:lnTo>
                    <a:pt x="123" y="36"/>
                  </a:lnTo>
                  <a:close/>
                  <a:moveTo>
                    <a:pt x="121" y="34"/>
                  </a:move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close/>
                  <a:moveTo>
                    <a:pt x="118" y="36"/>
                  </a:move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close/>
                  <a:moveTo>
                    <a:pt x="121" y="34"/>
                  </a:move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close/>
                  <a:moveTo>
                    <a:pt x="116" y="29"/>
                  </a:move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close/>
                  <a:moveTo>
                    <a:pt x="116" y="26"/>
                  </a:move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close/>
                  <a:moveTo>
                    <a:pt x="118" y="26"/>
                  </a:move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close/>
                  <a:moveTo>
                    <a:pt x="118" y="24"/>
                  </a:move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close/>
                  <a:moveTo>
                    <a:pt x="118" y="24"/>
                  </a:move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close/>
                  <a:moveTo>
                    <a:pt x="121" y="24"/>
                  </a:move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close/>
                  <a:moveTo>
                    <a:pt x="121" y="24"/>
                  </a:moveTo>
                  <a:lnTo>
                    <a:pt x="121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1" y="24"/>
                  </a:lnTo>
                  <a:lnTo>
                    <a:pt x="121" y="24"/>
                  </a:lnTo>
                  <a:close/>
                  <a:moveTo>
                    <a:pt x="123" y="24"/>
                  </a:move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close/>
                  <a:moveTo>
                    <a:pt x="123" y="24"/>
                  </a:moveTo>
                  <a:lnTo>
                    <a:pt x="123" y="24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3" y="24"/>
                  </a:lnTo>
                  <a:lnTo>
                    <a:pt x="123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3" y="24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6"/>
                  </a:lnTo>
                  <a:lnTo>
                    <a:pt x="126" y="26"/>
                  </a:lnTo>
                  <a:lnTo>
                    <a:pt x="126" y="24"/>
                  </a:lnTo>
                  <a:close/>
                  <a:moveTo>
                    <a:pt x="126" y="26"/>
                  </a:moveTo>
                  <a:lnTo>
                    <a:pt x="126" y="26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4"/>
                  </a:lnTo>
                  <a:lnTo>
                    <a:pt x="126" y="26"/>
                  </a:lnTo>
                  <a:close/>
                  <a:moveTo>
                    <a:pt x="126" y="22"/>
                  </a:move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close/>
                  <a:moveTo>
                    <a:pt x="126" y="22"/>
                  </a:move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6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1" y="22"/>
                  </a:move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close/>
                  <a:moveTo>
                    <a:pt x="116" y="24"/>
                  </a:move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6" y="24"/>
                  </a:lnTo>
                  <a:close/>
                  <a:moveTo>
                    <a:pt x="114" y="29"/>
                  </a:move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close/>
                  <a:moveTo>
                    <a:pt x="114" y="31"/>
                  </a:move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close/>
                  <a:moveTo>
                    <a:pt x="114" y="34"/>
                  </a:move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close/>
                  <a:moveTo>
                    <a:pt x="114" y="34"/>
                  </a:move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close/>
                  <a:moveTo>
                    <a:pt x="116" y="36"/>
                  </a:move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3" y="36"/>
                  </a:lnTo>
                  <a:lnTo>
                    <a:pt x="123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close/>
                  <a:moveTo>
                    <a:pt x="123" y="38"/>
                  </a:move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3" y="38"/>
                  </a:moveTo>
                  <a:lnTo>
                    <a:pt x="121" y="36"/>
                  </a:lnTo>
                  <a:lnTo>
                    <a:pt x="123" y="36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3" y="38"/>
                  </a:moveTo>
                  <a:lnTo>
                    <a:pt x="123" y="38"/>
                  </a:ln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3" y="38"/>
                  </a:moveTo>
                  <a:lnTo>
                    <a:pt x="123" y="36"/>
                  </a:lnTo>
                  <a:lnTo>
                    <a:pt x="126" y="36"/>
                  </a:lnTo>
                  <a:lnTo>
                    <a:pt x="126" y="38"/>
                  </a:ln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6" y="38"/>
                  </a:move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close/>
                  <a:moveTo>
                    <a:pt x="126" y="38"/>
                  </a:moveTo>
                  <a:lnTo>
                    <a:pt x="126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26" y="38"/>
                  </a:lnTo>
                  <a:lnTo>
                    <a:pt x="126" y="38"/>
                  </a:lnTo>
                  <a:close/>
                  <a:moveTo>
                    <a:pt x="128" y="36"/>
                  </a:move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close/>
                  <a:moveTo>
                    <a:pt x="128" y="36"/>
                  </a:moveTo>
                  <a:lnTo>
                    <a:pt x="126" y="36"/>
                  </a:lnTo>
                  <a:lnTo>
                    <a:pt x="128" y="34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close/>
                  <a:moveTo>
                    <a:pt x="128" y="34"/>
                  </a:moveTo>
                  <a:lnTo>
                    <a:pt x="128" y="34"/>
                  </a:lnTo>
                  <a:lnTo>
                    <a:pt x="128" y="36"/>
                  </a:lnTo>
                  <a:lnTo>
                    <a:pt x="128" y="34"/>
                  </a:lnTo>
                  <a:close/>
                  <a:moveTo>
                    <a:pt x="128" y="34"/>
                  </a:moveTo>
                  <a:lnTo>
                    <a:pt x="128" y="36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36"/>
                  </a:lnTo>
                  <a:lnTo>
                    <a:pt x="128" y="34"/>
                  </a:lnTo>
                  <a:close/>
                  <a:moveTo>
                    <a:pt x="128" y="45"/>
                  </a:moveTo>
                  <a:lnTo>
                    <a:pt x="128" y="45"/>
                  </a:lnTo>
                  <a:lnTo>
                    <a:pt x="128" y="43"/>
                  </a:lnTo>
                  <a:lnTo>
                    <a:pt x="128" y="45"/>
                  </a:lnTo>
                  <a:close/>
                  <a:moveTo>
                    <a:pt x="128" y="43"/>
                  </a:moveTo>
                  <a:lnTo>
                    <a:pt x="128" y="43"/>
                  </a:lnTo>
                  <a:lnTo>
                    <a:pt x="130" y="43"/>
                  </a:lnTo>
                  <a:lnTo>
                    <a:pt x="130" y="45"/>
                  </a:lnTo>
                  <a:lnTo>
                    <a:pt x="128" y="45"/>
                  </a:lnTo>
                  <a:lnTo>
                    <a:pt x="128" y="43"/>
                  </a:lnTo>
                  <a:close/>
                  <a:moveTo>
                    <a:pt x="133" y="43"/>
                  </a:moveTo>
                  <a:lnTo>
                    <a:pt x="133" y="45"/>
                  </a:lnTo>
                  <a:lnTo>
                    <a:pt x="130" y="45"/>
                  </a:lnTo>
                  <a:lnTo>
                    <a:pt x="133" y="43"/>
                  </a:lnTo>
                  <a:close/>
                  <a:moveTo>
                    <a:pt x="130" y="45"/>
                  </a:moveTo>
                  <a:lnTo>
                    <a:pt x="130" y="43"/>
                  </a:lnTo>
                  <a:lnTo>
                    <a:pt x="130" y="17"/>
                  </a:lnTo>
                  <a:lnTo>
                    <a:pt x="133" y="17"/>
                  </a:lnTo>
                  <a:lnTo>
                    <a:pt x="133" y="43"/>
                  </a:lnTo>
                  <a:lnTo>
                    <a:pt x="130" y="45"/>
                  </a:lnTo>
                  <a:close/>
                  <a:moveTo>
                    <a:pt x="130" y="17"/>
                  </a:move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close/>
                  <a:moveTo>
                    <a:pt x="130" y="17"/>
                  </a:moveTo>
                  <a:lnTo>
                    <a:pt x="130" y="17"/>
                  </a:lnTo>
                  <a:lnTo>
                    <a:pt x="137" y="17"/>
                  </a:lnTo>
                  <a:lnTo>
                    <a:pt x="137" y="17"/>
                  </a:lnTo>
                  <a:lnTo>
                    <a:pt x="130" y="17"/>
                  </a:lnTo>
                  <a:lnTo>
                    <a:pt x="130" y="17"/>
                  </a:lnTo>
                  <a:close/>
                  <a:moveTo>
                    <a:pt x="137" y="17"/>
                  </a:moveTo>
                  <a:lnTo>
                    <a:pt x="137" y="17"/>
                  </a:lnTo>
                  <a:lnTo>
                    <a:pt x="137" y="17"/>
                  </a:lnTo>
                  <a:lnTo>
                    <a:pt x="137" y="17"/>
                  </a:lnTo>
                  <a:close/>
                  <a:moveTo>
                    <a:pt x="137" y="17"/>
                  </a:moveTo>
                  <a:lnTo>
                    <a:pt x="135" y="17"/>
                  </a:lnTo>
                  <a:lnTo>
                    <a:pt x="135" y="15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7" y="17"/>
                  </a:lnTo>
                  <a:close/>
                  <a:moveTo>
                    <a:pt x="137" y="15"/>
                  </a:moveTo>
                  <a:lnTo>
                    <a:pt x="137" y="15"/>
                  </a:lnTo>
                  <a:lnTo>
                    <a:pt x="137" y="15"/>
                  </a:lnTo>
                  <a:lnTo>
                    <a:pt x="137" y="15"/>
                  </a:lnTo>
                  <a:close/>
                  <a:moveTo>
                    <a:pt x="137" y="15"/>
                  </a:moveTo>
                  <a:lnTo>
                    <a:pt x="137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37" y="15"/>
                  </a:lnTo>
                  <a:lnTo>
                    <a:pt x="137" y="15"/>
                  </a:lnTo>
                  <a:close/>
                  <a:moveTo>
                    <a:pt x="111" y="15"/>
                  </a:moveTo>
                  <a:lnTo>
                    <a:pt x="111" y="15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11" y="15"/>
                  </a:lnTo>
                  <a:lnTo>
                    <a:pt x="111" y="15"/>
                  </a:lnTo>
                  <a:close/>
                  <a:moveTo>
                    <a:pt x="109" y="15"/>
                  </a:moveTo>
                  <a:lnTo>
                    <a:pt x="109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9" y="15"/>
                  </a:lnTo>
                  <a:lnTo>
                    <a:pt x="109" y="15"/>
                  </a:lnTo>
                  <a:close/>
                  <a:moveTo>
                    <a:pt x="104" y="15"/>
                  </a:move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close/>
                  <a:moveTo>
                    <a:pt x="104" y="15"/>
                  </a:moveTo>
                  <a:lnTo>
                    <a:pt x="104" y="15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4" y="15"/>
                  </a:lnTo>
                  <a:lnTo>
                    <a:pt x="104" y="15"/>
                  </a:lnTo>
                  <a:close/>
                  <a:moveTo>
                    <a:pt x="92" y="0"/>
                  </a:move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close/>
                  <a:moveTo>
                    <a:pt x="92" y="0"/>
                  </a:moveTo>
                  <a:lnTo>
                    <a:pt x="92" y="0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2" y="0"/>
                  </a:lnTo>
                  <a:lnTo>
                    <a:pt x="92" y="0"/>
                  </a:lnTo>
                  <a:close/>
                  <a:moveTo>
                    <a:pt x="90" y="3"/>
                  </a:move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close/>
                  <a:moveTo>
                    <a:pt x="90" y="3"/>
                  </a:moveTo>
                  <a:lnTo>
                    <a:pt x="90" y="3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90" y="3"/>
                  </a:lnTo>
                  <a:lnTo>
                    <a:pt x="90" y="3"/>
                  </a:lnTo>
                  <a:close/>
                  <a:moveTo>
                    <a:pt x="102" y="15"/>
                  </a:moveTo>
                  <a:lnTo>
                    <a:pt x="104" y="15"/>
                  </a:lnTo>
                  <a:lnTo>
                    <a:pt x="102" y="15"/>
                  </a:lnTo>
                  <a:lnTo>
                    <a:pt x="102" y="15"/>
                  </a:lnTo>
                  <a:close/>
                  <a:moveTo>
                    <a:pt x="102" y="15"/>
                  </a:moveTo>
                  <a:lnTo>
                    <a:pt x="102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102" y="15"/>
                  </a:lnTo>
                  <a:lnTo>
                    <a:pt x="102" y="15"/>
                  </a:lnTo>
                  <a:close/>
                  <a:moveTo>
                    <a:pt x="81" y="15"/>
                  </a:move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close/>
                  <a:moveTo>
                    <a:pt x="81" y="15"/>
                  </a:moveTo>
                  <a:lnTo>
                    <a:pt x="81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81" y="15"/>
                  </a:lnTo>
                  <a:lnTo>
                    <a:pt x="81" y="15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52" y="15"/>
                  </a:lnTo>
                  <a:lnTo>
                    <a:pt x="52" y="15"/>
                  </a:lnTo>
                  <a:close/>
                  <a:moveTo>
                    <a:pt x="36" y="15"/>
                  </a:move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close/>
                  <a:moveTo>
                    <a:pt x="36" y="15"/>
                  </a:moveTo>
                  <a:lnTo>
                    <a:pt x="36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6" y="15"/>
                  </a:lnTo>
                  <a:lnTo>
                    <a:pt x="36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0" y="15"/>
                  </a:moveTo>
                  <a:lnTo>
                    <a:pt x="2" y="15"/>
                  </a:ln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4" y="17"/>
                  </a:moveTo>
                  <a:lnTo>
                    <a:pt x="14" y="17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4" y="24"/>
                  </a:moveTo>
                  <a:lnTo>
                    <a:pt x="14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4"/>
                  </a:lnTo>
                  <a:lnTo>
                    <a:pt x="14" y="24"/>
                  </a:lnTo>
                  <a:close/>
                  <a:moveTo>
                    <a:pt x="14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6"/>
                  </a:moveTo>
                  <a:lnTo>
                    <a:pt x="14" y="26"/>
                  </a:lnTo>
                  <a:lnTo>
                    <a:pt x="14" y="29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9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close/>
                  <a:moveTo>
                    <a:pt x="14" y="26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9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9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close/>
                  <a:moveTo>
                    <a:pt x="10" y="26"/>
                  </a:moveTo>
                  <a:lnTo>
                    <a:pt x="7" y="26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10" y="26"/>
                  </a:lnTo>
                  <a:close/>
                  <a:moveTo>
                    <a:pt x="7" y="22"/>
                  </a:moveTo>
                  <a:lnTo>
                    <a:pt x="7" y="22"/>
                  </a:lnTo>
                  <a:lnTo>
                    <a:pt x="7" y="24"/>
                  </a:lnTo>
                  <a:lnTo>
                    <a:pt x="7" y="22"/>
                  </a:lnTo>
                  <a:close/>
                  <a:moveTo>
                    <a:pt x="7" y="24"/>
                  </a:moveTo>
                  <a:lnTo>
                    <a:pt x="7" y="24"/>
                  </a:lnTo>
                  <a:lnTo>
                    <a:pt x="5" y="26"/>
                  </a:lnTo>
                  <a:lnTo>
                    <a:pt x="5" y="24"/>
                  </a:lnTo>
                  <a:lnTo>
                    <a:pt x="7" y="22"/>
                  </a:lnTo>
                  <a:lnTo>
                    <a:pt x="7" y="24"/>
                  </a:lnTo>
                  <a:close/>
                  <a:moveTo>
                    <a:pt x="5" y="24"/>
                  </a:moveTo>
                  <a:lnTo>
                    <a:pt x="2" y="24"/>
                  </a:lnTo>
                  <a:lnTo>
                    <a:pt x="5" y="24"/>
                  </a:lnTo>
                  <a:lnTo>
                    <a:pt x="5" y="24"/>
                  </a:lnTo>
                  <a:close/>
                  <a:moveTo>
                    <a:pt x="5" y="24"/>
                  </a:moveTo>
                  <a:lnTo>
                    <a:pt x="5" y="24"/>
                  </a:lnTo>
                  <a:lnTo>
                    <a:pt x="7" y="26"/>
                  </a:lnTo>
                  <a:lnTo>
                    <a:pt x="5" y="26"/>
                  </a:lnTo>
                  <a:lnTo>
                    <a:pt x="5" y="24"/>
                  </a:lnTo>
                  <a:lnTo>
                    <a:pt x="5" y="24"/>
                  </a:lnTo>
                  <a:close/>
                  <a:moveTo>
                    <a:pt x="5" y="26"/>
                  </a:move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5" y="26"/>
                  </a:moveTo>
                  <a:lnTo>
                    <a:pt x="7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7" y="29"/>
                  </a:move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close/>
                  <a:moveTo>
                    <a:pt x="7" y="29"/>
                  </a:moveTo>
                  <a:lnTo>
                    <a:pt x="7" y="29"/>
                  </a:lnTo>
                  <a:lnTo>
                    <a:pt x="10" y="31"/>
                  </a:lnTo>
                  <a:lnTo>
                    <a:pt x="7" y="31"/>
                  </a:lnTo>
                  <a:lnTo>
                    <a:pt x="7" y="29"/>
                  </a:lnTo>
                  <a:close/>
                  <a:moveTo>
                    <a:pt x="7" y="31"/>
                  </a:move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7" y="31"/>
                  </a:moveTo>
                  <a:lnTo>
                    <a:pt x="10" y="31"/>
                  </a:lnTo>
                  <a:lnTo>
                    <a:pt x="17" y="41"/>
                  </a:lnTo>
                  <a:lnTo>
                    <a:pt x="14" y="41"/>
                  </a:ln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14" y="41"/>
                  </a:move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7" y="43"/>
                  </a:lnTo>
                  <a:lnTo>
                    <a:pt x="19" y="41"/>
                  </a:lnTo>
                  <a:lnTo>
                    <a:pt x="21" y="43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21" y="41"/>
                  </a:moveTo>
                  <a:lnTo>
                    <a:pt x="21" y="43"/>
                  </a:lnTo>
                  <a:lnTo>
                    <a:pt x="21" y="43"/>
                  </a:lnTo>
                  <a:lnTo>
                    <a:pt x="21" y="41"/>
                  </a:lnTo>
                  <a:close/>
                  <a:moveTo>
                    <a:pt x="21" y="43"/>
                  </a:moveTo>
                  <a:lnTo>
                    <a:pt x="19" y="43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1" y="41"/>
                  </a:lnTo>
                  <a:lnTo>
                    <a:pt x="21" y="43"/>
                  </a:lnTo>
                  <a:close/>
                  <a:moveTo>
                    <a:pt x="19" y="41"/>
                  </a:move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close/>
                  <a:moveTo>
                    <a:pt x="19" y="41"/>
                  </a:moveTo>
                  <a:lnTo>
                    <a:pt x="19" y="41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9" y="41"/>
                  </a:lnTo>
                  <a:lnTo>
                    <a:pt x="19" y="41"/>
                  </a:lnTo>
                  <a:close/>
                  <a:moveTo>
                    <a:pt x="17" y="38"/>
                  </a:move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close/>
                  <a:moveTo>
                    <a:pt x="17" y="38"/>
                  </a:moveTo>
                  <a:lnTo>
                    <a:pt x="17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7" y="38"/>
                  </a:lnTo>
                  <a:lnTo>
                    <a:pt x="17" y="38"/>
                  </a:lnTo>
                  <a:close/>
                  <a:moveTo>
                    <a:pt x="14" y="36"/>
                  </a:move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close/>
                  <a:moveTo>
                    <a:pt x="14" y="36"/>
                  </a:moveTo>
                  <a:lnTo>
                    <a:pt x="14" y="36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7" y="36"/>
                  </a:lnTo>
                  <a:lnTo>
                    <a:pt x="14" y="36"/>
                  </a:lnTo>
                  <a:close/>
                  <a:moveTo>
                    <a:pt x="12" y="31"/>
                  </a:moveTo>
                  <a:lnTo>
                    <a:pt x="10" y="29"/>
                  </a:lnTo>
                  <a:lnTo>
                    <a:pt x="12" y="29"/>
                  </a:lnTo>
                  <a:lnTo>
                    <a:pt x="12" y="31"/>
                  </a:lnTo>
                  <a:close/>
                  <a:moveTo>
                    <a:pt x="12" y="31"/>
                  </a:moveTo>
                  <a:lnTo>
                    <a:pt x="12" y="31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9"/>
                  </a:lnTo>
                  <a:close/>
                  <a:moveTo>
                    <a:pt x="12" y="31"/>
                  </a:move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close/>
                  <a:moveTo>
                    <a:pt x="12" y="31"/>
                  </a:moveTo>
                  <a:lnTo>
                    <a:pt x="12" y="31"/>
                  </a:lnTo>
                  <a:lnTo>
                    <a:pt x="14" y="29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2" y="31"/>
                  </a:lnTo>
                  <a:close/>
                  <a:moveTo>
                    <a:pt x="14" y="31"/>
                  </a:move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4" y="31"/>
                  </a:moveTo>
                  <a:lnTo>
                    <a:pt x="14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4" y="31"/>
                  </a:move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4" y="31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7" y="31"/>
                  </a:move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close/>
                  <a:moveTo>
                    <a:pt x="17" y="31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close/>
                  <a:moveTo>
                    <a:pt x="19" y="29"/>
                  </a:move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close/>
                  <a:moveTo>
                    <a:pt x="19" y="29"/>
                  </a:moveTo>
                  <a:lnTo>
                    <a:pt x="17" y="29"/>
                  </a:lnTo>
                  <a:lnTo>
                    <a:pt x="17" y="26"/>
                  </a:lnTo>
                  <a:lnTo>
                    <a:pt x="19" y="26"/>
                  </a:lnTo>
                  <a:lnTo>
                    <a:pt x="19" y="29"/>
                  </a:lnTo>
                  <a:close/>
                  <a:moveTo>
                    <a:pt x="19" y="26"/>
                  </a:move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19" y="26"/>
                  </a:moveTo>
                  <a:lnTo>
                    <a:pt x="17" y="26"/>
                  </a:lnTo>
                  <a:lnTo>
                    <a:pt x="17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17" y="26"/>
                  </a:moveTo>
                  <a:lnTo>
                    <a:pt x="17" y="26"/>
                  </a:lnTo>
                  <a:lnTo>
                    <a:pt x="17" y="17"/>
                  </a:lnTo>
                  <a:lnTo>
                    <a:pt x="19" y="17"/>
                  </a:lnTo>
                  <a:lnTo>
                    <a:pt x="19" y="26"/>
                  </a:lnTo>
                  <a:lnTo>
                    <a:pt x="17" y="26"/>
                  </a:lnTo>
                  <a:close/>
                  <a:moveTo>
                    <a:pt x="17" y="17"/>
                  </a:move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close/>
                  <a:moveTo>
                    <a:pt x="17" y="17"/>
                  </a:moveTo>
                  <a:lnTo>
                    <a:pt x="1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17" y="17"/>
                  </a:lnTo>
                  <a:lnTo>
                    <a:pt x="17" y="17"/>
                  </a:lnTo>
                  <a:close/>
                  <a:moveTo>
                    <a:pt x="28" y="17"/>
                  </a:move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close/>
                  <a:moveTo>
                    <a:pt x="28" y="17"/>
                  </a:moveTo>
                  <a:lnTo>
                    <a:pt x="28" y="1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17"/>
                  </a:lnTo>
                  <a:lnTo>
                    <a:pt x="28" y="17"/>
                  </a:lnTo>
                  <a:close/>
                  <a:moveTo>
                    <a:pt x="28" y="26"/>
                  </a:move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close/>
                  <a:moveTo>
                    <a:pt x="28" y="26"/>
                  </a:moveTo>
                  <a:lnTo>
                    <a:pt x="28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28" y="26"/>
                  </a:lnTo>
                  <a:lnTo>
                    <a:pt x="28" y="26"/>
                  </a:lnTo>
                  <a:close/>
                  <a:moveTo>
                    <a:pt x="19" y="26"/>
                  </a:moveTo>
                  <a:lnTo>
                    <a:pt x="17" y="26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19" y="26"/>
                  </a:moveTo>
                  <a:lnTo>
                    <a:pt x="19" y="26"/>
                  </a:lnTo>
                  <a:lnTo>
                    <a:pt x="21" y="29"/>
                  </a:lnTo>
                  <a:lnTo>
                    <a:pt x="19" y="29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21" y="29"/>
                  </a:moveTo>
                  <a:lnTo>
                    <a:pt x="19" y="29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19" y="29"/>
                  </a:moveTo>
                  <a:lnTo>
                    <a:pt x="21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1" y="29"/>
                  </a:lnTo>
                  <a:lnTo>
                    <a:pt x="19" y="29"/>
                  </a:lnTo>
                  <a:close/>
                  <a:moveTo>
                    <a:pt x="28" y="29"/>
                  </a:move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close/>
                  <a:moveTo>
                    <a:pt x="28" y="29"/>
                  </a:moveTo>
                  <a:lnTo>
                    <a:pt x="28" y="2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29"/>
                  </a:lnTo>
                  <a:lnTo>
                    <a:pt x="28" y="29"/>
                  </a:lnTo>
                  <a:close/>
                  <a:moveTo>
                    <a:pt x="28" y="45"/>
                  </a:moveTo>
                  <a:lnTo>
                    <a:pt x="28" y="45"/>
                  </a:lnTo>
                  <a:lnTo>
                    <a:pt x="28" y="43"/>
                  </a:lnTo>
                  <a:lnTo>
                    <a:pt x="28" y="45"/>
                  </a:lnTo>
                  <a:close/>
                  <a:moveTo>
                    <a:pt x="28" y="43"/>
                  </a:moveTo>
                  <a:lnTo>
                    <a:pt x="28" y="43"/>
                  </a:lnTo>
                  <a:lnTo>
                    <a:pt x="31" y="43"/>
                  </a:lnTo>
                  <a:lnTo>
                    <a:pt x="31" y="45"/>
                  </a:lnTo>
                  <a:lnTo>
                    <a:pt x="28" y="45"/>
                  </a:lnTo>
                  <a:lnTo>
                    <a:pt x="28" y="43"/>
                  </a:lnTo>
                  <a:close/>
                  <a:moveTo>
                    <a:pt x="33" y="43"/>
                  </a:moveTo>
                  <a:lnTo>
                    <a:pt x="33" y="45"/>
                  </a:lnTo>
                  <a:lnTo>
                    <a:pt x="31" y="45"/>
                  </a:lnTo>
                  <a:lnTo>
                    <a:pt x="33" y="43"/>
                  </a:lnTo>
                  <a:close/>
                  <a:moveTo>
                    <a:pt x="31" y="45"/>
                  </a:moveTo>
                  <a:lnTo>
                    <a:pt x="31" y="43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3" y="43"/>
                  </a:lnTo>
                  <a:lnTo>
                    <a:pt x="31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7" name="Freeform 41"/>
            <p:cNvSpPr>
              <a:spLocks noEditPoints="1"/>
            </p:cNvSpPr>
            <p:nvPr/>
          </p:nvSpPr>
          <p:spPr bwMode="auto">
            <a:xfrm>
              <a:off x="3300" y="2567"/>
              <a:ext cx="1080" cy="102"/>
            </a:xfrm>
            <a:custGeom>
              <a:avLst/>
              <a:gdLst>
                <a:gd name="T0" fmla="*/ 12 w 456"/>
                <a:gd name="T1" fmla="*/ 42 h 43"/>
                <a:gd name="T2" fmla="*/ 26 w 456"/>
                <a:gd name="T3" fmla="*/ 42 h 43"/>
                <a:gd name="T4" fmla="*/ 19 w 456"/>
                <a:gd name="T5" fmla="*/ 26 h 43"/>
                <a:gd name="T6" fmla="*/ 13 w 456"/>
                <a:gd name="T7" fmla="*/ 6 h 43"/>
                <a:gd name="T8" fmla="*/ 43 w 456"/>
                <a:gd name="T9" fmla="*/ 42 h 43"/>
                <a:gd name="T10" fmla="*/ 38 w 456"/>
                <a:gd name="T11" fmla="*/ 26 h 43"/>
                <a:gd name="T12" fmla="*/ 38 w 456"/>
                <a:gd name="T13" fmla="*/ 26 h 43"/>
                <a:gd name="T14" fmla="*/ 57 w 456"/>
                <a:gd name="T15" fmla="*/ 11 h 43"/>
                <a:gd name="T16" fmla="*/ 73 w 456"/>
                <a:gd name="T17" fmla="*/ 11 h 43"/>
                <a:gd name="T18" fmla="*/ 95 w 456"/>
                <a:gd name="T19" fmla="*/ 10 h 43"/>
                <a:gd name="T20" fmla="*/ 99 w 456"/>
                <a:gd name="T21" fmla="*/ 31 h 43"/>
                <a:gd name="T22" fmla="*/ 107 w 456"/>
                <a:gd name="T23" fmla="*/ 27 h 43"/>
                <a:gd name="T24" fmla="*/ 99 w 456"/>
                <a:gd name="T25" fmla="*/ 23 h 43"/>
                <a:gd name="T26" fmla="*/ 119 w 456"/>
                <a:gd name="T27" fmla="*/ 23 h 43"/>
                <a:gd name="T28" fmla="*/ 125 w 456"/>
                <a:gd name="T29" fmla="*/ 10 h 43"/>
                <a:gd name="T30" fmla="*/ 111 w 456"/>
                <a:gd name="T31" fmla="*/ 11 h 43"/>
                <a:gd name="T32" fmla="*/ 138 w 456"/>
                <a:gd name="T33" fmla="*/ 21 h 43"/>
                <a:gd name="T34" fmla="*/ 153 w 456"/>
                <a:gd name="T35" fmla="*/ 42 h 43"/>
                <a:gd name="T36" fmla="*/ 137 w 456"/>
                <a:gd name="T37" fmla="*/ 14 h 43"/>
                <a:gd name="T38" fmla="*/ 158 w 456"/>
                <a:gd name="T39" fmla="*/ 42 h 43"/>
                <a:gd name="T40" fmla="*/ 173 w 456"/>
                <a:gd name="T41" fmla="*/ 20 h 43"/>
                <a:gd name="T42" fmla="*/ 185 w 456"/>
                <a:gd name="T43" fmla="*/ 16 h 43"/>
                <a:gd name="T44" fmla="*/ 196 w 456"/>
                <a:gd name="T45" fmla="*/ 19 h 43"/>
                <a:gd name="T46" fmla="*/ 174 w 456"/>
                <a:gd name="T47" fmla="*/ 10 h 43"/>
                <a:gd name="T48" fmla="*/ 158 w 456"/>
                <a:gd name="T49" fmla="*/ 11 h 43"/>
                <a:gd name="T50" fmla="*/ 213 w 456"/>
                <a:gd name="T51" fmla="*/ 10 h 43"/>
                <a:gd name="T52" fmla="*/ 216 w 456"/>
                <a:gd name="T53" fmla="*/ 31 h 43"/>
                <a:gd name="T54" fmla="*/ 224 w 456"/>
                <a:gd name="T55" fmla="*/ 27 h 43"/>
                <a:gd name="T56" fmla="*/ 216 w 456"/>
                <a:gd name="T57" fmla="*/ 23 h 43"/>
                <a:gd name="T58" fmla="*/ 236 w 456"/>
                <a:gd name="T59" fmla="*/ 21 h 43"/>
                <a:gd name="T60" fmla="*/ 251 w 456"/>
                <a:gd name="T61" fmla="*/ 42 h 43"/>
                <a:gd name="T62" fmla="*/ 235 w 456"/>
                <a:gd name="T63" fmla="*/ 14 h 43"/>
                <a:gd name="T64" fmla="*/ 258 w 456"/>
                <a:gd name="T65" fmla="*/ 11 h 43"/>
                <a:gd name="T66" fmla="*/ 258 w 456"/>
                <a:gd name="T67" fmla="*/ 34 h 43"/>
                <a:gd name="T68" fmla="*/ 269 w 456"/>
                <a:gd name="T69" fmla="*/ 36 h 43"/>
                <a:gd name="T70" fmla="*/ 271 w 456"/>
                <a:gd name="T71" fmla="*/ 11 h 43"/>
                <a:gd name="T72" fmla="*/ 258 w 456"/>
                <a:gd name="T73" fmla="*/ 11 h 43"/>
                <a:gd name="T74" fmla="*/ 300 w 456"/>
                <a:gd name="T75" fmla="*/ 10 h 43"/>
                <a:gd name="T76" fmla="*/ 304 w 456"/>
                <a:gd name="T77" fmla="*/ 26 h 43"/>
                <a:gd name="T78" fmla="*/ 325 w 456"/>
                <a:gd name="T79" fmla="*/ 42 h 43"/>
                <a:gd name="T80" fmla="*/ 325 w 456"/>
                <a:gd name="T81" fmla="*/ 11 h 43"/>
                <a:gd name="T82" fmla="*/ 330 w 456"/>
                <a:gd name="T83" fmla="*/ 0 h 43"/>
                <a:gd name="T84" fmla="*/ 314 w 456"/>
                <a:gd name="T85" fmla="*/ 11 h 43"/>
                <a:gd name="T86" fmla="*/ 357 w 456"/>
                <a:gd name="T87" fmla="*/ 1 h 43"/>
                <a:gd name="T88" fmla="*/ 357 w 456"/>
                <a:gd name="T89" fmla="*/ 1 h 43"/>
                <a:gd name="T90" fmla="*/ 375 w 456"/>
                <a:gd name="T91" fmla="*/ 16 h 43"/>
                <a:gd name="T92" fmla="*/ 386 w 456"/>
                <a:gd name="T93" fmla="*/ 19 h 43"/>
                <a:gd name="T94" fmla="*/ 370 w 456"/>
                <a:gd name="T95" fmla="*/ 11 h 43"/>
                <a:gd name="T96" fmla="*/ 402 w 456"/>
                <a:gd name="T97" fmla="*/ 16 h 43"/>
                <a:gd name="T98" fmla="*/ 407 w 456"/>
                <a:gd name="T99" fmla="*/ 42 h 43"/>
                <a:gd name="T100" fmla="*/ 407 w 456"/>
                <a:gd name="T101" fmla="*/ 14 h 43"/>
                <a:gd name="T102" fmla="*/ 400 w 456"/>
                <a:gd name="T103" fmla="*/ 42 h 43"/>
                <a:gd name="T104" fmla="*/ 420 w 456"/>
                <a:gd name="T105" fmla="*/ 42 h 43"/>
                <a:gd name="T106" fmla="*/ 420 w 456"/>
                <a:gd name="T107" fmla="*/ 42 h 43"/>
                <a:gd name="T108" fmla="*/ 420 w 456"/>
                <a:gd name="T109" fmla="*/ 0 h 43"/>
                <a:gd name="T110" fmla="*/ 444 w 456"/>
                <a:gd name="T111" fmla="*/ 15 h 43"/>
                <a:gd name="T112" fmla="*/ 432 w 456"/>
                <a:gd name="T113" fmla="*/ 34 h 43"/>
                <a:gd name="T114" fmla="*/ 449 w 456"/>
                <a:gd name="T115" fmla="*/ 42 h 43"/>
                <a:gd name="T116" fmla="*/ 444 w 456"/>
                <a:gd name="T117" fmla="*/ 10 h 43"/>
                <a:gd name="T118" fmla="*/ 448 w 456"/>
                <a:gd name="T119" fmla="*/ 32 h 43"/>
                <a:gd name="T120" fmla="*/ 448 w 456"/>
                <a:gd name="T121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6" h="43">
                  <a:moveTo>
                    <a:pt x="26" y="13"/>
                  </a:moveTo>
                  <a:cubicBezTo>
                    <a:pt x="26" y="5"/>
                    <a:pt x="22" y="0"/>
                    <a:pt x="13" y="0"/>
                  </a:cubicBezTo>
                  <a:cubicBezTo>
                    <a:pt x="3" y="0"/>
                    <a:pt x="0" y="7"/>
                    <a:pt x="0" y="21"/>
                  </a:cubicBezTo>
                  <a:cubicBezTo>
                    <a:pt x="0" y="35"/>
                    <a:pt x="2" y="42"/>
                    <a:pt x="12" y="42"/>
                  </a:cubicBezTo>
                  <a:cubicBezTo>
                    <a:pt x="16" y="42"/>
                    <a:pt x="18" y="41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4"/>
                    <a:pt x="15" y="36"/>
                    <a:pt x="13" y="36"/>
                  </a:cubicBezTo>
                  <a:cubicBezTo>
                    <a:pt x="9" y="36"/>
                    <a:pt x="8" y="30"/>
                    <a:pt x="8" y="20"/>
                  </a:cubicBezTo>
                  <a:cubicBezTo>
                    <a:pt x="8" y="10"/>
                    <a:pt x="9" y="6"/>
                    <a:pt x="13" y="6"/>
                  </a:cubicBezTo>
                  <a:cubicBezTo>
                    <a:pt x="17" y="6"/>
                    <a:pt x="18" y="10"/>
                    <a:pt x="18" y="13"/>
                  </a:cubicBezTo>
                  <a:lnTo>
                    <a:pt x="26" y="13"/>
                  </a:lnTo>
                  <a:close/>
                  <a:moveTo>
                    <a:pt x="31" y="26"/>
                  </a:moveTo>
                  <a:cubicBezTo>
                    <a:pt x="31" y="37"/>
                    <a:pt x="33" y="43"/>
                    <a:pt x="43" y="42"/>
                  </a:cubicBezTo>
                  <a:cubicBezTo>
                    <a:pt x="52" y="42"/>
                    <a:pt x="55" y="37"/>
                    <a:pt x="55" y="26"/>
                  </a:cubicBezTo>
                  <a:cubicBezTo>
                    <a:pt x="55" y="16"/>
                    <a:pt x="52" y="10"/>
                    <a:pt x="43" y="10"/>
                  </a:cubicBezTo>
                  <a:cubicBezTo>
                    <a:pt x="34" y="10"/>
                    <a:pt x="31" y="16"/>
                    <a:pt x="31" y="26"/>
                  </a:cubicBezTo>
                  <a:moveTo>
                    <a:pt x="38" y="26"/>
                  </a:moveTo>
                  <a:cubicBezTo>
                    <a:pt x="38" y="20"/>
                    <a:pt x="39" y="15"/>
                    <a:pt x="43" y="15"/>
                  </a:cubicBezTo>
                  <a:cubicBezTo>
                    <a:pt x="46" y="15"/>
                    <a:pt x="47" y="19"/>
                    <a:pt x="47" y="26"/>
                  </a:cubicBezTo>
                  <a:cubicBezTo>
                    <a:pt x="47" y="34"/>
                    <a:pt x="46" y="37"/>
                    <a:pt x="43" y="37"/>
                  </a:cubicBezTo>
                  <a:cubicBezTo>
                    <a:pt x="39" y="37"/>
                    <a:pt x="38" y="33"/>
                    <a:pt x="38" y="26"/>
                  </a:cubicBezTo>
                  <a:moveTo>
                    <a:pt x="69" y="33"/>
                  </a:moveTo>
                  <a:cubicBezTo>
                    <a:pt x="69" y="33"/>
                    <a:pt x="69" y="33"/>
                    <a:pt x="69" y="33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69" y="33"/>
                  </a:lnTo>
                  <a:close/>
                  <a:moveTo>
                    <a:pt x="107" y="27"/>
                  </a:moveTo>
                  <a:cubicBezTo>
                    <a:pt x="107" y="26"/>
                    <a:pt x="107" y="26"/>
                    <a:pt x="107" y="26"/>
                  </a:cubicBezTo>
                  <a:cubicBezTo>
                    <a:pt x="107" y="16"/>
                    <a:pt x="105" y="10"/>
                    <a:pt x="95" y="10"/>
                  </a:cubicBezTo>
                  <a:cubicBezTo>
                    <a:pt x="85" y="10"/>
                    <a:pt x="83" y="18"/>
                    <a:pt x="83" y="26"/>
                  </a:cubicBezTo>
                  <a:cubicBezTo>
                    <a:pt x="83" y="34"/>
                    <a:pt x="84" y="42"/>
                    <a:pt x="95" y="42"/>
                  </a:cubicBezTo>
                  <a:cubicBezTo>
                    <a:pt x="102" y="42"/>
                    <a:pt x="106" y="38"/>
                    <a:pt x="106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5"/>
                    <a:pt x="98" y="37"/>
                    <a:pt x="95" y="37"/>
                  </a:cubicBezTo>
                  <a:cubicBezTo>
                    <a:pt x="92" y="37"/>
                    <a:pt x="91" y="34"/>
                    <a:pt x="91" y="30"/>
                  </a:cubicBezTo>
                  <a:cubicBezTo>
                    <a:pt x="91" y="27"/>
                    <a:pt x="91" y="27"/>
                    <a:pt x="91" y="27"/>
                  </a:cubicBezTo>
                  <a:lnTo>
                    <a:pt x="107" y="27"/>
                  </a:lnTo>
                  <a:close/>
                  <a:moveTo>
                    <a:pt x="91" y="23"/>
                  </a:moveTo>
                  <a:cubicBezTo>
                    <a:pt x="91" y="22"/>
                    <a:pt x="91" y="22"/>
                    <a:pt x="91" y="22"/>
                  </a:cubicBezTo>
                  <a:cubicBezTo>
                    <a:pt x="91" y="19"/>
                    <a:pt x="92" y="15"/>
                    <a:pt x="95" y="15"/>
                  </a:cubicBezTo>
                  <a:cubicBezTo>
                    <a:pt x="98" y="15"/>
                    <a:pt x="99" y="18"/>
                    <a:pt x="99" y="23"/>
                  </a:cubicBezTo>
                  <a:lnTo>
                    <a:pt x="91" y="23"/>
                  </a:lnTo>
                  <a:close/>
                  <a:moveTo>
                    <a:pt x="111" y="42"/>
                  </a:moveTo>
                  <a:cubicBezTo>
                    <a:pt x="119" y="42"/>
                    <a:pt x="119" y="42"/>
                    <a:pt x="119" y="42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19"/>
                    <a:pt x="122" y="18"/>
                    <a:pt x="124" y="18"/>
                  </a:cubicBezTo>
                  <a:cubicBezTo>
                    <a:pt x="125" y="18"/>
                    <a:pt x="126" y="18"/>
                    <a:pt x="127" y="18"/>
                  </a:cubicBezTo>
                  <a:cubicBezTo>
                    <a:pt x="127" y="10"/>
                    <a:pt x="127" y="10"/>
                    <a:pt x="127" y="10"/>
                  </a:cubicBezTo>
                  <a:cubicBezTo>
                    <a:pt x="126" y="10"/>
                    <a:pt x="126" y="10"/>
                    <a:pt x="125" y="10"/>
                  </a:cubicBezTo>
                  <a:cubicBezTo>
                    <a:pt x="122" y="10"/>
                    <a:pt x="120" y="12"/>
                    <a:pt x="118" y="15"/>
                  </a:cubicBezTo>
                  <a:cubicBezTo>
                    <a:pt x="118" y="15"/>
                    <a:pt x="118" y="15"/>
                    <a:pt x="118" y="15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1" y="11"/>
                    <a:pt x="111" y="11"/>
                    <a:pt x="111" y="11"/>
                  </a:cubicBezTo>
                  <a:lnTo>
                    <a:pt x="111" y="42"/>
                  </a:lnTo>
                  <a:close/>
                  <a:moveTo>
                    <a:pt x="130" y="42"/>
                  </a:moveTo>
                  <a:cubicBezTo>
                    <a:pt x="138" y="42"/>
                    <a:pt x="138" y="42"/>
                    <a:pt x="138" y="42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18"/>
                    <a:pt x="139" y="16"/>
                    <a:pt x="142" y="16"/>
                  </a:cubicBezTo>
                  <a:cubicBezTo>
                    <a:pt x="144" y="16"/>
                    <a:pt x="145" y="17"/>
                    <a:pt x="145" y="20"/>
                  </a:cubicBezTo>
                  <a:cubicBezTo>
                    <a:pt x="145" y="42"/>
                    <a:pt x="145" y="42"/>
                    <a:pt x="145" y="42"/>
                  </a:cubicBezTo>
                  <a:cubicBezTo>
                    <a:pt x="153" y="42"/>
                    <a:pt x="153" y="42"/>
                    <a:pt x="153" y="42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3"/>
                    <a:pt x="150" y="10"/>
                    <a:pt x="145" y="10"/>
                  </a:cubicBezTo>
                  <a:cubicBezTo>
                    <a:pt x="142" y="10"/>
                    <a:pt x="139" y="11"/>
                    <a:pt x="137" y="14"/>
                  </a:cubicBezTo>
                  <a:cubicBezTo>
                    <a:pt x="137" y="14"/>
                    <a:pt x="137" y="14"/>
                    <a:pt x="137" y="14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0" y="11"/>
                    <a:pt x="130" y="11"/>
                    <a:pt x="130" y="11"/>
                  </a:cubicBezTo>
                  <a:lnTo>
                    <a:pt x="130" y="42"/>
                  </a:lnTo>
                  <a:close/>
                  <a:moveTo>
                    <a:pt x="158" y="42"/>
                  </a:moveTo>
                  <a:cubicBezTo>
                    <a:pt x="166" y="42"/>
                    <a:pt x="166" y="42"/>
                    <a:pt x="166" y="42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18"/>
                    <a:pt x="168" y="16"/>
                    <a:pt x="170" y="16"/>
                  </a:cubicBezTo>
                  <a:cubicBezTo>
                    <a:pt x="172" y="16"/>
                    <a:pt x="173" y="18"/>
                    <a:pt x="173" y="20"/>
                  </a:cubicBezTo>
                  <a:cubicBezTo>
                    <a:pt x="173" y="42"/>
                    <a:pt x="173" y="42"/>
                    <a:pt x="173" y="42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18"/>
                    <a:pt x="183" y="16"/>
                    <a:pt x="185" y="16"/>
                  </a:cubicBezTo>
                  <a:cubicBezTo>
                    <a:pt x="188" y="16"/>
                    <a:pt x="188" y="18"/>
                    <a:pt x="188" y="20"/>
                  </a:cubicBezTo>
                  <a:cubicBezTo>
                    <a:pt x="188" y="42"/>
                    <a:pt x="188" y="42"/>
                    <a:pt x="188" y="42"/>
                  </a:cubicBezTo>
                  <a:cubicBezTo>
                    <a:pt x="196" y="42"/>
                    <a:pt x="196" y="42"/>
                    <a:pt x="196" y="42"/>
                  </a:cubicBezTo>
                  <a:cubicBezTo>
                    <a:pt x="196" y="19"/>
                    <a:pt x="196" y="19"/>
                    <a:pt x="196" y="19"/>
                  </a:cubicBezTo>
                  <a:cubicBezTo>
                    <a:pt x="196" y="13"/>
                    <a:pt x="194" y="10"/>
                    <a:pt x="189" y="10"/>
                  </a:cubicBezTo>
                  <a:cubicBezTo>
                    <a:pt x="185" y="10"/>
                    <a:pt x="182" y="12"/>
                    <a:pt x="181" y="15"/>
                  </a:cubicBezTo>
                  <a:cubicBezTo>
                    <a:pt x="181" y="15"/>
                    <a:pt x="181" y="15"/>
                    <a:pt x="181" y="15"/>
                  </a:cubicBezTo>
                  <a:cubicBezTo>
                    <a:pt x="180" y="12"/>
                    <a:pt x="177" y="10"/>
                    <a:pt x="174" y="10"/>
                  </a:cubicBezTo>
                  <a:cubicBezTo>
                    <a:pt x="170" y="10"/>
                    <a:pt x="168" y="11"/>
                    <a:pt x="166" y="14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6" y="11"/>
                    <a:pt x="166" y="11"/>
                    <a:pt x="166" y="11"/>
                  </a:cubicBezTo>
                  <a:cubicBezTo>
                    <a:pt x="158" y="11"/>
                    <a:pt x="158" y="11"/>
                    <a:pt x="158" y="11"/>
                  </a:cubicBezTo>
                  <a:lnTo>
                    <a:pt x="158" y="42"/>
                  </a:lnTo>
                  <a:close/>
                  <a:moveTo>
                    <a:pt x="224" y="27"/>
                  </a:moveTo>
                  <a:cubicBezTo>
                    <a:pt x="224" y="26"/>
                    <a:pt x="224" y="26"/>
                    <a:pt x="224" y="26"/>
                  </a:cubicBezTo>
                  <a:cubicBezTo>
                    <a:pt x="224" y="16"/>
                    <a:pt x="222" y="10"/>
                    <a:pt x="213" y="10"/>
                  </a:cubicBezTo>
                  <a:cubicBezTo>
                    <a:pt x="202" y="10"/>
                    <a:pt x="200" y="18"/>
                    <a:pt x="200" y="26"/>
                  </a:cubicBezTo>
                  <a:cubicBezTo>
                    <a:pt x="200" y="34"/>
                    <a:pt x="201" y="42"/>
                    <a:pt x="212" y="42"/>
                  </a:cubicBezTo>
                  <a:cubicBezTo>
                    <a:pt x="220" y="42"/>
                    <a:pt x="223" y="38"/>
                    <a:pt x="223" y="31"/>
                  </a:cubicBezTo>
                  <a:cubicBezTo>
                    <a:pt x="216" y="31"/>
                    <a:pt x="216" y="31"/>
                    <a:pt x="216" y="31"/>
                  </a:cubicBezTo>
                  <a:cubicBezTo>
                    <a:pt x="216" y="35"/>
                    <a:pt x="215" y="37"/>
                    <a:pt x="212" y="37"/>
                  </a:cubicBezTo>
                  <a:cubicBezTo>
                    <a:pt x="209" y="37"/>
                    <a:pt x="208" y="34"/>
                    <a:pt x="208" y="30"/>
                  </a:cubicBezTo>
                  <a:cubicBezTo>
                    <a:pt x="208" y="27"/>
                    <a:pt x="208" y="27"/>
                    <a:pt x="208" y="27"/>
                  </a:cubicBezTo>
                  <a:lnTo>
                    <a:pt x="224" y="27"/>
                  </a:lnTo>
                  <a:close/>
                  <a:moveTo>
                    <a:pt x="208" y="23"/>
                  </a:moveTo>
                  <a:cubicBezTo>
                    <a:pt x="208" y="22"/>
                    <a:pt x="208" y="22"/>
                    <a:pt x="208" y="22"/>
                  </a:cubicBezTo>
                  <a:cubicBezTo>
                    <a:pt x="208" y="19"/>
                    <a:pt x="209" y="15"/>
                    <a:pt x="212" y="15"/>
                  </a:cubicBezTo>
                  <a:cubicBezTo>
                    <a:pt x="216" y="15"/>
                    <a:pt x="216" y="18"/>
                    <a:pt x="216" y="23"/>
                  </a:cubicBezTo>
                  <a:lnTo>
                    <a:pt x="208" y="23"/>
                  </a:lnTo>
                  <a:close/>
                  <a:moveTo>
                    <a:pt x="228" y="42"/>
                  </a:moveTo>
                  <a:cubicBezTo>
                    <a:pt x="236" y="42"/>
                    <a:pt x="236" y="42"/>
                    <a:pt x="236" y="42"/>
                  </a:cubicBezTo>
                  <a:cubicBezTo>
                    <a:pt x="236" y="21"/>
                    <a:pt x="236" y="21"/>
                    <a:pt x="236" y="21"/>
                  </a:cubicBezTo>
                  <a:cubicBezTo>
                    <a:pt x="236" y="18"/>
                    <a:pt x="237" y="16"/>
                    <a:pt x="240" y="16"/>
                  </a:cubicBezTo>
                  <a:cubicBezTo>
                    <a:pt x="242" y="16"/>
                    <a:pt x="243" y="17"/>
                    <a:pt x="243" y="20"/>
                  </a:cubicBezTo>
                  <a:cubicBezTo>
                    <a:pt x="243" y="42"/>
                    <a:pt x="243" y="42"/>
                    <a:pt x="243" y="4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51" y="19"/>
                    <a:pt x="251" y="19"/>
                    <a:pt x="251" y="19"/>
                  </a:cubicBezTo>
                  <a:cubicBezTo>
                    <a:pt x="251" y="13"/>
                    <a:pt x="248" y="10"/>
                    <a:pt x="243" y="10"/>
                  </a:cubicBezTo>
                  <a:cubicBezTo>
                    <a:pt x="240" y="10"/>
                    <a:pt x="237" y="11"/>
                    <a:pt x="236" y="14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5" y="11"/>
                    <a:pt x="235" y="11"/>
                    <a:pt x="235" y="11"/>
                  </a:cubicBezTo>
                  <a:cubicBezTo>
                    <a:pt x="228" y="11"/>
                    <a:pt x="228" y="11"/>
                    <a:pt x="228" y="11"/>
                  </a:cubicBezTo>
                  <a:lnTo>
                    <a:pt x="228" y="42"/>
                  </a:lnTo>
                  <a:close/>
                  <a:moveTo>
                    <a:pt x="258" y="11"/>
                  </a:moveTo>
                  <a:cubicBezTo>
                    <a:pt x="254" y="11"/>
                    <a:pt x="254" y="11"/>
                    <a:pt x="254" y="11"/>
                  </a:cubicBezTo>
                  <a:cubicBezTo>
                    <a:pt x="254" y="16"/>
                    <a:pt x="254" y="16"/>
                    <a:pt x="254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58" y="34"/>
                    <a:pt x="258" y="34"/>
                    <a:pt x="258" y="34"/>
                  </a:cubicBezTo>
                  <a:cubicBezTo>
                    <a:pt x="258" y="40"/>
                    <a:pt x="259" y="42"/>
                    <a:pt x="266" y="42"/>
                  </a:cubicBezTo>
                  <a:cubicBezTo>
                    <a:pt x="267" y="42"/>
                    <a:pt x="269" y="42"/>
                    <a:pt x="271" y="42"/>
                  </a:cubicBezTo>
                  <a:cubicBezTo>
                    <a:pt x="271" y="36"/>
                    <a:pt x="271" y="36"/>
                    <a:pt x="271" y="36"/>
                  </a:cubicBezTo>
                  <a:cubicBezTo>
                    <a:pt x="270" y="36"/>
                    <a:pt x="270" y="36"/>
                    <a:pt x="269" y="36"/>
                  </a:cubicBezTo>
                  <a:cubicBezTo>
                    <a:pt x="267" y="36"/>
                    <a:pt x="266" y="35"/>
                    <a:pt x="266" y="33"/>
                  </a:cubicBezTo>
                  <a:cubicBezTo>
                    <a:pt x="266" y="16"/>
                    <a:pt x="266" y="16"/>
                    <a:pt x="266" y="16"/>
                  </a:cubicBezTo>
                  <a:cubicBezTo>
                    <a:pt x="271" y="16"/>
                    <a:pt x="271" y="16"/>
                    <a:pt x="271" y="16"/>
                  </a:cubicBezTo>
                  <a:cubicBezTo>
                    <a:pt x="271" y="11"/>
                    <a:pt x="271" y="11"/>
                    <a:pt x="271" y="11"/>
                  </a:cubicBezTo>
                  <a:cubicBezTo>
                    <a:pt x="266" y="11"/>
                    <a:pt x="266" y="11"/>
                    <a:pt x="266" y="11"/>
                  </a:cubicBezTo>
                  <a:cubicBezTo>
                    <a:pt x="266" y="2"/>
                    <a:pt x="266" y="2"/>
                    <a:pt x="266" y="2"/>
                  </a:cubicBezTo>
                  <a:cubicBezTo>
                    <a:pt x="258" y="2"/>
                    <a:pt x="258" y="2"/>
                    <a:pt x="258" y="2"/>
                  </a:cubicBezTo>
                  <a:lnTo>
                    <a:pt x="258" y="11"/>
                  </a:lnTo>
                  <a:close/>
                  <a:moveTo>
                    <a:pt x="287" y="26"/>
                  </a:moveTo>
                  <a:cubicBezTo>
                    <a:pt x="287" y="37"/>
                    <a:pt x="290" y="43"/>
                    <a:pt x="300" y="42"/>
                  </a:cubicBezTo>
                  <a:cubicBezTo>
                    <a:pt x="309" y="42"/>
                    <a:pt x="312" y="37"/>
                    <a:pt x="312" y="26"/>
                  </a:cubicBezTo>
                  <a:cubicBezTo>
                    <a:pt x="312" y="16"/>
                    <a:pt x="309" y="10"/>
                    <a:pt x="300" y="10"/>
                  </a:cubicBezTo>
                  <a:cubicBezTo>
                    <a:pt x="291" y="10"/>
                    <a:pt x="287" y="16"/>
                    <a:pt x="287" y="26"/>
                  </a:cubicBezTo>
                  <a:moveTo>
                    <a:pt x="295" y="26"/>
                  </a:moveTo>
                  <a:cubicBezTo>
                    <a:pt x="295" y="20"/>
                    <a:pt x="296" y="15"/>
                    <a:pt x="300" y="15"/>
                  </a:cubicBezTo>
                  <a:cubicBezTo>
                    <a:pt x="303" y="15"/>
                    <a:pt x="304" y="19"/>
                    <a:pt x="304" y="26"/>
                  </a:cubicBezTo>
                  <a:cubicBezTo>
                    <a:pt x="304" y="34"/>
                    <a:pt x="303" y="37"/>
                    <a:pt x="300" y="37"/>
                  </a:cubicBezTo>
                  <a:cubicBezTo>
                    <a:pt x="296" y="37"/>
                    <a:pt x="295" y="33"/>
                    <a:pt x="295" y="26"/>
                  </a:cubicBezTo>
                  <a:moveTo>
                    <a:pt x="318" y="42"/>
                  </a:moveTo>
                  <a:cubicBezTo>
                    <a:pt x="325" y="42"/>
                    <a:pt x="325" y="42"/>
                    <a:pt x="325" y="42"/>
                  </a:cubicBezTo>
                  <a:cubicBezTo>
                    <a:pt x="325" y="16"/>
                    <a:pt x="325" y="16"/>
                    <a:pt x="325" y="16"/>
                  </a:cubicBezTo>
                  <a:cubicBezTo>
                    <a:pt x="330" y="16"/>
                    <a:pt x="330" y="16"/>
                    <a:pt x="330" y="16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8"/>
                    <a:pt x="325" y="8"/>
                    <a:pt x="325" y="8"/>
                  </a:cubicBezTo>
                  <a:cubicBezTo>
                    <a:pt x="325" y="6"/>
                    <a:pt x="326" y="6"/>
                    <a:pt x="328" y="6"/>
                  </a:cubicBezTo>
                  <a:cubicBezTo>
                    <a:pt x="329" y="6"/>
                    <a:pt x="330" y="6"/>
                    <a:pt x="330" y="6"/>
                  </a:cubicBezTo>
                  <a:cubicBezTo>
                    <a:pt x="330" y="0"/>
                    <a:pt x="330" y="0"/>
                    <a:pt x="330" y="0"/>
                  </a:cubicBezTo>
                  <a:cubicBezTo>
                    <a:pt x="329" y="0"/>
                    <a:pt x="327" y="0"/>
                    <a:pt x="326" y="0"/>
                  </a:cubicBezTo>
                  <a:cubicBezTo>
                    <a:pt x="321" y="0"/>
                    <a:pt x="318" y="2"/>
                    <a:pt x="318" y="7"/>
                  </a:cubicBezTo>
                  <a:cubicBezTo>
                    <a:pt x="318" y="11"/>
                    <a:pt x="318" y="11"/>
                    <a:pt x="318" y="11"/>
                  </a:cubicBezTo>
                  <a:cubicBezTo>
                    <a:pt x="314" y="11"/>
                    <a:pt x="314" y="11"/>
                    <a:pt x="314" y="11"/>
                  </a:cubicBezTo>
                  <a:cubicBezTo>
                    <a:pt x="314" y="16"/>
                    <a:pt x="314" y="16"/>
                    <a:pt x="314" y="16"/>
                  </a:cubicBezTo>
                  <a:cubicBezTo>
                    <a:pt x="318" y="16"/>
                    <a:pt x="318" y="16"/>
                    <a:pt x="318" y="16"/>
                  </a:cubicBezTo>
                  <a:lnTo>
                    <a:pt x="318" y="42"/>
                  </a:lnTo>
                  <a:close/>
                  <a:moveTo>
                    <a:pt x="357" y="1"/>
                  </a:moveTo>
                  <a:cubicBezTo>
                    <a:pt x="348" y="1"/>
                    <a:pt x="348" y="1"/>
                    <a:pt x="348" y="1"/>
                  </a:cubicBezTo>
                  <a:cubicBezTo>
                    <a:pt x="348" y="42"/>
                    <a:pt x="348" y="42"/>
                    <a:pt x="348" y="42"/>
                  </a:cubicBezTo>
                  <a:cubicBezTo>
                    <a:pt x="357" y="42"/>
                    <a:pt x="357" y="42"/>
                    <a:pt x="357" y="42"/>
                  </a:cubicBezTo>
                  <a:lnTo>
                    <a:pt x="357" y="1"/>
                  </a:lnTo>
                  <a:close/>
                  <a:moveTo>
                    <a:pt x="363" y="42"/>
                  </a:moveTo>
                  <a:cubicBezTo>
                    <a:pt x="370" y="42"/>
                    <a:pt x="370" y="42"/>
                    <a:pt x="370" y="42"/>
                  </a:cubicBezTo>
                  <a:cubicBezTo>
                    <a:pt x="370" y="21"/>
                    <a:pt x="370" y="21"/>
                    <a:pt x="370" y="21"/>
                  </a:cubicBezTo>
                  <a:cubicBezTo>
                    <a:pt x="370" y="18"/>
                    <a:pt x="372" y="16"/>
                    <a:pt x="375" y="16"/>
                  </a:cubicBezTo>
                  <a:cubicBezTo>
                    <a:pt x="377" y="16"/>
                    <a:pt x="378" y="17"/>
                    <a:pt x="378" y="20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86" y="42"/>
                    <a:pt x="386" y="42"/>
                    <a:pt x="386" y="42"/>
                  </a:cubicBezTo>
                  <a:cubicBezTo>
                    <a:pt x="386" y="19"/>
                    <a:pt x="386" y="19"/>
                    <a:pt x="386" y="19"/>
                  </a:cubicBezTo>
                  <a:cubicBezTo>
                    <a:pt x="386" y="13"/>
                    <a:pt x="383" y="10"/>
                    <a:pt x="378" y="10"/>
                  </a:cubicBezTo>
                  <a:cubicBezTo>
                    <a:pt x="375" y="10"/>
                    <a:pt x="372" y="11"/>
                    <a:pt x="370" y="14"/>
                  </a:cubicBezTo>
                  <a:cubicBezTo>
                    <a:pt x="370" y="14"/>
                    <a:pt x="370" y="14"/>
                    <a:pt x="370" y="14"/>
                  </a:cubicBezTo>
                  <a:cubicBezTo>
                    <a:pt x="370" y="11"/>
                    <a:pt x="370" y="11"/>
                    <a:pt x="370" y="11"/>
                  </a:cubicBezTo>
                  <a:cubicBezTo>
                    <a:pt x="363" y="11"/>
                    <a:pt x="363" y="11"/>
                    <a:pt x="363" y="11"/>
                  </a:cubicBezTo>
                  <a:lnTo>
                    <a:pt x="363" y="42"/>
                  </a:lnTo>
                  <a:close/>
                  <a:moveTo>
                    <a:pt x="398" y="26"/>
                  </a:moveTo>
                  <a:cubicBezTo>
                    <a:pt x="398" y="20"/>
                    <a:pt x="399" y="16"/>
                    <a:pt x="402" y="16"/>
                  </a:cubicBezTo>
                  <a:cubicBezTo>
                    <a:pt x="406" y="16"/>
                    <a:pt x="407" y="20"/>
                    <a:pt x="407" y="26"/>
                  </a:cubicBezTo>
                  <a:cubicBezTo>
                    <a:pt x="407" y="33"/>
                    <a:pt x="406" y="36"/>
                    <a:pt x="402" y="36"/>
                  </a:cubicBezTo>
                  <a:cubicBezTo>
                    <a:pt x="399" y="36"/>
                    <a:pt x="398" y="33"/>
                    <a:pt x="398" y="26"/>
                  </a:cubicBezTo>
                  <a:moveTo>
                    <a:pt x="407" y="42"/>
                  </a:moveTo>
                  <a:cubicBezTo>
                    <a:pt x="414" y="42"/>
                    <a:pt x="414" y="42"/>
                    <a:pt x="414" y="42"/>
                  </a:cubicBezTo>
                  <a:cubicBezTo>
                    <a:pt x="414" y="1"/>
                    <a:pt x="414" y="1"/>
                    <a:pt x="414" y="1"/>
                  </a:cubicBezTo>
                  <a:cubicBezTo>
                    <a:pt x="407" y="1"/>
                    <a:pt x="407" y="1"/>
                    <a:pt x="407" y="1"/>
                  </a:cubicBezTo>
                  <a:cubicBezTo>
                    <a:pt x="407" y="14"/>
                    <a:pt x="407" y="14"/>
                    <a:pt x="407" y="14"/>
                  </a:cubicBezTo>
                  <a:cubicBezTo>
                    <a:pt x="406" y="14"/>
                    <a:pt x="406" y="14"/>
                    <a:pt x="406" y="14"/>
                  </a:cubicBezTo>
                  <a:cubicBezTo>
                    <a:pt x="405" y="11"/>
                    <a:pt x="403" y="10"/>
                    <a:pt x="400" y="10"/>
                  </a:cubicBezTo>
                  <a:cubicBezTo>
                    <a:pt x="393" y="10"/>
                    <a:pt x="390" y="15"/>
                    <a:pt x="390" y="26"/>
                  </a:cubicBezTo>
                  <a:cubicBezTo>
                    <a:pt x="390" y="38"/>
                    <a:pt x="393" y="42"/>
                    <a:pt x="400" y="42"/>
                  </a:cubicBezTo>
                  <a:cubicBezTo>
                    <a:pt x="403" y="42"/>
                    <a:pt x="405" y="41"/>
                    <a:pt x="407" y="38"/>
                  </a:cubicBezTo>
                  <a:cubicBezTo>
                    <a:pt x="407" y="38"/>
                    <a:pt x="407" y="38"/>
                    <a:pt x="407" y="38"/>
                  </a:cubicBezTo>
                  <a:lnTo>
                    <a:pt x="407" y="42"/>
                  </a:lnTo>
                  <a:close/>
                  <a:moveTo>
                    <a:pt x="420" y="42"/>
                  </a:moveTo>
                  <a:cubicBezTo>
                    <a:pt x="428" y="42"/>
                    <a:pt x="428" y="42"/>
                    <a:pt x="428" y="42"/>
                  </a:cubicBezTo>
                  <a:cubicBezTo>
                    <a:pt x="428" y="11"/>
                    <a:pt x="428" y="11"/>
                    <a:pt x="428" y="11"/>
                  </a:cubicBezTo>
                  <a:cubicBezTo>
                    <a:pt x="420" y="11"/>
                    <a:pt x="420" y="11"/>
                    <a:pt x="420" y="11"/>
                  </a:cubicBezTo>
                  <a:lnTo>
                    <a:pt x="420" y="42"/>
                  </a:lnTo>
                  <a:close/>
                  <a:moveTo>
                    <a:pt x="420" y="7"/>
                  </a:moveTo>
                  <a:cubicBezTo>
                    <a:pt x="428" y="7"/>
                    <a:pt x="428" y="7"/>
                    <a:pt x="428" y="7"/>
                  </a:cubicBezTo>
                  <a:cubicBezTo>
                    <a:pt x="428" y="0"/>
                    <a:pt x="428" y="0"/>
                    <a:pt x="428" y="0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420" y="7"/>
                  </a:lnTo>
                  <a:close/>
                  <a:moveTo>
                    <a:pt x="440" y="20"/>
                  </a:moveTo>
                  <a:cubicBezTo>
                    <a:pt x="440" y="19"/>
                    <a:pt x="440" y="19"/>
                    <a:pt x="440" y="19"/>
                  </a:cubicBezTo>
                  <a:cubicBezTo>
                    <a:pt x="440" y="17"/>
                    <a:pt x="442" y="15"/>
                    <a:pt x="444" y="15"/>
                  </a:cubicBezTo>
                  <a:cubicBezTo>
                    <a:pt x="447" y="15"/>
                    <a:pt x="448" y="17"/>
                    <a:pt x="448" y="19"/>
                  </a:cubicBezTo>
                  <a:cubicBezTo>
                    <a:pt x="448" y="21"/>
                    <a:pt x="447" y="22"/>
                    <a:pt x="445" y="23"/>
                  </a:cubicBezTo>
                  <a:cubicBezTo>
                    <a:pt x="440" y="24"/>
                    <a:pt x="440" y="24"/>
                    <a:pt x="440" y="24"/>
                  </a:cubicBezTo>
                  <a:cubicBezTo>
                    <a:pt x="435" y="25"/>
                    <a:pt x="432" y="28"/>
                    <a:pt x="432" y="34"/>
                  </a:cubicBezTo>
                  <a:cubicBezTo>
                    <a:pt x="432" y="38"/>
                    <a:pt x="434" y="42"/>
                    <a:pt x="440" y="42"/>
                  </a:cubicBezTo>
                  <a:cubicBezTo>
                    <a:pt x="444" y="42"/>
                    <a:pt x="446" y="42"/>
                    <a:pt x="448" y="38"/>
                  </a:cubicBezTo>
                  <a:cubicBezTo>
                    <a:pt x="448" y="38"/>
                    <a:pt x="448" y="38"/>
                    <a:pt x="448" y="38"/>
                  </a:cubicBezTo>
                  <a:cubicBezTo>
                    <a:pt x="448" y="39"/>
                    <a:pt x="448" y="41"/>
                    <a:pt x="449" y="42"/>
                  </a:cubicBezTo>
                  <a:cubicBezTo>
                    <a:pt x="456" y="42"/>
                    <a:pt x="456" y="42"/>
                    <a:pt x="456" y="42"/>
                  </a:cubicBezTo>
                  <a:cubicBezTo>
                    <a:pt x="455" y="40"/>
                    <a:pt x="455" y="39"/>
                    <a:pt x="455" y="36"/>
                  </a:cubicBezTo>
                  <a:cubicBezTo>
                    <a:pt x="455" y="19"/>
                    <a:pt x="455" y="19"/>
                    <a:pt x="455" y="19"/>
                  </a:cubicBezTo>
                  <a:cubicBezTo>
                    <a:pt x="455" y="14"/>
                    <a:pt x="453" y="10"/>
                    <a:pt x="444" y="10"/>
                  </a:cubicBezTo>
                  <a:cubicBezTo>
                    <a:pt x="438" y="10"/>
                    <a:pt x="433" y="13"/>
                    <a:pt x="433" y="20"/>
                  </a:cubicBezTo>
                  <a:cubicBezTo>
                    <a:pt x="433" y="20"/>
                    <a:pt x="433" y="20"/>
                    <a:pt x="433" y="20"/>
                  </a:cubicBezTo>
                  <a:lnTo>
                    <a:pt x="440" y="20"/>
                  </a:lnTo>
                  <a:close/>
                  <a:moveTo>
                    <a:pt x="448" y="32"/>
                  </a:moveTo>
                  <a:cubicBezTo>
                    <a:pt x="448" y="36"/>
                    <a:pt x="445" y="37"/>
                    <a:pt x="443" y="37"/>
                  </a:cubicBezTo>
                  <a:cubicBezTo>
                    <a:pt x="441" y="37"/>
                    <a:pt x="440" y="35"/>
                    <a:pt x="440" y="33"/>
                  </a:cubicBezTo>
                  <a:cubicBezTo>
                    <a:pt x="440" y="30"/>
                    <a:pt x="441" y="28"/>
                    <a:pt x="444" y="28"/>
                  </a:cubicBezTo>
                  <a:cubicBezTo>
                    <a:pt x="445" y="28"/>
                    <a:pt x="447" y="27"/>
                    <a:pt x="448" y="26"/>
                  </a:cubicBezTo>
                  <a:lnTo>
                    <a:pt x="44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8" name="Freeform 42"/>
            <p:cNvSpPr>
              <a:spLocks noEditPoints="1"/>
            </p:cNvSpPr>
            <p:nvPr/>
          </p:nvSpPr>
          <p:spPr bwMode="auto">
            <a:xfrm>
              <a:off x="3928" y="2358"/>
              <a:ext cx="1175" cy="126"/>
            </a:xfrm>
            <a:custGeom>
              <a:avLst/>
              <a:gdLst>
                <a:gd name="T0" fmla="*/ 19 w 496"/>
                <a:gd name="T1" fmla="*/ 24 h 53"/>
                <a:gd name="T2" fmla="*/ 9 w 496"/>
                <a:gd name="T3" fmla="*/ 53 h 53"/>
                <a:gd name="T4" fmla="*/ 30 w 496"/>
                <a:gd name="T5" fmla="*/ 52 h 53"/>
                <a:gd name="T6" fmla="*/ 1 w 496"/>
                <a:gd name="T7" fmla="*/ 25 h 53"/>
                <a:gd name="T8" fmla="*/ 13 w 496"/>
                <a:gd name="T9" fmla="*/ 47 h 53"/>
                <a:gd name="T10" fmla="*/ 19 w 496"/>
                <a:gd name="T11" fmla="*/ 41 h 53"/>
                <a:gd name="T12" fmla="*/ 51 w 496"/>
                <a:gd name="T13" fmla="*/ 20 h 53"/>
                <a:gd name="T14" fmla="*/ 65 w 496"/>
                <a:gd name="T15" fmla="*/ 24 h 53"/>
                <a:gd name="T16" fmla="*/ 45 w 496"/>
                <a:gd name="T17" fmla="*/ 14 h 53"/>
                <a:gd name="T18" fmla="*/ 85 w 496"/>
                <a:gd name="T19" fmla="*/ 20 h 53"/>
                <a:gd name="T20" fmla="*/ 91 w 496"/>
                <a:gd name="T21" fmla="*/ 52 h 53"/>
                <a:gd name="T22" fmla="*/ 90 w 496"/>
                <a:gd name="T23" fmla="*/ 17 h 53"/>
                <a:gd name="T24" fmla="*/ 82 w 496"/>
                <a:gd name="T25" fmla="*/ 53 h 53"/>
                <a:gd name="T26" fmla="*/ 125 w 496"/>
                <a:gd name="T27" fmla="*/ 1 h 53"/>
                <a:gd name="T28" fmla="*/ 158 w 496"/>
                <a:gd name="T29" fmla="*/ 1 h 53"/>
                <a:gd name="T30" fmla="*/ 136 w 496"/>
                <a:gd name="T31" fmla="*/ 37 h 53"/>
                <a:gd name="T32" fmla="*/ 174 w 496"/>
                <a:gd name="T33" fmla="*/ 52 h 53"/>
                <a:gd name="T34" fmla="*/ 184 w 496"/>
                <a:gd name="T35" fmla="*/ 13 h 53"/>
                <a:gd name="T36" fmla="*/ 173 w 496"/>
                <a:gd name="T37" fmla="*/ 14 h 53"/>
                <a:gd name="T38" fmla="*/ 203 w 496"/>
                <a:gd name="T39" fmla="*/ 20 h 53"/>
                <a:gd name="T40" fmla="*/ 188 w 496"/>
                <a:gd name="T41" fmla="*/ 52 h 53"/>
                <a:gd name="T42" fmla="*/ 206 w 496"/>
                <a:gd name="T43" fmla="*/ 53 h 53"/>
                <a:gd name="T44" fmla="*/ 198 w 496"/>
                <a:gd name="T45" fmla="*/ 17 h 53"/>
                <a:gd name="T46" fmla="*/ 232 w 496"/>
                <a:gd name="T47" fmla="*/ 26 h 53"/>
                <a:gd name="T48" fmla="*/ 237 w 496"/>
                <a:gd name="T49" fmla="*/ 29 h 53"/>
                <a:gd name="T50" fmla="*/ 241 w 496"/>
                <a:gd name="T51" fmla="*/ 48 h 53"/>
                <a:gd name="T52" fmla="*/ 251 w 496"/>
                <a:gd name="T53" fmla="*/ 45 h 53"/>
                <a:gd name="T54" fmla="*/ 223 w 496"/>
                <a:gd name="T55" fmla="*/ 26 h 53"/>
                <a:gd name="T56" fmla="*/ 232 w 496"/>
                <a:gd name="T57" fmla="*/ 41 h 53"/>
                <a:gd name="T58" fmla="*/ 258 w 496"/>
                <a:gd name="T59" fmla="*/ 52 h 53"/>
                <a:gd name="T60" fmla="*/ 277 w 496"/>
                <a:gd name="T61" fmla="*/ 26 h 53"/>
                <a:gd name="T62" fmla="*/ 277 w 496"/>
                <a:gd name="T63" fmla="*/ 13 h 53"/>
                <a:gd name="T64" fmla="*/ 258 w 496"/>
                <a:gd name="T65" fmla="*/ 14 h 53"/>
                <a:gd name="T66" fmla="*/ 322 w 496"/>
                <a:gd name="T67" fmla="*/ 42 h 53"/>
                <a:gd name="T68" fmla="*/ 335 w 496"/>
                <a:gd name="T69" fmla="*/ 1 h 53"/>
                <a:gd name="T70" fmla="*/ 329 w 496"/>
                <a:gd name="T71" fmla="*/ 10 h 53"/>
                <a:gd name="T72" fmla="*/ 354 w 496"/>
                <a:gd name="T73" fmla="*/ 52 h 53"/>
                <a:gd name="T74" fmla="*/ 370 w 496"/>
                <a:gd name="T75" fmla="*/ 14 h 53"/>
                <a:gd name="T76" fmla="*/ 370 w 496"/>
                <a:gd name="T77" fmla="*/ 8 h 53"/>
                <a:gd name="T78" fmla="*/ 354 w 496"/>
                <a:gd name="T79" fmla="*/ 14 h 53"/>
                <a:gd name="T80" fmla="*/ 354 w 496"/>
                <a:gd name="T81" fmla="*/ 52 h 53"/>
                <a:gd name="T82" fmla="*/ 391 w 496"/>
                <a:gd name="T83" fmla="*/ 21 h 53"/>
                <a:gd name="T84" fmla="*/ 389 w 496"/>
                <a:gd name="T85" fmla="*/ 8 h 53"/>
                <a:gd name="T86" fmla="*/ 375 w 496"/>
                <a:gd name="T87" fmla="*/ 10 h 53"/>
                <a:gd name="T88" fmla="*/ 375 w 496"/>
                <a:gd name="T89" fmla="*/ 21 h 53"/>
                <a:gd name="T90" fmla="*/ 408 w 496"/>
                <a:gd name="T91" fmla="*/ 20 h 53"/>
                <a:gd name="T92" fmla="*/ 393 w 496"/>
                <a:gd name="T93" fmla="*/ 42 h 53"/>
                <a:gd name="T94" fmla="*/ 413 w 496"/>
                <a:gd name="T95" fmla="*/ 52 h 53"/>
                <a:gd name="T96" fmla="*/ 408 w 496"/>
                <a:gd name="T97" fmla="*/ 13 h 53"/>
                <a:gd name="T98" fmla="*/ 412 w 496"/>
                <a:gd name="T99" fmla="*/ 41 h 53"/>
                <a:gd name="T100" fmla="*/ 412 w 496"/>
                <a:gd name="T101" fmla="*/ 33 h 53"/>
                <a:gd name="T102" fmla="*/ 439 w 496"/>
                <a:gd name="T103" fmla="*/ 14 h 53"/>
                <a:gd name="T104" fmla="*/ 439 w 496"/>
                <a:gd name="T105" fmla="*/ 9 h 53"/>
                <a:gd name="T106" fmla="*/ 446 w 496"/>
                <a:gd name="T107" fmla="*/ 52 h 53"/>
                <a:gd name="T108" fmla="*/ 466 w 496"/>
                <a:gd name="T109" fmla="*/ 22 h 53"/>
                <a:gd name="T110" fmla="*/ 455 w 496"/>
                <a:gd name="T111" fmla="*/ 19 h 53"/>
                <a:gd name="T112" fmla="*/ 468 w 496"/>
                <a:gd name="T113" fmla="*/ 40 h 53"/>
                <a:gd name="T114" fmla="*/ 488 w 496"/>
                <a:gd name="T115" fmla="*/ 30 h 53"/>
                <a:gd name="T116" fmla="*/ 486 w 496"/>
                <a:gd name="T117" fmla="*/ 25 h 53"/>
                <a:gd name="T118" fmla="*/ 468 w 496"/>
                <a:gd name="T119" fmla="*/ 24 h 53"/>
                <a:gd name="T120" fmla="*/ 482 w 496"/>
                <a:gd name="T121" fmla="*/ 4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6" h="53">
                  <a:moveTo>
                    <a:pt x="10" y="26"/>
                  </a:moveTo>
                  <a:cubicBezTo>
                    <a:pt x="10" y="25"/>
                    <a:pt x="10" y="25"/>
                    <a:pt x="10" y="25"/>
                  </a:cubicBezTo>
                  <a:cubicBezTo>
                    <a:pt x="10" y="22"/>
                    <a:pt x="11" y="20"/>
                    <a:pt x="14" y="20"/>
                  </a:cubicBezTo>
                  <a:cubicBezTo>
                    <a:pt x="18" y="20"/>
                    <a:pt x="19" y="21"/>
                    <a:pt x="19" y="24"/>
                  </a:cubicBezTo>
                  <a:cubicBezTo>
                    <a:pt x="19" y="27"/>
                    <a:pt x="18" y="28"/>
                    <a:pt x="15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3" y="32"/>
                    <a:pt x="0" y="35"/>
                    <a:pt x="0" y="42"/>
                  </a:cubicBezTo>
                  <a:cubicBezTo>
                    <a:pt x="0" y="47"/>
                    <a:pt x="2" y="53"/>
                    <a:pt x="9" y="53"/>
                  </a:cubicBezTo>
                  <a:cubicBezTo>
                    <a:pt x="14" y="53"/>
                    <a:pt x="17" y="52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50"/>
                    <a:pt x="20" y="51"/>
                    <a:pt x="2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9" y="50"/>
                    <a:pt x="28" y="48"/>
                    <a:pt x="28" y="4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18"/>
                    <a:pt x="26" y="13"/>
                    <a:pt x="15" y="13"/>
                  </a:cubicBezTo>
                  <a:cubicBezTo>
                    <a:pt x="7" y="13"/>
                    <a:pt x="1" y="16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lnTo>
                    <a:pt x="10" y="26"/>
                  </a:lnTo>
                  <a:close/>
                  <a:moveTo>
                    <a:pt x="19" y="41"/>
                  </a:moveTo>
                  <a:cubicBezTo>
                    <a:pt x="19" y="45"/>
                    <a:pt x="16" y="47"/>
                    <a:pt x="13" y="47"/>
                  </a:cubicBezTo>
                  <a:cubicBezTo>
                    <a:pt x="10" y="47"/>
                    <a:pt x="9" y="44"/>
                    <a:pt x="9" y="41"/>
                  </a:cubicBezTo>
                  <a:cubicBezTo>
                    <a:pt x="9" y="38"/>
                    <a:pt x="11" y="36"/>
                    <a:pt x="15" y="35"/>
                  </a:cubicBezTo>
                  <a:cubicBezTo>
                    <a:pt x="16" y="35"/>
                    <a:pt x="18" y="34"/>
                    <a:pt x="19" y="33"/>
                  </a:cubicBezTo>
                  <a:lnTo>
                    <a:pt x="19" y="41"/>
                  </a:lnTo>
                  <a:close/>
                  <a:moveTo>
                    <a:pt x="35" y="52"/>
                  </a:moveTo>
                  <a:cubicBezTo>
                    <a:pt x="45" y="52"/>
                    <a:pt x="45" y="52"/>
                    <a:pt x="45" y="52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3"/>
                    <a:pt x="47" y="20"/>
                    <a:pt x="51" y="20"/>
                  </a:cubicBezTo>
                  <a:cubicBezTo>
                    <a:pt x="53" y="20"/>
                    <a:pt x="55" y="22"/>
                    <a:pt x="55" y="26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16"/>
                    <a:pt x="61" y="13"/>
                    <a:pt x="55" y="13"/>
                  </a:cubicBezTo>
                  <a:cubicBezTo>
                    <a:pt x="51" y="13"/>
                    <a:pt x="47" y="15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35" y="14"/>
                    <a:pt x="35" y="14"/>
                    <a:pt x="35" y="14"/>
                  </a:cubicBezTo>
                  <a:lnTo>
                    <a:pt x="35" y="52"/>
                  </a:lnTo>
                  <a:close/>
                  <a:moveTo>
                    <a:pt x="80" y="33"/>
                  </a:moveTo>
                  <a:cubicBezTo>
                    <a:pt x="80" y="25"/>
                    <a:pt x="81" y="20"/>
                    <a:pt x="85" y="20"/>
                  </a:cubicBezTo>
                  <a:cubicBezTo>
                    <a:pt x="90" y="20"/>
                    <a:pt x="90" y="25"/>
                    <a:pt x="90" y="33"/>
                  </a:cubicBezTo>
                  <a:cubicBezTo>
                    <a:pt x="90" y="41"/>
                    <a:pt x="90" y="46"/>
                    <a:pt x="85" y="46"/>
                  </a:cubicBezTo>
                  <a:cubicBezTo>
                    <a:pt x="81" y="46"/>
                    <a:pt x="80" y="41"/>
                    <a:pt x="80" y="33"/>
                  </a:cubicBezTo>
                  <a:moveTo>
                    <a:pt x="91" y="52"/>
                  </a:moveTo>
                  <a:cubicBezTo>
                    <a:pt x="100" y="52"/>
                    <a:pt x="100" y="52"/>
                    <a:pt x="100" y="52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88" y="14"/>
                    <a:pt x="86" y="13"/>
                    <a:pt x="82" y="13"/>
                  </a:cubicBezTo>
                  <a:cubicBezTo>
                    <a:pt x="74" y="13"/>
                    <a:pt x="70" y="19"/>
                    <a:pt x="70" y="33"/>
                  </a:cubicBezTo>
                  <a:cubicBezTo>
                    <a:pt x="70" y="47"/>
                    <a:pt x="74" y="53"/>
                    <a:pt x="82" y="53"/>
                  </a:cubicBezTo>
                  <a:cubicBezTo>
                    <a:pt x="86" y="53"/>
                    <a:pt x="89" y="52"/>
                    <a:pt x="91" y="48"/>
                  </a:cubicBezTo>
                  <a:cubicBezTo>
                    <a:pt x="91" y="48"/>
                    <a:pt x="91" y="48"/>
                    <a:pt x="91" y="48"/>
                  </a:cubicBezTo>
                  <a:lnTo>
                    <a:pt x="91" y="52"/>
                  </a:lnTo>
                  <a:close/>
                  <a:moveTo>
                    <a:pt x="125" y="1"/>
                  </a:moveTo>
                  <a:cubicBezTo>
                    <a:pt x="125" y="37"/>
                    <a:pt x="125" y="37"/>
                    <a:pt x="125" y="37"/>
                  </a:cubicBezTo>
                  <a:cubicBezTo>
                    <a:pt x="125" y="51"/>
                    <a:pt x="133" y="53"/>
                    <a:pt x="142" y="53"/>
                  </a:cubicBezTo>
                  <a:cubicBezTo>
                    <a:pt x="150" y="53"/>
                    <a:pt x="158" y="50"/>
                    <a:pt x="158" y="37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48" y="42"/>
                    <a:pt x="146" y="46"/>
                    <a:pt x="142" y="46"/>
                  </a:cubicBezTo>
                  <a:cubicBezTo>
                    <a:pt x="137" y="46"/>
                    <a:pt x="136" y="42"/>
                    <a:pt x="136" y="37"/>
                  </a:cubicBezTo>
                  <a:cubicBezTo>
                    <a:pt x="136" y="1"/>
                    <a:pt x="136" y="1"/>
                    <a:pt x="136" y="1"/>
                  </a:cubicBezTo>
                  <a:lnTo>
                    <a:pt x="125" y="1"/>
                  </a:lnTo>
                  <a:close/>
                  <a:moveTo>
                    <a:pt x="164" y="52"/>
                  </a:moveTo>
                  <a:cubicBezTo>
                    <a:pt x="174" y="52"/>
                    <a:pt x="174" y="52"/>
                    <a:pt x="174" y="52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4" y="24"/>
                    <a:pt x="178" y="22"/>
                    <a:pt x="181" y="22"/>
                  </a:cubicBezTo>
                  <a:cubicBezTo>
                    <a:pt x="182" y="22"/>
                    <a:pt x="183" y="22"/>
                    <a:pt x="184" y="22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84" y="13"/>
                    <a:pt x="183" y="13"/>
                    <a:pt x="182" y="13"/>
                  </a:cubicBezTo>
                  <a:cubicBezTo>
                    <a:pt x="178" y="13"/>
                    <a:pt x="176" y="15"/>
                    <a:pt x="174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3" y="14"/>
                    <a:pt x="173" y="14"/>
                    <a:pt x="173" y="14"/>
                  </a:cubicBezTo>
                  <a:cubicBezTo>
                    <a:pt x="164" y="14"/>
                    <a:pt x="164" y="14"/>
                    <a:pt x="164" y="14"/>
                  </a:cubicBezTo>
                  <a:lnTo>
                    <a:pt x="164" y="52"/>
                  </a:lnTo>
                  <a:close/>
                  <a:moveTo>
                    <a:pt x="198" y="33"/>
                  </a:moveTo>
                  <a:cubicBezTo>
                    <a:pt x="198" y="25"/>
                    <a:pt x="199" y="20"/>
                    <a:pt x="203" y="20"/>
                  </a:cubicBezTo>
                  <a:cubicBezTo>
                    <a:pt x="207" y="20"/>
                    <a:pt x="208" y="25"/>
                    <a:pt x="208" y="33"/>
                  </a:cubicBezTo>
                  <a:cubicBezTo>
                    <a:pt x="208" y="41"/>
                    <a:pt x="207" y="46"/>
                    <a:pt x="203" y="46"/>
                  </a:cubicBezTo>
                  <a:cubicBezTo>
                    <a:pt x="199" y="46"/>
                    <a:pt x="198" y="41"/>
                    <a:pt x="198" y="33"/>
                  </a:cubicBezTo>
                  <a:moveTo>
                    <a:pt x="188" y="52"/>
                  </a:moveTo>
                  <a:cubicBezTo>
                    <a:pt x="197" y="52"/>
                    <a:pt x="197" y="52"/>
                    <a:pt x="197" y="52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200" y="52"/>
                    <a:pt x="202" y="53"/>
                    <a:pt x="206" y="53"/>
                  </a:cubicBezTo>
                  <a:cubicBezTo>
                    <a:pt x="214" y="53"/>
                    <a:pt x="218" y="47"/>
                    <a:pt x="218" y="33"/>
                  </a:cubicBezTo>
                  <a:cubicBezTo>
                    <a:pt x="218" y="19"/>
                    <a:pt x="214" y="13"/>
                    <a:pt x="206" y="13"/>
                  </a:cubicBezTo>
                  <a:cubicBezTo>
                    <a:pt x="202" y="13"/>
                    <a:pt x="200" y="14"/>
                    <a:pt x="198" y="17"/>
                  </a:cubicBezTo>
                  <a:cubicBezTo>
                    <a:pt x="198" y="17"/>
                    <a:pt x="198" y="17"/>
                    <a:pt x="198" y="17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88" y="1"/>
                    <a:pt x="188" y="1"/>
                    <a:pt x="188" y="1"/>
                  </a:cubicBezTo>
                  <a:lnTo>
                    <a:pt x="188" y="52"/>
                  </a:lnTo>
                  <a:close/>
                  <a:moveTo>
                    <a:pt x="232" y="26"/>
                  </a:moveTo>
                  <a:cubicBezTo>
                    <a:pt x="232" y="25"/>
                    <a:pt x="232" y="25"/>
                    <a:pt x="232" y="25"/>
                  </a:cubicBezTo>
                  <a:cubicBezTo>
                    <a:pt x="232" y="22"/>
                    <a:pt x="234" y="20"/>
                    <a:pt x="237" y="20"/>
                  </a:cubicBezTo>
                  <a:cubicBezTo>
                    <a:pt x="240" y="20"/>
                    <a:pt x="241" y="21"/>
                    <a:pt x="241" y="24"/>
                  </a:cubicBezTo>
                  <a:cubicBezTo>
                    <a:pt x="241" y="27"/>
                    <a:pt x="240" y="28"/>
                    <a:pt x="237" y="29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25" y="32"/>
                    <a:pt x="222" y="35"/>
                    <a:pt x="222" y="42"/>
                  </a:cubicBezTo>
                  <a:cubicBezTo>
                    <a:pt x="222" y="47"/>
                    <a:pt x="225" y="53"/>
                    <a:pt x="231" y="53"/>
                  </a:cubicBezTo>
                  <a:cubicBezTo>
                    <a:pt x="236" y="53"/>
                    <a:pt x="239" y="52"/>
                    <a:pt x="241" y="48"/>
                  </a:cubicBezTo>
                  <a:cubicBezTo>
                    <a:pt x="241" y="48"/>
                    <a:pt x="241" y="48"/>
                    <a:pt x="241" y="48"/>
                  </a:cubicBezTo>
                  <a:cubicBezTo>
                    <a:pt x="242" y="50"/>
                    <a:pt x="242" y="51"/>
                    <a:pt x="243" y="52"/>
                  </a:cubicBezTo>
                  <a:cubicBezTo>
                    <a:pt x="252" y="52"/>
                    <a:pt x="252" y="52"/>
                    <a:pt x="252" y="52"/>
                  </a:cubicBezTo>
                  <a:cubicBezTo>
                    <a:pt x="251" y="50"/>
                    <a:pt x="251" y="48"/>
                    <a:pt x="251" y="45"/>
                  </a:cubicBezTo>
                  <a:cubicBezTo>
                    <a:pt x="251" y="25"/>
                    <a:pt x="251" y="25"/>
                    <a:pt x="251" y="25"/>
                  </a:cubicBezTo>
                  <a:cubicBezTo>
                    <a:pt x="251" y="18"/>
                    <a:pt x="249" y="13"/>
                    <a:pt x="237" y="13"/>
                  </a:cubicBezTo>
                  <a:cubicBezTo>
                    <a:pt x="229" y="13"/>
                    <a:pt x="223" y="16"/>
                    <a:pt x="223" y="25"/>
                  </a:cubicBezTo>
                  <a:cubicBezTo>
                    <a:pt x="223" y="26"/>
                    <a:pt x="223" y="26"/>
                    <a:pt x="223" y="26"/>
                  </a:cubicBezTo>
                  <a:lnTo>
                    <a:pt x="232" y="26"/>
                  </a:lnTo>
                  <a:close/>
                  <a:moveTo>
                    <a:pt x="241" y="41"/>
                  </a:moveTo>
                  <a:cubicBezTo>
                    <a:pt x="241" y="45"/>
                    <a:pt x="238" y="47"/>
                    <a:pt x="235" y="47"/>
                  </a:cubicBezTo>
                  <a:cubicBezTo>
                    <a:pt x="233" y="47"/>
                    <a:pt x="232" y="44"/>
                    <a:pt x="232" y="41"/>
                  </a:cubicBezTo>
                  <a:cubicBezTo>
                    <a:pt x="232" y="38"/>
                    <a:pt x="233" y="36"/>
                    <a:pt x="237" y="35"/>
                  </a:cubicBezTo>
                  <a:cubicBezTo>
                    <a:pt x="238" y="35"/>
                    <a:pt x="240" y="34"/>
                    <a:pt x="241" y="33"/>
                  </a:cubicBezTo>
                  <a:lnTo>
                    <a:pt x="241" y="41"/>
                  </a:lnTo>
                  <a:close/>
                  <a:moveTo>
                    <a:pt x="258" y="52"/>
                  </a:moveTo>
                  <a:cubicBezTo>
                    <a:pt x="268" y="52"/>
                    <a:pt x="268" y="52"/>
                    <a:pt x="268" y="52"/>
                  </a:cubicBezTo>
                  <a:cubicBezTo>
                    <a:pt x="268" y="27"/>
                    <a:pt x="268" y="27"/>
                    <a:pt x="268" y="27"/>
                  </a:cubicBezTo>
                  <a:cubicBezTo>
                    <a:pt x="268" y="23"/>
                    <a:pt x="270" y="20"/>
                    <a:pt x="273" y="20"/>
                  </a:cubicBezTo>
                  <a:cubicBezTo>
                    <a:pt x="276" y="20"/>
                    <a:pt x="277" y="22"/>
                    <a:pt x="277" y="26"/>
                  </a:cubicBezTo>
                  <a:cubicBezTo>
                    <a:pt x="277" y="52"/>
                    <a:pt x="277" y="52"/>
                    <a:pt x="277" y="52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16"/>
                    <a:pt x="283" y="13"/>
                    <a:pt x="277" y="13"/>
                  </a:cubicBezTo>
                  <a:cubicBezTo>
                    <a:pt x="273" y="13"/>
                    <a:pt x="269" y="15"/>
                    <a:pt x="267" y="18"/>
                  </a:cubicBezTo>
                  <a:cubicBezTo>
                    <a:pt x="267" y="18"/>
                    <a:pt x="267" y="18"/>
                    <a:pt x="267" y="18"/>
                  </a:cubicBezTo>
                  <a:cubicBezTo>
                    <a:pt x="267" y="14"/>
                    <a:pt x="267" y="14"/>
                    <a:pt x="267" y="14"/>
                  </a:cubicBezTo>
                  <a:cubicBezTo>
                    <a:pt x="258" y="14"/>
                    <a:pt x="258" y="14"/>
                    <a:pt x="258" y="14"/>
                  </a:cubicBezTo>
                  <a:lnTo>
                    <a:pt x="258" y="52"/>
                  </a:lnTo>
                  <a:close/>
                  <a:moveTo>
                    <a:pt x="309" y="52"/>
                  </a:moveTo>
                  <a:cubicBezTo>
                    <a:pt x="320" y="52"/>
                    <a:pt x="320" y="52"/>
                    <a:pt x="320" y="5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36" y="42"/>
                    <a:pt x="336" y="42"/>
                    <a:pt x="336" y="42"/>
                  </a:cubicBezTo>
                  <a:cubicBezTo>
                    <a:pt x="338" y="52"/>
                    <a:pt x="338" y="52"/>
                    <a:pt x="338" y="52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35" y="1"/>
                    <a:pt x="335" y="1"/>
                    <a:pt x="335" y="1"/>
                  </a:cubicBezTo>
                  <a:cubicBezTo>
                    <a:pt x="323" y="1"/>
                    <a:pt x="323" y="1"/>
                    <a:pt x="323" y="1"/>
                  </a:cubicBezTo>
                  <a:lnTo>
                    <a:pt x="309" y="52"/>
                  </a:lnTo>
                  <a:close/>
                  <a:moveTo>
                    <a:pt x="329" y="10"/>
                  </a:moveTo>
                  <a:cubicBezTo>
                    <a:pt x="329" y="10"/>
                    <a:pt x="329" y="10"/>
                    <a:pt x="329" y="10"/>
                  </a:cubicBezTo>
                  <a:cubicBezTo>
                    <a:pt x="334" y="33"/>
                    <a:pt x="334" y="33"/>
                    <a:pt x="334" y="33"/>
                  </a:cubicBezTo>
                  <a:cubicBezTo>
                    <a:pt x="324" y="33"/>
                    <a:pt x="324" y="33"/>
                    <a:pt x="324" y="33"/>
                  </a:cubicBezTo>
                  <a:lnTo>
                    <a:pt x="329" y="10"/>
                  </a:lnTo>
                  <a:close/>
                  <a:moveTo>
                    <a:pt x="354" y="52"/>
                  </a:moveTo>
                  <a:cubicBezTo>
                    <a:pt x="364" y="52"/>
                    <a:pt x="364" y="52"/>
                    <a:pt x="364" y="52"/>
                  </a:cubicBezTo>
                  <a:cubicBezTo>
                    <a:pt x="364" y="21"/>
                    <a:pt x="364" y="21"/>
                    <a:pt x="364" y="21"/>
                  </a:cubicBezTo>
                  <a:cubicBezTo>
                    <a:pt x="370" y="21"/>
                    <a:pt x="370" y="21"/>
                    <a:pt x="370" y="21"/>
                  </a:cubicBezTo>
                  <a:cubicBezTo>
                    <a:pt x="370" y="14"/>
                    <a:pt x="370" y="14"/>
                    <a:pt x="370" y="14"/>
                  </a:cubicBezTo>
                  <a:cubicBezTo>
                    <a:pt x="364" y="14"/>
                    <a:pt x="364" y="14"/>
                    <a:pt x="364" y="14"/>
                  </a:cubicBezTo>
                  <a:cubicBezTo>
                    <a:pt x="364" y="11"/>
                    <a:pt x="364" y="11"/>
                    <a:pt x="364" y="11"/>
                  </a:cubicBezTo>
                  <a:cubicBezTo>
                    <a:pt x="364" y="8"/>
                    <a:pt x="365" y="8"/>
                    <a:pt x="368" y="8"/>
                  </a:cubicBezTo>
                  <a:cubicBezTo>
                    <a:pt x="368" y="8"/>
                    <a:pt x="369" y="8"/>
                    <a:pt x="370" y="8"/>
                  </a:cubicBezTo>
                  <a:cubicBezTo>
                    <a:pt x="370" y="1"/>
                    <a:pt x="370" y="1"/>
                    <a:pt x="370" y="1"/>
                  </a:cubicBezTo>
                  <a:cubicBezTo>
                    <a:pt x="368" y="0"/>
                    <a:pt x="366" y="0"/>
                    <a:pt x="364" y="0"/>
                  </a:cubicBezTo>
                  <a:cubicBezTo>
                    <a:pt x="358" y="0"/>
                    <a:pt x="354" y="3"/>
                    <a:pt x="354" y="10"/>
                  </a:cubicBezTo>
                  <a:cubicBezTo>
                    <a:pt x="354" y="14"/>
                    <a:pt x="354" y="14"/>
                    <a:pt x="354" y="14"/>
                  </a:cubicBezTo>
                  <a:cubicBezTo>
                    <a:pt x="349" y="14"/>
                    <a:pt x="349" y="14"/>
                    <a:pt x="349" y="14"/>
                  </a:cubicBezTo>
                  <a:cubicBezTo>
                    <a:pt x="349" y="21"/>
                    <a:pt x="349" y="21"/>
                    <a:pt x="349" y="21"/>
                  </a:cubicBezTo>
                  <a:cubicBezTo>
                    <a:pt x="354" y="21"/>
                    <a:pt x="354" y="21"/>
                    <a:pt x="354" y="21"/>
                  </a:cubicBezTo>
                  <a:lnTo>
                    <a:pt x="354" y="52"/>
                  </a:lnTo>
                  <a:close/>
                  <a:moveTo>
                    <a:pt x="375" y="52"/>
                  </a:moveTo>
                  <a:cubicBezTo>
                    <a:pt x="385" y="52"/>
                    <a:pt x="385" y="52"/>
                    <a:pt x="385" y="52"/>
                  </a:cubicBezTo>
                  <a:cubicBezTo>
                    <a:pt x="385" y="21"/>
                    <a:pt x="385" y="21"/>
                    <a:pt x="385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1" y="14"/>
                    <a:pt x="391" y="14"/>
                    <a:pt x="391" y="14"/>
                  </a:cubicBezTo>
                  <a:cubicBezTo>
                    <a:pt x="385" y="14"/>
                    <a:pt x="385" y="14"/>
                    <a:pt x="385" y="14"/>
                  </a:cubicBezTo>
                  <a:cubicBezTo>
                    <a:pt x="385" y="11"/>
                    <a:pt x="385" y="11"/>
                    <a:pt x="385" y="11"/>
                  </a:cubicBezTo>
                  <a:cubicBezTo>
                    <a:pt x="385" y="8"/>
                    <a:pt x="386" y="8"/>
                    <a:pt x="389" y="8"/>
                  </a:cubicBezTo>
                  <a:cubicBezTo>
                    <a:pt x="390" y="8"/>
                    <a:pt x="390" y="8"/>
                    <a:pt x="391" y="8"/>
                  </a:cubicBezTo>
                  <a:cubicBezTo>
                    <a:pt x="391" y="1"/>
                    <a:pt x="391" y="1"/>
                    <a:pt x="391" y="1"/>
                  </a:cubicBezTo>
                  <a:cubicBezTo>
                    <a:pt x="389" y="0"/>
                    <a:pt x="387" y="0"/>
                    <a:pt x="386" y="0"/>
                  </a:cubicBezTo>
                  <a:cubicBezTo>
                    <a:pt x="379" y="0"/>
                    <a:pt x="375" y="3"/>
                    <a:pt x="375" y="10"/>
                  </a:cubicBezTo>
                  <a:cubicBezTo>
                    <a:pt x="375" y="14"/>
                    <a:pt x="375" y="14"/>
                    <a:pt x="375" y="14"/>
                  </a:cubicBezTo>
                  <a:cubicBezTo>
                    <a:pt x="370" y="14"/>
                    <a:pt x="370" y="14"/>
                    <a:pt x="370" y="14"/>
                  </a:cubicBezTo>
                  <a:cubicBezTo>
                    <a:pt x="370" y="21"/>
                    <a:pt x="370" y="21"/>
                    <a:pt x="370" y="21"/>
                  </a:cubicBezTo>
                  <a:cubicBezTo>
                    <a:pt x="375" y="21"/>
                    <a:pt x="375" y="21"/>
                    <a:pt x="375" y="21"/>
                  </a:cubicBezTo>
                  <a:lnTo>
                    <a:pt x="375" y="52"/>
                  </a:lnTo>
                  <a:close/>
                  <a:moveTo>
                    <a:pt x="403" y="26"/>
                  </a:moveTo>
                  <a:cubicBezTo>
                    <a:pt x="403" y="25"/>
                    <a:pt x="403" y="25"/>
                    <a:pt x="403" y="25"/>
                  </a:cubicBezTo>
                  <a:cubicBezTo>
                    <a:pt x="403" y="22"/>
                    <a:pt x="405" y="20"/>
                    <a:pt x="408" y="20"/>
                  </a:cubicBezTo>
                  <a:cubicBezTo>
                    <a:pt x="411" y="20"/>
                    <a:pt x="412" y="21"/>
                    <a:pt x="412" y="24"/>
                  </a:cubicBezTo>
                  <a:cubicBezTo>
                    <a:pt x="412" y="27"/>
                    <a:pt x="411" y="28"/>
                    <a:pt x="408" y="29"/>
                  </a:cubicBezTo>
                  <a:cubicBezTo>
                    <a:pt x="403" y="30"/>
                    <a:pt x="403" y="30"/>
                    <a:pt x="403" y="30"/>
                  </a:cubicBezTo>
                  <a:cubicBezTo>
                    <a:pt x="396" y="32"/>
                    <a:pt x="393" y="35"/>
                    <a:pt x="393" y="42"/>
                  </a:cubicBezTo>
                  <a:cubicBezTo>
                    <a:pt x="393" y="47"/>
                    <a:pt x="395" y="53"/>
                    <a:pt x="402" y="53"/>
                  </a:cubicBezTo>
                  <a:cubicBezTo>
                    <a:pt x="407" y="53"/>
                    <a:pt x="410" y="52"/>
                    <a:pt x="412" y="48"/>
                  </a:cubicBezTo>
                  <a:cubicBezTo>
                    <a:pt x="412" y="48"/>
                    <a:pt x="412" y="48"/>
                    <a:pt x="412" y="48"/>
                  </a:cubicBezTo>
                  <a:cubicBezTo>
                    <a:pt x="412" y="50"/>
                    <a:pt x="413" y="51"/>
                    <a:pt x="413" y="52"/>
                  </a:cubicBezTo>
                  <a:cubicBezTo>
                    <a:pt x="423" y="52"/>
                    <a:pt x="423" y="52"/>
                    <a:pt x="423" y="52"/>
                  </a:cubicBezTo>
                  <a:cubicBezTo>
                    <a:pt x="422" y="50"/>
                    <a:pt x="422" y="48"/>
                    <a:pt x="422" y="45"/>
                  </a:cubicBezTo>
                  <a:cubicBezTo>
                    <a:pt x="422" y="25"/>
                    <a:pt x="422" y="25"/>
                    <a:pt x="422" y="25"/>
                  </a:cubicBezTo>
                  <a:cubicBezTo>
                    <a:pt x="422" y="18"/>
                    <a:pt x="419" y="13"/>
                    <a:pt x="408" y="13"/>
                  </a:cubicBezTo>
                  <a:cubicBezTo>
                    <a:pt x="400" y="13"/>
                    <a:pt x="394" y="16"/>
                    <a:pt x="394" y="25"/>
                  </a:cubicBezTo>
                  <a:cubicBezTo>
                    <a:pt x="394" y="26"/>
                    <a:pt x="394" y="26"/>
                    <a:pt x="394" y="26"/>
                  </a:cubicBezTo>
                  <a:lnTo>
                    <a:pt x="403" y="26"/>
                  </a:lnTo>
                  <a:close/>
                  <a:moveTo>
                    <a:pt x="412" y="41"/>
                  </a:moveTo>
                  <a:cubicBezTo>
                    <a:pt x="412" y="45"/>
                    <a:pt x="409" y="47"/>
                    <a:pt x="406" y="47"/>
                  </a:cubicBezTo>
                  <a:cubicBezTo>
                    <a:pt x="403" y="47"/>
                    <a:pt x="402" y="44"/>
                    <a:pt x="402" y="41"/>
                  </a:cubicBezTo>
                  <a:cubicBezTo>
                    <a:pt x="402" y="38"/>
                    <a:pt x="404" y="36"/>
                    <a:pt x="408" y="35"/>
                  </a:cubicBezTo>
                  <a:cubicBezTo>
                    <a:pt x="409" y="35"/>
                    <a:pt x="411" y="34"/>
                    <a:pt x="412" y="33"/>
                  </a:cubicBezTo>
                  <a:lnTo>
                    <a:pt x="412" y="41"/>
                  </a:lnTo>
                  <a:close/>
                  <a:moveTo>
                    <a:pt x="429" y="52"/>
                  </a:moveTo>
                  <a:cubicBezTo>
                    <a:pt x="439" y="52"/>
                    <a:pt x="439" y="52"/>
                    <a:pt x="439" y="52"/>
                  </a:cubicBezTo>
                  <a:cubicBezTo>
                    <a:pt x="439" y="14"/>
                    <a:pt x="439" y="14"/>
                    <a:pt x="439" y="14"/>
                  </a:cubicBezTo>
                  <a:cubicBezTo>
                    <a:pt x="429" y="14"/>
                    <a:pt x="429" y="14"/>
                    <a:pt x="429" y="14"/>
                  </a:cubicBezTo>
                  <a:lnTo>
                    <a:pt x="429" y="52"/>
                  </a:lnTo>
                  <a:close/>
                  <a:moveTo>
                    <a:pt x="429" y="9"/>
                  </a:moveTo>
                  <a:cubicBezTo>
                    <a:pt x="439" y="9"/>
                    <a:pt x="439" y="9"/>
                    <a:pt x="439" y="9"/>
                  </a:cubicBezTo>
                  <a:cubicBezTo>
                    <a:pt x="439" y="1"/>
                    <a:pt x="439" y="1"/>
                    <a:pt x="439" y="1"/>
                  </a:cubicBezTo>
                  <a:cubicBezTo>
                    <a:pt x="429" y="1"/>
                    <a:pt x="429" y="1"/>
                    <a:pt x="429" y="1"/>
                  </a:cubicBezTo>
                  <a:lnTo>
                    <a:pt x="429" y="9"/>
                  </a:lnTo>
                  <a:close/>
                  <a:moveTo>
                    <a:pt x="446" y="52"/>
                  </a:moveTo>
                  <a:cubicBezTo>
                    <a:pt x="456" y="52"/>
                    <a:pt x="456" y="52"/>
                    <a:pt x="456" y="52"/>
                  </a:cubicBezTo>
                  <a:cubicBezTo>
                    <a:pt x="456" y="29"/>
                    <a:pt x="456" y="29"/>
                    <a:pt x="456" y="29"/>
                  </a:cubicBezTo>
                  <a:cubicBezTo>
                    <a:pt x="456" y="24"/>
                    <a:pt x="459" y="22"/>
                    <a:pt x="463" y="22"/>
                  </a:cubicBezTo>
                  <a:cubicBezTo>
                    <a:pt x="464" y="22"/>
                    <a:pt x="465" y="22"/>
                    <a:pt x="466" y="22"/>
                  </a:cubicBezTo>
                  <a:cubicBezTo>
                    <a:pt x="466" y="13"/>
                    <a:pt x="466" y="13"/>
                    <a:pt x="466" y="13"/>
                  </a:cubicBezTo>
                  <a:cubicBezTo>
                    <a:pt x="465" y="13"/>
                    <a:pt x="465" y="13"/>
                    <a:pt x="464" y="13"/>
                  </a:cubicBezTo>
                  <a:cubicBezTo>
                    <a:pt x="460" y="13"/>
                    <a:pt x="457" y="15"/>
                    <a:pt x="455" y="19"/>
                  </a:cubicBezTo>
                  <a:cubicBezTo>
                    <a:pt x="455" y="19"/>
                    <a:pt x="455" y="19"/>
                    <a:pt x="455" y="19"/>
                  </a:cubicBezTo>
                  <a:cubicBezTo>
                    <a:pt x="455" y="14"/>
                    <a:pt x="455" y="14"/>
                    <a:pt x="455" y="14"/>
                  </a:cubicBezTo>
                  <a:cubicBezTo>
                    <a:pt x="446" y="14"/>
                    <a:pt x="446" y="14"/>
                    <a:pt x="446" y="14"/>
                  </a:cubicBezTo>
                  <a:lnTo>
                    <a:pt x="446" y="52"/>
                  </a:lnTo>
                  <a:close/>
                  <a:moveTo>
                    <a:pt x="468" y="40"/>
                  </a:moveTo>
                  <a:cubicBezTo>
                    <a:pt x="468" y="41"/>
                    <a:pt x="468" y="41"/>
                    <a:pt x="468" y="41"/>
                  </a:cubicBezTo>
                  <a:cubicBezTo>
                    <a:pt x="468" y="48"/>
                    <a:pt x="471" y="53"/>
                    <a:pt x="482" y="53"/>
                  </a:cubicBezTo>
                  <a:cubicBezTo>
                    <a:pt x="490" y="53"/>
                    <a:pt x="496" y="49"/>
                    <a:pt x="496" y="41"/>
                  </a:cubicBezTo>
                  <a:cubicBezTo>
                    <a:pt x="496" y="35"/>
                    <a:pt x="494" y="32"/>
                    <a:pt x="488" y="30"/>
                  </a:cubicBezTo>
                  <a:cubicBezTo>
                    <a:pt x="482" y="28"/>
                    <a:pt x="482" y="28"/>
                    <a:pt x="482" y="28"/>
                  </a:cubicBezTo>
                  <a:cubicBezTo>
                    <a:pt x="479" y="27"/>
                    <a:pt x="478" y="26"/>
                    <a:pt x="478" y="24"/>
                  </a:cubicBezTo>
                  <a:cubicBezTo>
                    <a:pt x="478" y="21"/>
                    <a:pt x="480" y="20"/>
                    <a:pt x="482" y="20"/>
                  </a:cubicBezTo>
                  <a:cubicBezTo>
                    <a:pt x="485" y="20"/>
                    <a:pt x="486" y="22"/>
                    <a:pt x="486" y="25"/>
                  </a:cubicBezTo>
                  <a:cubicBezTo>
                    <a:pt x="495" y="25"/>
                    <a:pt x="495" y="25"/>
                    <a:pt x="495" y="25"/>
                  </a:cubicBezTo>
                  <a:cubicBezTo>
                    <a:pt x="495" y="24"/>
                    <a:pt x="495" y="24"/>
                    <a:pt x="495" y="24"/>
                  </a:cubicBezTo>
                  <a:cubicBezTo>
                    <a:pt x="495" y="17"/>
                    <a:pt x="491" y="13"/>
                    <a:pt x="482" y="13"/>
                  </a:cubicBezTo>
                  <a:cubicBezTo>
                    <a:pt x="472" y="13"/>
                    <a:pt x="468" y="18"/>
                    <a:pt x="468" y="24"/>
                  </a:cubicBezTo>
                  <a:cubicBezTo>
                    <a:pt x="468" y="30"/>
                    <a:pt x="471" y="33"/>
                    <a:pt x="476" y="35"/>
                  </a:cubicBezTo>
                  <a:cubicBezTo>
                    <a:pt x="483" y="38"/>
                    <a:pt x="483" y="38"/>
                    <a:pt x="483" y="38"/>
                  </a:cubicBezTo>
                  <a:cubicBezTo>
                    <a:pt x="485" y="38"/>
                    <a:pt x="487" y="40"/>
                    <a:pt x="487" y="42"/>
                  </a:cubicBezTo>
                  <a:cubicBezTo>
                    <a:pt x="487" y="45"/>
                    <a:pt x="485" y="47"/>
                    <a:pt x="482" y="47"/>
                  </a:cubicBezTo>
                  <a:cubicBezTo>
                    <a:pt x="478" y="47"/>
                    <a:pt x="477" y="44"/>
                    <a:pt x="477" y="41"/>
                  </a:cubicBezTo>
                  <a:cubicBezTo>
                    <a:pt x="477" y="40"/>
                    <a:pt x="477" y="40"/>
                    <a:pt x="477" y="40"/>
                  </a:cubicBezTo>
                  <a:lnTo>
                    <a:pt x="46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9" name="Freeform 43"/>
            <p:cNvSpPr>
              <a:spLocks noEditPoints="1"/>
            </p:cNvSpPr>
            <p:nvPr/>
          </p:nvSpPr>
          <p:spPr bwMode="auto">
            <a:xfrm>
              <a:off x="2577" y="2348"/>
              <a:ext cx="1294" cy="155"/>
            </a:xfrm>
            <a:custGeom>
              <a:avLst/>
              <a:gdLst>
                <a:gd name="T0" fmla="*/ 9 w 546"/>
                <a:gd name="T1" fmla="*/ 11 h 65"/>
                <a:gd name="T2" fmla="*/ 35 w 546"/>
                <a:gd name="T3" fmla="*/ 11 h 65"/>
                <a:gd name="T4" fmla="*/ 30 w 546"/>
                <a:gd name="T5" fmla="*/ 1 h 65"/>
                <a:gd name="T6" fmla="*/ 0 w 546"/>
                <a:gd name="T7" fmla="*/ 1 h 65"/>
                <a:gd name="T8" fmla="*/ 62 w 546"/>
                <a:gd name="T9" fmla="*/ 13 h 65"/>
                <a:gd name="T10" fmla="*/ 62 w 546"/>
                <a:gd name="T11" fmla="*/ 9 h 65"/>
                <a:gd name="T12" fmla="*/ 69 w 546"/>
                <a:gd name="T13" fmla="*/ 52 h 65"/>
                <a:gd name="T14" fmla="*/ 88 w 546"/>
                <a:gd name="T15" fmla="*/ 25 h 65"/>
                <a:gd name="T16" fmla="*/ 88 w 546"/>
                <a:gd name="T17" fmla="*/ 12 h 65"/>
                <a:gd name="T18" fmla="*/ 69 w 546"/>
                <a:gd name="T19" fmla="*/ 13 h 65"/>
                <a:gd name="T20" fmla="*/ 115 w 546"/>
                <a:gd name="T21" fmla="*/ 13 h 65"/>
                <a:gd name="T22" fmla="*/ 115 w 546"/>
                <a:gd name="T23" fmla="*/ 9 h 65"/>
                <a:gd name="T24" fmla="*/ 120 w 546"/>
                <a:gd name="T25" fmla="*/ 39 h 65"/>
                <a:gd name="T26" fmla="*/ 140 w 546"/>
                <a:gd name="T27" fmla="*/ 30 h 65"/>
                <a:gd name="T28" fmla="*/ 139 w 546"/>
                <a:gd name="T29" fmla="*/ 25 h 65"/>
                <a:gd name="T30" fmla="*/ 120 w 546"/>
                <a:gd name="T31" fmla="*/ 24 h 65"/>
                <a:gd name="T32" fmla="*/ 134 w 546"/>
                <a:gd name="T33" fmla="*/ 46 h 65"/>
                <a:gd name="T34" fmla="*/ 156 w 546"/>
                <a:gd name="T35" fmla="*/ 13 h 65"/>
                <a:gd name="T36" fmla="*/ 156 w 546"/>
                <a:gd name="T37" fmla="*/ 42 h 65"/>
                <a:gd name="T38" fmla="*/ 169 w 546"/>
                <a:gd name="T39" fmla="*/ 45 h 65"/>
                <a:gd name="T40" fmla="*/ 171 w 546"/>
                <a:gd name="T41" fmla="*/ 13 h 65"/>
                <a:gd name="T42" fmla="*/ 156 w 546"/>
                <a:gd name="T43" fmla="*/ 13 h 65"/>
                <a:gd name="T44" fmla="*/ 192 w 546"/>
                <a:gd name="T45" fmla="*/ 22 h 65"/>
                <a:gd name="T46" fmla="*/ 184 w 546"/>
                <a:gd name="T47" fmla="*/ 19 h 65"/>
                <a:gd name="T48" fmla="*/ 175 w 546"/>
                <a:gd name="T49" fmla="*/ 52 h 65"/>
                <a:gd name="T50" fmla="*/ 226 w 546"/>
                <a:gd name="T51" fmla="*/ 13 h 65"/>
                <a:gd name="T52" fmla="*/ 206 w 546"/>
                <a:gd name="T53" fmla="*/ 13 h 65"/>
                <a:gd name="T54" fmla="*/ 198 w 546"/>
                <a:gd name="T55" fmla="*/ 57 h 65"/>
                <a:gd name="T56" fmla="*/ 278 w 546"/>
                <a:gd name="T57" fmla="*/ 33 h 65"/>
                <a:gd name="T58" fmla="*/ 263 w 546"/>
                <a:gd name="T59" fmla="*/ 19 h 65"/>
                <a:gd name="T60" fmla="*/ 285 w 546"/>
                <a:gd name="T61" fmla="*/ 52 h 65"/>
                <a:gd name="T62" fmla="*/ 301 w 546"/>
                <a:gd name="T63" fmla="*/ 13 h 65"/>
                <a:gd name="T64" fmla="*/ 301 w 546"/>
                <a:gd name="T65" fmla="*/ 7 h 65"/>
                <a:gd name="T66" fmla="*/ 285 w 546"/>
                <a:gd name="T67" fmla="*/ 13 h 65"/>
                <a:gd name="T68" fmla="*/ 285 w 546"/>
                <a:gd name="T69" fmla="*/ 52 h 65"/>
                <a:gd name="T70" fmla="*/ 346 w 546"/>
                <a:gd name="T71" fmla="*/ 29 h 65"/>
                <a:gd name="T72" fmla="*/ 346 w 546"/>
                <a:gd name="T73" fmla="*/ 1 h 65"/>
                <a:gd name="T74" fmla="*/ 323 w 546"/>
                <a:gd name="T75" fmla="*/ 1 h 65"/>
                <a:gd name="T76" fmla="*/ 392 w 546"/>
                <a:gd name="T77" fmla="*/ 33 h 65"/>
                <a:gd name="T78" fmla="*/ 377 w 546"/>
                <a:gd name="T79" fmla="*/ 19 h 65"/>
                <a:gd name="T80" fmla="*/ 417 w 546"/>
                <a:gd name="T81" fmla="*/ 52 h 65"/>
                <a:gd name="T82" fmla="*/ 416 w 546"/>
                <a:gd name="T83" fmla="*/ 39 h 65"/>
                <a:gd name="T84" fmla="*/ 397 w 546"/>
                <a:gd name="T85" fmla="*/ 13 h 65"/>
                <a:gd name="T86" fmla="*/ 417 w 546"/>
                <a:gd name="T87" fmla="*/ 47 h 65"/>
                <a:gd name="T88" fmla="*/ 445 w 546"/>
                <a:gd name="T89" fmla="*/ 53 h 65"/>
                <a:gd name="T90" fmla="*/ 441 w 546"/>
                <a:gd name="T91" fmla="*/ 23 h 65"/>
                <a:gd name="T92" fmla="*/ 459 w 546"/>
                <a:gd name="T93" fmla="*/ 23 h 65"/>
                <a:gd name="T94" fmla="*/ 446 w 546"/>
                <a:gd name="T95" fmla="*/ 37 h 65"/>
                <a:gd name="T96" fmla="*/ 440 w 546"/>
                <a:gd name="T97" fmla="*/ 39 h 65"/>
                <a:gd name="T98" fmla="*/ 475 w 546"/>
                <a:gd name="T99" fmla="*/ 13 h 65"/>
                <a:gd name="T100" fmla="*/ 475 w 546"/>
                <a:gd name="T101" fmla="*/ 9 h 65"/>
                <a:gd name="T102" fmla="*/ 482 w 546"/>
                <a:gd name="T103" fmla="*/ 52 h 65"/>
                <a:gd name="T104" fmla="*/ 501 w 546"/>
                <a:gd name="T105" fmla="*/ 25 h 65"/>
                <a:gd name="T106" fmla="*/ 501 w 546"/>
                <a:gd name="T107" fmla="*/ 12 h 65"/>
                <a:gd name="T108" fmla="*/ 482 w 546"/>
                <a:gd name="T109" fmla="*/ 13 h 65"/>
                <a:gd name="T110" fmla="*/ 536 w 546"/>
                <a:gd name="T111" fmla="*/ 18 h 65"/>
                <a:gd name="T112" fmla="*/ 536 w 546"/>
                <a:gd name="T113" fmla="*/ 47 h 65"/>
                <a:gd name="T114" fmla="*/ 528 w 546"/>
                <a:gd name="T115" fmla="*/ 58 h 65"/>
                <a:gd name="T116" fmla="*/ 546 w 546"/>
                <a:gd name="T117" fmla="*/ 50 h 65"/>
                <a:gd name="T118" fmla="*/ 531 w 546"/>
                <a:gd name="T119" fmla="*/ 2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6" h="65">
                  <a:moveTo>
                    <a:pt x="0" y="52"/>
                  </a:moveTo>
                  <a:cubicBezTo>
                    <a:pt x="9" y="52"/>
                    <a:pt x="9" y="52"/>
                    <a:pt x="9" y="5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52"/>
                  </a:lnTo>
                  <a:close/>
                  <a:moveTo>
                    <a:pt x="52" y="52"/>
                  </a:moveTo>
                  <a:cubicBezTo>
                    <a:pt x="62" y="52"/>
                    <a:pt x="62" y="52"/>
                    <a:pt x="62" y="52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52" y="52"/>
                  </a:lnTo>
                  <a:close/>
                  <a:moveTo>
                    <a:pt x="52" y="9"/>
                  </a:moveTo>
                  <a:cubicBezTo>
                    <a:pt x="62" y="9"/>
                    <a:pt x="62" y="9"/>
                    <a:pt x="62" y="9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9"/>
                  </a:lnTo>
                  <a:close/>
                  <a:moveTo>
                    <a:pt x="69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2"/>
                    <a:pt x="81" y="20"/>
                    <a:pt x="84" y="20"/>
                  </a:cubicBezTo>
                  <a:cubicBezTo>
                    <a:pt x="87" y="20"/>
                    <a:pt x="88" y="21"/>
                    <a:pt x="88" y="25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98" y="16"/>
                    <a:pt x="95" y="12"/>
                    <a:pt x="88" y="12"/>
                  </a:cubicBezTo>
                  <a:cubicBezTo>
                    <a:pt x="84" y="12"/>
                    <a:pt x="81" y="14"/>
                    <a:pt x="79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69" y="13"/>
                    <a:pt x="69" y="13"/>
                    <a:pt x="69" y="13"/>
                  </a:cubicBezTo>
                  <a:lnTo>
                    <a:pt x="69" y="52"/>
                  </a:lnTo>
                  <a:close/>
                  <a:moveTo>
                    <a:pt x="105" y="52"/>
                  </a:moveTo>
                  <a:cubicBezTo>
                    <a:pt x="115" y="52"/>
                    <a:pt x="115" y="52"/>
                    <a:pt x="115" y="52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05" y="13"/>
                    <a:pt x="105" y="13"/>
                    <a:pt x="105" y="13"/>
                  </a:cubicBezTo>
                  <a:lnTo>
                    <a:pt x="105" y="52"/>
                  </a:lnTo>
                  <a:close/>
                  <a:moveTo>
                    <a:pt x="105" y="9"/>
                  </a:moveTo>
                  <a:cubicBezTo>
                    <a:pt x="115" y="9"/>
                    <a:pt x="115" y="9"/>
                    <a:pt x="115" y="9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105" y="9"/>
                  </a:lnTo>
                  <a:close/>
                  <a:moveTo>
                    <a:pt x="120" y="39"/>
                  </a:moveTo>
                  <a:cubicBezTo>
                    <a:pt x="120" y="41"/>
                    <a:pt x="120" y="41"/>
                    <a:pt x="120" y="41"/>
                  </a:cubicBezTo>
                  <a:cubicBezTo>
                    <a:pt x="120" y="48"/>
                    <a:pt x="123" y="53"/>
                    <a:pt x="134" y="53"/>
                  </a:cubicBezTo>
                  <a:cubicBezTo>
                    <a:pt x="143" y="53"/>
                    <a:pt x="149" y="49"/>
                    <a:pt x="149" y="41"/>
                  </a:cubicBezTo>
                  <a:cubicBezTo>
                    <a:pt x="149" y="35"/>
                    <a:pt x="146" y="32"/>
                    <a:pt x="140" y="30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1" y="27"/>
                    <a:pt x="130" y="25"/>
                    <a:pt x="130" y="23"/>
                  </a:cubicBezTo>
                  <a:cubicBezTo>
                    <a:pt x="130" y="21"/>
                    <a:pt x="132" y="19"/>
                    <a:pt x="135" y="19"/>
                  </a:cubicBezTo>
                  <a:cubicBezTo>
                    <a:pt x="138" y="19"/>
                    <a:pt x="139" y="21"/>
                    <a:pt x="139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48" y="23"/>
                    <a:pt x="148" y="23"/>
                    <a:pt x="148" y="23"/>
                  </a:cubicBezTo>
                  <a:cubicBezTo>
                    <a:pt x="148" y="16"/>
                    <a:pt x="144" y="12"/>
                    <a:pt x="135" y="12"/>
                  </a:cubicBezTo>
                  <a:cubicBezTo>
                    <a:pt x="124" y="12"/>
                    <a:pt x="120" y="18"/>
                    <a:pt x="120" y="24"/>
                  </a:cubicBezTo>
                  <a:cubicBezTo>
                    <a:pt x="120" y="29"/>
                    <a:pt x="123" y="33"/>
                    <a:pt x="129" y="35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8" y="38"/>
                    <a:pt x="139" y="39"/>
                    <a:pt x="139" y="41"/>
                  </a:cubicBezTo>
                  <a:cubicBezTo>
                    <a:pt x="139" y="45"/>
                    <a:pt x="137" y="46"/>
                    <a:pt x="134" y="46"/>
                  </a:cubicBezTo>
                  <a:cubicBezTo>
                    <a:pt x="131" y="46"/>
                    <a:pt x="129" y="44"/>
                    <a:pt x="129" y="40"/>
                  </a:cubicBezTo>
                  <a:cubicBezTo>
                    <a:pt x="129" y="39"/>
                    <a:pt x="129" y="39"/>
                    <a:pt x="129" y="39"/>
                  </a:cubicBezTo>
                  <a:lnTo>
                    <a:pt x="120" y="39"/>
                  </a:lnTo>
                  <a:close/>
                  <a:moveTo>
                    <a:pt x="156" y="13"/>
                  </a:moveTo>
                  <a:cubicBezTo>
                    <a:pt x="151" y="13"/>
                    <a:pt x="151" y="13"/>
                    <a:pt x="151" y="13"/>
                  </a:cubicBezTo>
                  <a:cubicBezTo>
                    <a:pt x="151" y="20"/>
                    <a:pt x="151" y="20"/>
                    <a:pt x="151" y="20"/>
                  </a:cubicBezTo>
                  <a:cubicBezTo>
                    <a:pt x="156" y="20"/>
                    <a:pt x="156" y="20"/>
                    <a:pt x="156" y="20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50"/>
                    <a:pt x="157" y="52"/>
                    <a:pt x="165" y="52"/>
                  </a:cubicBezTo>
                  <a:cubicBezTo>
                    <a:pt x="167" y="52"/>
                    <a:pt x="169" y="52"/>
                    <a:pt x="171" y="52"/>
                  </a:cubicBezTo>
                  <a:cubicBezTo>
                    <a:pt x="171" y="45"/>
                    <a:pt x="171" y="45"/>
                    <a:pt x="171" y="45"/>
                  </a:cubicBezTo>
                  <a:cubicBezTo>
                    <a:pt x="171" y="45"/>
                    <a:pt x="170" y="45"/>
                    <a:pt x="169" y="45"/>
                  </a:cubicBezTo>
                  <a:cubicBezTo>
                    <a:pt x="166" y="45"/>
                    <a:pt x="165" y="44"/>
                    <a:pt x="165" y="41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56" y="2"/>
                    <a:pt x="156" y="2"/>
                    <a:pt x="156" y="2"/>
                  </a:cubicBezTo>
                  <a:lnTo>
                    <a:pt x="156" y="13"/>
                  </a:lnTo>
                  <a:close/>
                  <a:moveTo>
                    <a:pt x="175" y="52"/>
                  </a:moveTo>
                  <a:cubicBezTo>
                    <a:pt x="184" y="52"/>
                    <a:pt x="184" y="52"/>
                    <a:pt x="184" y="52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4"/>
                    <a:pt x="188" y="22"/>
                    <a:pt x="192" y="22"/>
                  </a:cubicBezTo>
                  <a:cubicBezTo>
                    <a:pt x="193" y="22"/>
                    <a:pt x="194" y="22"/>
                    <a:pt x="195" y="22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2"/>
                    <a:pt x="194" y="12"/>
                    <a:pt x="193" y="12"/>
                  </a:cubicBezTo>
                  <a:cubicBezTo>
                    <a:pt x="189" y="12"/>
                    <a:pt x="186" y="15"/>
                    <a:pt x="184" y="19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75" y="13"/>
                    <a:pt x="175" y="13"/>
                    <a:pt x="175" y="13"/>
                  </a:cubicBezTo>
                  <a:lnTo>
                    <a:pt x="175" y="52"/>
                  </a:lnTo>
                  <a:close/>
                  <a:moveTo>
                    <a:pt x="198" y="64"/>
                  </a:moveTo>
                  <a:cubicBezTo>
                    <a:pt x="202" y="64"/>
                    <a:pt x="202" y="64"/>
                    <a:pt x="202" y="64"/>
                  </a:cubicBezTo>
                  <a:cubicBezTo>
                    <a:pt x="212" y="64"/>
                    <a:pt x="214" y="62"/>
                    <a:pt x="217" y="49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17" y="13"/>
                    <a:pt x="217" y="13"/>
                    <a:pt x="217" y="13"/>
                  </a:cubicBezTo>
                  <a:cubicBezTo>
                    <a:pt x="212" y="40"/>
                    <a:pt x="212" y="40"/>
                    <a:pt x="212" y="40"/>
                  </a:cubicBezTo>
                  <a:cubicBezTo>
                    <a:pt x="211" y="40"/>
                    <a:pt x="211" y="40"/>
                    <a:pt x="211" y="40"/>
                  </a:cubicBezTo>
                  <a:cubicBezTo>
                    <a:pt x="206" y="13"/>
                    <a:pt x="206" y="13"/>
                    <a:pt x="206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206" y="52"/>
                    <a:pt x="206" y="52"/>
                    <a:pt x="206" y="52"/>
                  </a:cubicBezTo>
                  <a:cubicBezTo>
                    <a:pt x="206" y="55"/>
                    <a:pt x="205" y="57"/>
                    <a:pt x="201" y="57"/>
                  </a:cubicBezTo>
                  <a:cubicBezTo>
                    <a:pt x="200" y="57"/>
                    <a:pt x="199" y="57"/>
                    <a:pt x="198" y="57"/>
                  </a:cubicBezTo>
                  <a:lnTo>
                    <a:pt x="198" y="64"/>
                  </a:lnTo>
                  <a:close/>
                  <a:moveTo>
                    <a:pt x="248" y="33"/>
                  </a:moveTo>
                  <a:cubicBezTo>
                    <a:pt x="248" y="46"/>
                    <a:pt x="251" y="53"/>
                    <a:pt x="263" y="53"/>
                  </a:cubicBezTo>
                  <a:cubicBezTo>
                    <a:pt x="274" y="53"/>
                    <a:pt x="278" y="46"/>
                    <a:pt x="278" y="33"/>
                  </a:cubicBezTo>
                  <a:cubicBezTo>
                    <a:pt x="278" y="19"/>
                    <a:pt x="275" y="12"/>
                    <a:pt x="263" y="12"/>
                  </a:cubicBezTo>
                  <a:cubicBezTo>
                    <a:pt x="251" y="12"/>
                    <a:pt x="248" y="19"/>
                    <a:pt x="248" y="33"/>
                  </a:cubicBezTo>
                  <a:moveTo>
                    <a:pt x="257" y="33"/>
                  </a:moveTo>
                  <a:cubicBezTo>
                    <a:pt x="257" y="25"/>
                    <a:pt x="258" y="19"/>
                    <a:pt x="263" y="19"/>
                  </a:cubicBezTo>
                  <a:cubicBezTo>
                    <a:pt x="267" y="19"/>
                    <a:pt x="268" y="23"/>
                    <a:pt x="268" y="33"/>
                  </a:cubicBezTo>
                  <a:cubicBezTo>
                    <a:pt x="268" y="42"/>
                    <a:pt x="267" y="46"/>
                    <a:pt x="263" y="46"/>
                  </a:cubicBezTo>
                  <a:cubicBezTo>
                    <a:pt x="258" y="46"/>
                    <a:pt x="257" y="40"/>
                    <a:pt x="257" y="33"/>
                  </a:cubicBezTo>
                  <a:moveTo>
                    <a:pt x="285" y="52"/>
                  </a:moveTo>
                  <a:cubicBezTo>
                    <a:pt x="295" y="52"/>
                    <a:pt x="295" y="52"/>
                    <a:pt x="295" y="52"/>
                  </a:cubicBezTo>
                  <a:cubicBezTo>
                    <a:pt x="295" y="20"/>
                    <a:pt x="295" y="20"/>
                    <a:pt x="295" y="20"/>
                  </a:cubicBezTo>
                  <a:cubicBezTo>
                    <a:pt x="301" y="20"/>
                    <a:pt x="301" y="20"/>
                    <a:pt x="301" y="20"/>
                  </a:cubicBezTo>
                  <a:cubicBezTo>
                    <a:pt x="301" y="13"/>
                    <a:pt x="301" y="13"/>
                    <a:pt x="301" y="13"/>
                  </a:cubicBezTo>
                  <a:cubicBezTo>
                    <a:pt x="295" y="13"/>
                    <a:pt x="295" y="13"/>
                    <a:pt x="295" y="13"/>
                  </a:cubicBezTo>
                  <a:cubicBezTo>
                    <a:pt x="295" y="10"/>
                    <a:pt x="295" y="10"/>
                    <a:pt x="295" y="10"/>
                  </a:cubicBezTo>
                  <a:cubicBezTo>
                    <a:pt x="295" y="8"/>
                    <a:pt x="296" y="7"/>
                    <a:pt x="299" y="7"/>
                  </a:cubicBezTo>
                  <a:cubicBezTo>
                    <a:pt x="300" y="7"/>
                    <a:pt x="300" y="7"/>
                    <a:pt x="301" y="7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299" y="0"/>
                    <a:pt x="297" y="0"/>
                    <a:pt x="296" y="0"/>
                  </a:cubicBezTo>
                  <a:cubicBezTo>
                    <a:pt x="289" y="0"/>
                    <a:pt x="285" y="2"/>
                    <a:pt x="285" y="9"/>
                  </a:cubicBezTo>
                  <a:cubicBezTo>
                    <a:pt x="285" y="13"/>
                    <a:pt x="285" y="13"/>
                    <a:pt x="285" y="13"/>
                  </a:cubicBezTo>
                  <a:cubicBezTo>
                    <a:pt x="280" y="13"/>
                    <a:pt x="280" y="13"/>
                    <a:pt x="280" y="13"/>
                  </a:cubicBezTo>
                  <a:cubicBezTo>
                    <a:pt x="280" y="20"/>
                    <a:pt x="280" y="20"/>
                    <a:pt x="280" y="20"/>
                  </a:cubicBezTo>
                  <a:cubicBezTo>
                    <a:pt x="285" y="20"/>
                    <a:pt x="285" y="20"/>
                    <a:pt x="285" y="20"/>
                  </a:cubicBezTo>
                  <a:lnTo>
                    <a:pt x="285" y="52"/>
                  </a:lnTo>
                  <a:close/>
                  <a:moveTo>
                    <a:pt x="323" y="52"/>
                  </a:moveTo>
                  <a:cubicBezTo>
                    <a:pt x="334" y="52"/>
                    <a:pt x="334" y="52"/>
                    <a:pt x="334" y="52"/>
                  </a:cubicBezTo>
                  <a:cubicBezTo>
                    <a:pt x="334" y="29"/>
                    <a:pt x="334" y="29"/>
                    <a:pt x="334" y="29"/>
                  </a:cubicBezTo>
                  <a:cubicBezTo>
                    <a:pt x="346" y="29"/>
                    <a:pt x="346" y="29"/>
                    <a:pt x="346" y="29"/>
                  </a:cubicBezTo>
                  <a:cubicBezTo>
                    <a:pt x="346" y="52"/>
                    <a:pt x="346" y="52"/>
                    <a:pt x="346" y="52"/>
                  </a:cubicBezTo>
                  <a:cubicBezTo>
                    <a:pt x="356" y="52"/>
                    <a:pt x="356" y="52"/>
                    <a:pt x="356" y="52"/>
                  </a:cubicBezTo>
                  <a:cubicBezTo>
                    <a:pt x="356" y="1"/>
                    <a:pt x="356" y="1"/>
                    <a:pt x="356" y="1"/>
                  </a:cubicBezTo>
                  <a:cubicBezTo>
                    <a:pt x="346" y="1"/>
                    <a:pt x="346" y="1"/>
                    <a:pt x="346" y="1"/>
                  </a:cubicBezTo>
                  <a:cubicBezTo>
                    <a:pt x="346" y="20"/>
                    <a:pt x="346" y="20"/>
                    <a:pt x="346" y="20"/>
                  </a:cubicBezTo>
                  <a:cubicBezTo>
                    <a:pt x="334" y="20"/>
                    <a:pt x="334" y="20"/>
                    <a:pt x="334" y="20"/>
                  </a:cubicBezTo>
                  <a:cubicBezTo>
                    <a:pt x="334" y="1"/>
                    <a:pt x="334" y="1"/>
                    <a:pt x="334" y="1"/>
                  </a:cubicBezTo>
                  <a:cubicBezTo>
                    <a:pt x="323" y="1"/>
                    <a:pt x="323" y="1"/>
                    <a:pt x="323" y="1"/>
                  </a:cubicBezTo>
                  <a:lnTo>
                    <a:pt x="323" y="52"/>
                  </a:lnTo>
                  <a:close/>
                  <a:moveTo>
                    <a:pt x="362" y="33"/>
                  </a:moveTo>
                  <a:cubicBezTo>
                    <a:pt x="362" y="46"/>
                    <a:pt x="365" y="53"/>
                    <a:pt x="377" y="53"/>
                  </a:cubicBezTo>
                  <a:cubicBezTo>
                    <a:pt x="388" y="53"/>
                    <a:pt x="392" y="46"/>
                    <a:pt x="392" y="33"/>
                  </a:cubicBezTo>
                  <a:cubicBezTo>
                    <a:pt x="392" y="19"/>
                    <a:pt x="388" y="12"/>
                    <a:pt x="377" y="12"/>
                  </a:cubicBezTo>
                  <a:cubicBezTo>
                    <a:pt x="365" y="12"/>
                    <a:pt x="362" y="19"/>
                    <a:pt x="362" y="33"/>
                  </a:cubicBezTo>
                  <a:moveTo>
                    <a:pt x="371" y="33"/>
                  </a:moveTo>
                  <a:cubicBezTo>
                    <a:pt x="371" y="25"/>
                    <a:pt x="372" y="19"/>
                    <a:pt x="377" y="19"/>
                  </a:cubicBezTo>
                  <a:cubicBezTo>
                    <a:pt x="381" y="19"/>
                    <a:pt x="382" y="23"/>
                    <a:pt x="382" y="33"/>
                  </a:cubicBezTo>
                  <a:cubicBezTo>
                    <a:pt x="382" y="42"/>
                    <a:pt x="381" y="46"/>
                    <a:pt x="377" y="46"/>
                  </a:cubicBezTo>
                  <a:cubicBezTo>
                    <a:pt x="372" y="46"/>
                    <a:pt x="371" y="40"/>
                    <a:pt x="371" y="33"/>
                  </a:cubicBezTo>
                  <a:moveTo>
                    <a:pt x="417" y="52"/>
                  </a:moveTo>
                  <a:cubicBezTo>
                    <a:pt x="426" y="52"/>
                    <a:pt x="426" y="52"/>
                    <a:pt x="426" y="52"/>
                  </a:cubicBezTo>
                  <a:cubicBezTo>
                    <a:pt x="426" y="13"/>
                    <a:pt x="426" y="13"/>
                    <a:pt x="426" y="13"/>
                  </a:cubicBezTo>
                  <a:cubicBezTo>
                    <a:pt x="416" y="13"/>
                    <a:pt x="416" y="13"/>
                    <a:pt x="416" y="13"/>
                  </a:cubicBezTo>
                  <a:cubicBezTo>
                    <a:pt x="416" y="39"/>
                    <a:pt x="416" y="39"/>
                    <a:pt x="416" y="39"/>
                  </a:cubicBezTo>
                  <a:cubicBezTo>
                    <a:pt x="416" y="43"/>
                    <a:pt x="414" y="45"/>
                    <a:pt x="411" y="45"/>
                  </a:cubicBezTo>
                  <a:cubicBezTo>
                    <a:pt x="408" y="45"/>
                    <a:pt x="407" y="44"/>
                    <a:pt x="407" y="40"/>
                  </a:cubicBezTo>
                  <a:cubicBezTo>
                    <a:pt x="407" y="13"/>
                    <a:pt x="407" y="13"/>
                    <a:pt x="407" y="13"/>
                  </a:cubicBezTo>
                  <a:cubicBezTo>
                    <a:pt x="397" y="13"/>
                    <a:pt x="397" y="13"/>
                    <a:pt x="397" y="13"/>
                  </a:cubicBezTo>
                  <a:cubicBezTo>
                    <a:pt x="397" y="42"/>
                    <a:pt x="397" y="42"/>
                    <a:pt x="397" y="42"/>
                  </a:cubicBezTo>
                  <a:cubicBezTo>
                    <a:pt x="397" y="49"/>
                    <a:pt x="401" y="53"/>
                    <a:pt x="407" y="53"/>
                  </a:cubicBezTo>
                  <a:cubicBezTo>
                    <a:pt x="411" y="53"/>
                    <a:pt x="415" y="51"/>
                    <a:pt x="417" y="47"/>
                  </a:cubicBezTo>
                  <a:cubicBezTo>
                    <a:pt x="417" y="47"/>
                    <a:pt x="417" y="47"/>
                    <a:pt x="417" y="47"/>
                  </a:cubicBezTo>
                  <a:lnTo>
                    <a:pt x="417" y="52"/>
                  </a:lnTo>
                  <a:close/>
                  <a:moveTo>
                    <a:pt x="431" y="39"/>
                  </a:moveTo>
                  <a:cubicBezTo>
                    <a:pt x="431" y="41"/>
                    <a:pt x="431" y="41"/>
                    <a:pt x="431" y="41"/>
                  </a:cubicBezTo>
                  <a:cubicBezTo>
                    <a:pt x="431" y="48"/>
                    <a:pt x="434" y="53"/>
                    <a:pt x="445" y="53"/>
                  </a:cubicBezTo>
                  <a:cubicBezTo>
                    <a:pt x="453" y="53"/>
                    <a:pt x="459" y="49"/>
                    <a:pt x="459" y="41"/>
                  </a:cubicBezTo>
                  <a:cubicBezTo>
                    <a:pt x="459" y="35"/>
                    <a:pt x="457" y="32"/>
                    <a:pt x="451" y="30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2" y="27"/>
                    <a:pt x="441" y="25"/>
                    <a:pt x="441" y="23"/>
                  </a:cubicBezTo>
                  <a:cubicBezTo>
                    <a:pt x="441" y="21"/>
                    <a:pt x="443" y="19"/>
                    <a:pt x="445" y="19"/>
                  </a:cubicBezTo>
                  <a:cubicBezTo>
                    <a:pt x="449" y="19"/>
                    <a:pt x="450" y="21"/>
                    <a:pt x="450" y="25"/>
                  </a:cubicBezTo>
                  <a:cubicBezTo>
                    <a:pt x="459" y="25"/>
                    <a:pt x="459" y="25"/>
                    <a:pt x="459" y="25"/>
                  </a:cubicBezTo>
                  <a:cubicBezTo>
                    <a:pt x="459" y="23"/>
                    <a:pt x="459" y="23"/>
                    <a:pt x="459" y="23"/>
                  </a:cubicBezTo>
                  <a:cubicBezTo>
                    <a:pt x="459" y="16"/>
                    <a:pt x="454" y="12"/>
                    <a:pt x="445" y="12"/>
                  </a:cubicBezTo>
                  <a:cubicBezTo>
                    <a:pt x="435" y="12"/>
                    <a:pt x="431" y="18"/>
                    <a:pt x="431" y="24"/>
                  </a:cubicBezTo>
                  <a:cubicBezTo>
                    <a:pt x="431" y="29"/>
                    <a:pt x="434" y="33"/>
                    <a:pt x="440" y="35"/>
                  </a:cubicBezTo>
                  <a:cubicBezTo>
                    <a:pt x="446" y="37"/>
                    <a:pt x="446" y="37"/>
                    <a:pt x="446" y="37"/>
                  </a:cubicBezTo>
                  <a:cubicBezTo>
                    <a:pt x="448" y="38"/>
                    <a:pt x="450" y="39"/>
                    <a:pt x="450" y="41"/>
                  </a:cubicBezTo>
                  <a:cubicBezTo>
                    <a:pt x="450" y="45"/>
                    <a:pt x="448" y="46"/>
                    <a:pt x="445" y="46"/>
                  </a:cubicBezTo>
                  <a:cubicBezTo>
                    <a:pt x="442" y="46"/>
                    <a:pt x="440" y="44"/>
                    <a:pt x="440" y="40"/>
                  </a:cubicBezTo>
                  <a:cubicBezTo>
                    <a:pt x="440" y="39"/>
                    <a:pt x="440" y="39"/>
                    <a:pt x="440" y="39"/>
                  </a:cubicBezTo>
                  <a:lnTo>
                    <a:pt x="431" y="39"/>
                  </a:lnTo>
                  <a:close/>
                  <a:moveTo>
                    <a:pt x="465" y="52"/>
                  </a:moveTo>
                  <a:cubicBezTo>
                    <a:pt x="475" y="52"/>
                    <a:pt x="475" y="52"/>
                    <a:pt x="475" y="52"/>
                  </a:cubicBezTo>
                  <a:cubicBezTo>
                    <a:pt x="475" y="13"/>
                    <a:pt x="475" y="13"/>
                    <a:pt x="475" y="13"/>
                  </a:cubicBezTo>
                  <a:cubicBezTo>
                    <a:pt x="465" y="13"/>
                    <a:pt x="465" y="13"/>
                    <a:pt x="465" y="13"/>
                  </a:cubicBezTo>
                  <a:lnTo>
                    <a:pt x="465" y="52"/>
                  </a:lnTo>
                  <a:close/>
                  <a:moveTo>
                    <a:pt x="465" y="9"/>
                  </a:moveTo>
                  <a:cubicBezTo>
                    <a:pt x="475" y="9"/>
                    <a:pt x="475" y="9"/>
                    <a:pt x="475" y="9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465" y="9"/>
                  </a:lnTo>
                  <a:close/>
                  <a:moveTo>
                    <a:pt x="482" y="52"/>
                  </a:moveTo>
                  <a:cubicBezTo>
                    <a:pt x="491" y="52"/>
                    <a:pt x="491" y="52"/>
                    <a:pt x="491" y="52"/>
                  </a:cubicBezTo>
                  <a:cubicBezTo>
                    <a:pt x="491" y="26"/>
                    <a:pt x="491" y="26"/>
                    <a:pt x="491" y="26"/>
                  </a:cubicBezTo>
                  <a:cubicBezTo>
                    <a:pt x="491" y="22"/>
                    <a:pt x="493" y="20"/>
                    <a:pt x="497" y="20"/>
                  </a:cubicBezTo>
                  <a:cubicBezTo>
                    <a:pt x="500" y="20"/>
                    <a:pt x="501" y="21"/>
                    <a:pt x="501" y="25"/>
                  </a:cubicBezTo>
                  <a:cubicBezTo>
                    <a:pt x="501" y="52"/>
                    <a:pt x="501" y="52"/>
                    <a:pt x="501" y="52"/>
                  </a:cubicBezTo>
                  <a:cubicBezTo>
                    <a:pt x="511" y="52"/>
                    <a:pt x="511" y="52"/>
                    <a:pt x="511" y="52"/>
                  </a:cubicBezTo>
                  <a:cubicBezTo>
                    <a:pt x="511" y="23"/>
                    <a:pt x="511" y="23"/>
                    <a:pt x="511" y="23"/>
                  </a:cubicBezTo>
                  <a:cubicBezTo>
                    <a:pt x="511" y="16"/>
                    <a:pt x="507" y="12"/>
                    <a:pt x="501" y="12"/>
                  </a:cubicBezTo>
                  <a:cubicBezTo>
                    <a:pt x="497" y="12"/>
                    <a:pt x="493" y="14"/>
                    <a:pt x="491" y="18"/>
                  </a:cubicBezTo>
                  <a:cubicBezTo>
                    <a:pt x="491" y="18"/>
                    <a:pt x="491" y="18"/>
                    <a:pt x="491" y="18"/>
                  </a:cubicBezTo>
                  <a:cubicBezTo>
                    <a:pt x="491" y="13"/>
                    <a:pt x="491" y="13"/>
                    <a:pt x="491" y="13"/>
                  </a:cubicBezTo>
                  <a:cubicBezTo>
                    <a:pt x="482" y="13"/>
                    <a:pt x="482" y="13"/>
                    <a:pt x="482" y="13"/>
                  </a:cubicBezTo>
                  <a:lnTo>
                    <a:pt x="482" y="52"/>
                  </a:lnTo>
                  <a:close/>
                  <a:moveTo>
                    <a:pt x="537" y="13"/>
                  </a:moveTo>
                  <a:cubicBezTo>
                    <a:pt x="537" y="18"/>
                    <a:pt x="537" y="18"/>
                    <a:pt x="537" y="18"/>
                  </a:cubicBezTo>
                  <a:cubicBezTo>
                    <a:pt x="536" y="18"/>
                    <a:pt x="536" y="18"/>
                    <a:pt x="536" y="18"/>
                  </a:cubicBezTo>
                  <a:cubicBezTo>
                    <a:pt x="535" y="14"/>
                    <a:pt x="531" y="12"/>
                    <a:pt x="528" y="12"/>
                  </a:cubicBezTo>
                  <a:cubicBezTo>
                    <a:pt x="518" y="12"/>
                    <a:pt x="516" y="23"/>
                    <a:pt x="516" y="32"/>
                  </a:cubicBezTo>
                  <a:cubicBezTo>
                    <a:pt x="516" y="46"/>
                    <a:pt x="520" y="51"/>
                    <a:pt x="528" y="51"/>
                  </a:cubicBezTo>
                  <a:cubicBezTo>
                    <a:pt x="531" y="51"/>
                    <a:pt x="534" y="49"/>
                    <a:pt x="536" y="47"/>
                  </a:cubicBezTo>
                  <a:cubicBezTo>
                    <a:pt x="537" y="47"/>
                    <a:pt x="537" y="47"/>
                    <a:pt x="537" y="47"/>
                  </a:cubicBezTo>
                  <a:cubicBezTo>
                    <a:pt x="537" y="52"/>
                    <a:pt x="537" y="52"/>
                    <a:pt x="537" y="52"/>
                  </a:cubicBezTo>
                  <a:cubicBezTo>
                    <a:pt x="537" y="56"/>
                    <a:pt x="535" y="59"/>
                    <a:pt x="531" y="59"/>
                  </a:cubicBezTo>
                  <a:cubicBezTo>
                    <a:pt x="530" y="59"/>
                    <a:pt x="529" y="58"/>
                    <a:pt x="528" y="58"/>
                  </a:cubicBezTo>
                  <a:cubicBezTo>
                    <a:pt x="527" y="57"/>
                    <a:pt x="526" y="56"/>
                    <a:pt x="526" y="55"/>
                  </a:cubicBezTo>
                  <a:cubicBezTo>
                    <a:pt x="517" y="55"/>
                    <a:pt x="517" y="55"/>
                    <a:pt x="517" y="55"/>
                  </a:cubicBezTo>
                  <a:cubicBezTo>
                    <a:pt x="517" y="61"/>
                    <a:pt x="522" y="65"/>
                    <a:pt x="530" y="65"/>
                  </a:cubicBezTo>
                  <a:cubicBezTo>
                    <a:pt x="541" y="65"/>
                    <a:pt x="546" y="60"/>
                    <a:pt x="546" y="50"/>
                  </a:cubicBezTo>
                  <a:cubicBezTo>
                    <a:pt x="546" y="13"/>
                    <a:pt x="546" y="13"/>
                    <a:pt x="546" y="13"/>
                  </a:cubicBezTo>
                  <a:lnTo>
                    <a:pt x="537" y="13"/>
                  </a:lnTo>
                  <a:close/>
                  <a:moveTo>
                    <a:pt x="526" y="34"/>
                  </a:moveTo>
                  <a:cubicBezTo>
                    <a:pt x="526" y="23"/>
                    <a:pt x="527" y="20"/>
                    <a:pt x="531" y="20"/>
                  </a:cubicBezTo>
                  <a:cubicBezTo>
                    <a:pt x="535" y="20"/>
                    <a:pt x="537" y="23"/>
                    <a:pt x="537" y="33"/>
                  </a:cubicBezTo>
                  <a:cubicBezTo>
                    <a:pt x="537" y="39"/>
                    <a:pt x="535" y="44"/>
                    <a:pt x="531" y="44"/>
                  </a:cubicBezTo>
                  <a:cubicBezTo>
                    <a:pt x="527" y="44"/>
                    <a:pt x="526" y="39"/>
                    <a:pt x="526" y="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34" name="Group 171"/>
          <p:cNvGrpSpPr>
            <a:grpSpLocks noChangeAspect="1"/>
          </p:cNvGrpSpPr>
          <p:nvPr/>
        </p:nvGrpSpPr>
        <p:grpSpPr bwMode="auto">
          <a:xfrm>
            <a:off x="10607321" y="453498"/>
            <a:ext cx="1410401" cy="613302"/>
            <a:chOff x="3112" y="1843"/>
            <a:chExt cx="1458" cy="634"/>
          </a:xfrm>
          <a:solidFill>
            <a:schemeClr val="bg1"/>
          </a:solidFill>
        </p:grpSpPr>
        <p:sp>
          <p:nvSpPr>
            <p:cNvPr id="1136" name="Rectangle 172"/>
            <p:cNvSpPr>
              <a:spLocks noChangeArrowheads="1"/>
            </p:cNvSpPr>
            <p:nvPr/>
          </p:nvSpPr>
          <p:spPr bwMode="auto">
            <a:xfrm>
              <a:off x="3525" y="2086"/>
              <a:ext cx="119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7" name="Rectangle 173"/>
            <p:cNvSpPr>
              <a:spLocks noChangeArrowheads="1"/>
            </p:cNvSpPr>
            <p:nvPr/>
          </p:nvSpPr>
          <p:spPr bwMode="auto">
            <a:xfrm>
              <a:off x="3525" y="2107"/>
              <a:ext cx="119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8" name="Rectangle 174"/>
            <p:cNvSpPr>
              <a:spLocks noChangeArrowheads="1"/>
            </p:cNvSpPr>
            <p:nvPr/>
          </p:nvSpPr>
          <p:spPr bwMode="auto">
            <a:xfrm>
              <a:off x="3525" y="2129"/>
              <a:ext cx="119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9" name="Freeform 175"/>
            <p:cNvSpPr>
              <a:spLocks noEditPoints="1"/>
            </p:cNvSpPr>
            <p:nvPr/>
          </p:nvSpPr>
          <p:spPr bwMode="auto">
            <a:xfrm>
              <a:off x="3136" y="1952"/>
              <a:ext cx="895" cy="406"/>
            </a:xfrm>
            <a:custGeom>
              <a:avLst/>
              <a:gdLst>
                <a:gd name="T0" fmla="*/ 346 w 377"/>
                <a:gd name="T1" fmla="*/ 31 h 170"/>
                <a:gd name="T2" fmla="*/ 292 w 377"/>
                <a:gd name="T3" fmla="*/ 8 h 170"/>
                <a:gd name="T4" fmla="*/ 237 w 377"/>
                <a:gd name="T5" fmla="*/ 31 h 170"/>
                <a:gd name="T6" fmla="*/ 215 w 377"/>
                <a:gd name="T7" fmla="*/ 85 h 170"/>
                <a:gd name="T8" fmla="*/ 237 w 377"/>
                <a:gd name="T9" fmla="*/ 140 h 170"/>
                <a:gd name="T10" fmla="*/ 292 w 377"/>
                <a:gd name="T11" fmla="*/ 162 h 170"/>
                <a:gd name="T12" fmla="*/ 346 w 377"/>
                <a:gd name="T13" fmla="*/ 140 h 170"/>
                <a:gd name="T14" fmla="*/ 369 w 377"/>
                <a:gd name="T15" fmla="*/ 85 h 170"/>
                <a:gd name="T16" fmla="*/ 346 w 377"/>
                <a:gd name="T17" fmla="*/ 31 h 170"/>
                <a:gd name="T18" fmla="*/ 292 w 377"/>
                <a:gd name="T19" fmla="*/ 0 h 170"/>
                <a:gd name="T20" fmla="*/ 352 w 377"/>
                <a:gd name="T21" fmla="*/ 25 h 170"/>
                <a:gd name="T22" fmla="*/ 377 w 377"/>
                <a:gd name="T23" fmla="*/ 85 h 170"/>
                <a:gd name="T24" fmla="*/ 352 w 377"/>
                <a:gd name="T25" fmla="*/ 145 h 170"/>
                <a:gd name="T26" fmla="*/ 292 w 377"/>
                <a:gd name="T27" fmla="*/ 170 h 170"/>
                <a:gd name="T28" fmla="*/ 232 w 377"/>
                <a:gd name="T29" fmla="*/ 145 h 170"/>
                <a:gd name="T30" fmla="*/ 207 w 377"/>
                <a:gd name="T31" fmla="*/ 85 h 170"/>
                <a:gd name="T32" fmla="*/ 232 w 377"/>
                <a:gd name="T33" fmla="*/ 25 h 170"/>
                <a:gd name="T34" fmla="*/ 292 w 377"/>
                <a:gd name="T35" fmla="*/ 0 h 170"/>
                <a:gd name="T36" fmla="*/ 139 w 377"/>
                <a:gd name="T37" fmla="*/ 31 h 170"/>
                <a:gd name="T38" fmla="*/ 85 w 377"/>
                <a:gd name="T39" fmla="*/ 8 h 170"/>
                <a:gd name="T40" fmla="*/ 30 w 377"/>
                <a:gd name="T41" fmla="*/ 31 h 170"/>
                <a:gd name="T42" fmla="*/ 8 w 377"/>
                <a:gd name="T43" fmla="*/ 85 h 170"/>
                <a:gd name="T44" fmla="*/ 30 w 377"/>
                <a:gd name="T45" fmla="*/ 140 h 170"/>
                <a:gd name="T46" fmla="*/ 85 w 377"/>
                <a:gd name="T47" fmla="*/ 162 h 170"/>
                <a:gd name="T48" fmla="*/ 139 w 377"/>
                <a:gd name="T49" fmla="*/ 140 h 170"/>
                <a:gd name="T50" fmla="*/ 162 w 377"/>
                <a:gd name="T51" fmla="*/ 85 h 170"/>
                <a:gd name="T52" fmla="*/ 139 w 377"/>
                <a:gd name="T53" fmla="*/ 31 h 170"/>
                <a:gd name="T54" fmla="*/ 85 w 377"/>
                <a:gd name="T55" fmla="*/ 0 h 170"/>
                <a:gd name="T56" fmla="*/ 145 w 377"/>
                <a:gd name="T57" fmla="*/ 25 h 170"/>
                <a:gd name="T58" fmla="*/ 170 w 377"/>
                <a:gd name="T59" fmla="*/ 85 h 170"/>
                <a:gd name="T60" fmla="*/ 145 w 377"/>
                <a:gd name="T61" fmla="*/ 145 h 170"/>
                <a:gd name="T62" fmla="*/ 85 w 377"/>
                <a:gd name="T63" fmla="*/ 170 h 170"/>
                <a:gd name="T64" fmla="*/ 25 w 377"/>
                <a:gd name="T65" fmla="*/ 145 h 170"/>
                <a:gd name="T66" fmla="*/ 0 w 377"/>
                <a:gd name="T67" fmla="*/ 85 h 170"/>
                <a:gd name="T68" fmla="*/ 25 w 377"/>
                <a:gd name="T69" fmla="*/ 25 h 170"/>
                <a:gd name="T70" fmla="*/ 85 w 377"/>
                <a:gd name="T7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7" h="170">
                  <a:moveTo>
                    <a:pt x="346" y="31"/>
                  </a:moveTo>
                  <a:cubicBezTo>
                    <a:pt x="332" y="17"/>
                    <a:pt x="313" y="8"/>
                    <a:pt x="292" y="8"/>
                  </a:cubicBezTo>
                  <a:cubicBezTo>
                    <a:pt x="271" y="8"/>
                    <a:pt x="251" y="17"/>
                    <a:pt x="237" y="31"/>
                  </a:cubicBezTo>
                  <a:cubicBezTo>
                    <a:pt x="223" y="45"/>
                    <a:pt x="215" y="64"/>
                    <a:pt x="215" y="85"/>
                  </a:cubicBezTo>
                  <a:cubicBezTo>
                    <a:pt x="215" y="106"/>
                    <a:pt x="223" y="126"/>
                    <a:pt x="237" y="140"/>
                  </a:cubicBezTo>
                  <a:cubicBezTo>
                    <a:pt x="251" y="154"/>
                    <a:pt x="271" y="162"/>
                    <a:pt x="292" y="162"/>
                  </a:cubicBezTo>
                  <a:cubicBezTo>
                    <a:pt x="313" y="162"/>
                    <a:pt x="332" y="154"/>
                    <a:pt x="346" y="140"/>
                  </a:cubicBezTo>
                  <a:cubicBezTo>
                    <a:pt x="360" y="126"/>
                    <a:pt x="369" y="106"/>
                    <a:pt x="369" y="85"/>
                  </a:cubicBezTo>
                  <a:cubicBezTo>
                    <a:pt x="369" y="64"/>
                    <a:pt x="360" y="45"/>
                    <a:pt x="346" y="31"/>
                  </a:cubicBezTo>
                  <a:moveTo>
                    <a:pt x="292" y="0"/>
                  </a:moveTo>
                  <a:cubicBezTo>
                    <a:pt x="315" y="0"/>
                    <a:pt x="337" y="10"/>
                    <a:pt x="352" y="25"/>
                  </a:cubicBezTo>
                  <a:cubicBezTo>
                    <a:pt x="367" y="40"/>
                    <a:pt x="377" y="62"/>
                    <a:pt x="377" y="85"/>
                  </a:cubicBezTo>
                  <a:cubicBezTo>
                    <a:pt x="377" y="109"/>
                    <a:pt x="367" y="130"/>
                    <a:pt x="352" y="145"/>
                  </a:cubicBezTo>
                  <a:cubicBezTo>
                    <a:pt x="337" y="161"/>
                    <a:pt x="315" y="170"/>
                    <a:pt x="292" y="170"/>
                  </a:cubicBezTo>
                  <a:cubicBezTo>
                    <a:pt x="268" y="170"/>
                    <a:pt x="247" y="161"/>
                    <a:pt x="232" y="145"/>
                  </a:cubicBezTo>
                  <a:cubicBezTo>
                    <a:pt x="216" y="130"/>
                    <a:pt x="207" y="109"/>
                    <a:pt x="207" y="85"/>
                  </a:cubicBezTo>
                  <a:cubicBezTo>
                    <a:pt x="207" y="62"/>
                    <a:pt x="216" y="40"/>
                    <a:pt x="232" y="25"/>
                  </a:cubicBezTo>
                  <a:cubicBezTo>
                    <a:pt x="247" y="10"/>
                    <a:pt x="268" y="0"/>
                    <a:pt x="292" y="0"/>
                  </a:cubicBezTo>
                  <a:moveTo>
                    <a:pt x="139" y="31"/>
                  </a:moveTo>
                  <a:cubicBezTo>
                    <a:pt x="125" y="17"/>
                    <a:pt x="106" y="8"/>
                    <a:pt x="85" y="8"/>
                  </a:cubicBezTo>
                  <a:cubicBezTo>
                    <a:pt x="64" y="8"/>
                    <a:pt x="44" y="17"/>
                    <a:pt x="30" y="31"/>
                  </a:cubicBezTo>
                  <a:cubicBezTo>
                    <a:pt x="16" y="45"/>
                    <a:pt x="8" y="64"/>
                    <a:pt x="8" y="85"/>
                  </a:cubicBezTo>
                  <a:cubicBezTo>
                    <a:pt x="8" y="106"/>
                    <a:pt x="16" y="126"/>
                    <a:pt x="30" y="140"/>
                  </a:cubicBezTo>
                  <a:cubicBezTo>
                    <a:pt x="44" y="154"/>
                    <a:pt x="64" y="162"/>
                    <a:pt x="85" y="162"/>
                  </a:cubicBezTo>
                  <a:cubicBezTo>
                    <a:pt x="106" y="162"/>
                    <a:pt x="125" y="154"/>
                    <a:pt x="139" y="140"/>
                  </a:cubicBezTo>
                  <a:cubicBezTo>
                    <a:pt x="153" y="126"/>
                    <a:pt x="162" y="106"/>
                    <a:pt x="162" y="85"/>
                  </a:cubicBezTo>
                  <a:cubicBezTo>
                    <a:pt x="162" y="64"/>
                    <a:pt x="153" y="45"/>
                    <a:pt x="139" y="31"/>
                  </a:cubicBezTo>
                  <a:moveTo>
                    <a:pt x="85" y="0"/>
                  </a:moveTo>
                  <a:cubicBezTo>
                    <a:pt x="108" y="0"/>
                    <a:pt x="130" y="10"/>
                    <a:pt x="145" y="25"/>
                  </a:cubicBezTo>
                  <a:cubicBezTo>
                    <a:pt x="160" y="40"/>
                    <a:pt x="170" y="62"/>
                    <a:pt x="170" y="85"/>
                  </a:cubicBezTo>
                  <a:cubicBezTo>
                    <a:pt x="170" y="109"/>
                    <a:pt x="160" y="130"/>
                    <a:pt x="145" y="145"/>
                  </a:cubicBezTo>
                  <a:cubicBezTo>
                    <a:pt x="130" y="161"/>
                    <a:pt x="108" y="170"/>
                    <a:pt x="85" y="170"/>
                  </a:cubicBezTo>
                  <a:cubicBezTo>
                    <a:pt x="61" y="170"/>
                    <a:pt x="40" y="161"/>
                    <a:pt x="25" y="145"/>
                  </a:cubicBezTo>
                  <a:cubicBezTo>
                    <a:pt x="9" y="130"/>
                    <a:pt x="0" y="109"/>
                    <a:pt x="0" y="85"/>
                  </a:cubicBezTo>
                  <a:cubicBezTo>
                    <a:pt x="0" y="62"/>
                    <a:pt x="9" y="40"/>
                    <a:pt x="25" y="25"/>
                  </a:cubicBezTo>
                  <a:cubicBezTo>
                    <a:pt x="40" y="10"/>
                    <a:pt x="61" y="0"/>
                    <a:pt x="8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0" name="Freeform 176"/>
            <p:cNvSpPr>
              <a:spLocks noEditPoints="1"/>
            </p:cNvSpPr>
            <p:nvPr/>
          </p:nvSpPr>
          <p:spPr bwMode="auto">
            <a:xfrm>
              <a:off x="3112" y="1843"/>
              <a:ext cx="1458" cy="305"/>
            </a:xfrm>
            <a:custGeom>
              <a:avLst/>
              <a:gdLst>
                <a:gd name="T0" fmla="*/ 371 w 614"/>
                <a:gd name="T1" fmla="*/ 127 h 128"/>
                <a:gd name="T2" fmla="*/ 366 w 614"/>
                <a:gd name="T3" fmla="*/ 125 h 128"/>
                <a:gd name="T4" fmla="*/ 368 w 614"/>
                <a:gd name="T5" fmla="*/ 120 h 128"/>
                <a:gd name="T6" fmla="*/ 541 w 614"/>
                <a:gd name="T7" fmla="*/ 40 h 128"/>
                <a:gd name="T8" fmla="*/ 541 w 614"/>
                <a:gd name="T9" fmla="*/ 40 h 128"/>
                <a:gd name="T10" fmla="*/ 589 w 614"/>
                <a:gd name="T11" fmla="*/ 38 h 128"/>
                <a:gd name="T12" fmla="*/ 607 w 614"/>
                <a:gd name="T13" fmla="*/ 51 h 128"/>
                <a:gd name="T14" fmla="*/ 614 w 614"/>
                <a:gd name="T15" fmla="*/ 73 h 128"/>
                <a:gd name="T16" fmla="*/ 596 w 614"/>
                <a:gd name="T17" fmla="*/ 113 h 128"/>
                <a:gd name="T18" fmla="*/ 590 w 614"/>
                <a:gd name="T19" fmla="*/ 114 h 128"/>
                <a:gd name="T20" fmla="*/ 590 w 614"/>
                <a:gd name="T21" fmla="*/ 108 h 128"/>
                <a:gd name="T22" fmla="*/ 606 w 614"/>
                <a:gd name="T23" fmla="*/ 73 h 128"/>
                <a:gd name="T24" fmla="*/ 601 w 614"/>
                <a:gd name="T25" fmla="*/ 56 h 128"/>
                <a:gd name="T26" fmla="*/ 586 w 614"/>
                <a:gd name="T27" fmla="*/ 45 h 128"/>
                <a:gd name="T28" fmla="*/ 544 w 614"/>
                <a:gd name="T29" fmla="*/ 48 h 128"/>
                <a:gd name="T30" fmla="*/ 371 w 614"/>
                <a:gd name="T31" fmla="*/ 127 h 128"/>
                <a:gd name="T32" fmla="*/ 6 w 614"/>
                <a:gd name="T33" fmla="*/ 127 h 128"/>
                <a:gd name="T34" fmla="*/ 1 w 614"/>
                <a:gd name="T35" fmla="*/ 125 h 128"/>
                <a:gd name="T36" fmla="*/ 3 w 614"/>
                <a:gd name="T37" fmla="*/ 119 h 128"/>
                <a:gd name="T38" fmla="*/ 246 w 614"/>
                <a:gd name="T39" fmla="*/ 7 h 128"/>
                <a:gd name="T40" fmla="*/ 246 w 614"/>
                <a:gd name="T41" fmla="*/ 7 h 128"/>
                <a:gd name="T42" fmla="*/ 293 w 614"/>
                <a:gd name="T43" fmla="*/ 5 h 128"/>
                <a:gd name="T44" fmla="*/ 312 w 614"/>
                <a:gd name="T45" fmla="*/ 18 h 128"/>
                <a:gd name="T46" fmla="*/ 319 w 614"/>
                <a:gd name="T47" fmla="*/ 40 h 128"/>
                <a:gd name="T48" fmla="*/ 300 w 614"/>
                <a:gd name="T49" fmla="*/ 80 h 128"/>
                <a:gd name="T50" fmla="*/ 295 w 614"/>
                <a:gd name="T51" fmla="*/ 81 h 128"/>
                <a:gd name="T52" fmla="*/ 294 w 614"/>
                <a:gd name="T53" fmla="*/ 75 h 128"/>
                <a:gd name="T54" fmla="*/ 311 w 614"/>
                <a:gd name="T55" fmla="*/ 40 h 128"/>
                <a:gd name="T56" fmla="*/ 306 w 614"/>
                <a:gd name="T57" fmla="*/ 23 h 128"/>
                <a:gd name="T58" fmla="*/ 291 w 614"/>
                <a:gd name="T59" fmla="*/ 12 h 128"/>
                <a:gd name="T60" fmla="*/ 249 w 614"/>
                <a:gd name="T61" fmla="*/ 15 h 128"/>
                <a:gd name="T62" fmla="*/ 249 w 614"/>
                <a:gd name="T63" fmla="*/ 15 h 128"/>
                <a:gd name="T64" fmla="*/ 6 w 614"/>
                <a:gd name="T65" fmla="*/ 12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4" h="128">
                  <a:moveTo>
                    <a:pt x="371" y="127"/>
                  </a:moveTo>
                  <a:cubicBezTo>
                    <a:pt x="369" y="128"/>
                    <a:pt x="367" y="127"/>
                    <a:pt x="366" y="125"/>
                  </a:cubicBezTo>
                  <a:cubicBezTo>
                    <a:pt x="365" y="123"/>
                    <a:pt x="366" y="121"/>
                    <a:pt x="368" y="120"/>
                  </a:cubicBezTo>
                  <a:cubicBezTo>
                    <a:pt x="541" y="40"/>
                    <a:pt x="541" y="40"/>
                    <a:pt x="541" y="40"/>
                  </a:cubicBezTo>
                  <a:cubicBezTo>
                    <a:pt x="541" y="40"/>
                    <a:pt x="541" y="40"/>
                    <a:pt x="541" y="40"/>
                  </a:cubicBezTo>
                  <a:cubicBezTo>
                    <a:pt x="559" y="33"/>
                    <a:pt x="576" y="33"/>
                    <a:pt x="589" y="38"/>
                  </a:cubicBezTo>
                  <a:cubicBezTo>
                    <a:pt x="596" y="41"/>
                    <a:pt x="603" y="45"/>
                    <a:pt x="607" y="51"/>
                  </a:cubicBezTo>
                  <a:cubicBezTo>
                    <a:pt x="612" y="57"/>
                    <a:pt x="614" y="64"/>
                    <a:pt x="614" y="73"/>
                  </a:cubicBezTo>
                  <a:cubicBezTo>
                    <a:pt x="614" y="85"/>
                    <a:pt x="609" y="99"/>
                    <a:pt x="596" y="113"/>
                  </a:cubicBezTo>
                  <a:cubicBezTo>
                    <a:pt x="594" y="115"/>
                    <a:pt x="592" y="115"/>
                    <a:pt x="590" y="114"/>
                  </a:cubicBezTo>
                  <a:cubicBezTo>
                    <a:pt x="588" y="112"/>
                    <a:pt x="588" y="110"/>
                    <a:pt x="590" y="108"/>
                  </a:cubicBezTo>
                  <a:cubicBezTo>
                    <a:pt x="601" y="95"/>
                    <a:pt x="606" y="83"/>
                    <a:pt x="606" y="73"/>
                  </a:cubicBezTo>
                  <a:cubicBezTo>
                    <a:pt x="606" y="66"/>
                    <a:pt x="604" y="61"/>
                    <a:pt x="601" y="56"/>
                  </a:cubicBezTo>
                  <a:cubicBezTo>
                    <a:pt x="597" y="51"/>
                    <a:pt x="592" y="48"/>
                    <a:pt x="586" y="45"/>
                  </a:cubicBezTo>
                  <a:cubicBezTo>
                    <a:pt x="575" y="41"/>
                    <a:pt x="560" y="41"/>
                    <a:pt x="544" y="48"/>
                  </a:cubicBezTo>
                  <a:lnTo>
                    <a:pt x="371" y="127"/>
                  </a:lnTo>
                  <a:close/>
                  <a:moveTo>
                    <a:pt x="6" y="127"/>
                  </a:moveTo>
                  <a:cubicBezTo>
                    <a:pt x="4" y="127"/>
                    <a:pt x="2" y="127"/>
                    <a:pt x="1" y="125"/>
                  </a:cubicBezTo>
                  <a:cubicBezTo>
                    <a:pt x="0" y="123"/>
                    <a:pt x="1" y="120"/>
                    <a:pt x="3" y="119"/>
                  </a:cubicBezTo>
                  <a:cubicBezTo>
                    <a:pt x="246" y="7"/>
                    <a:pt x="246" y="7"/>
                    <a:pt x="246" y="7"/>
                  </a:cubicBezTo>
                  <a:cubicBezTo>
                    <a:pt x="246" y="7"/>
                    <a:pt x="246" y="7"/>
                    <a:pt x="246" y="7"/>
                  </a:cubicBezTo>
                  <a:cubicBezTo>
                    <a:pt x="264" y="0"/>
                    <a:pt x="281" y="0"/>
                    <a:pt x="293" y="5"/>
                  </a:cubicBezTo>
                  <a:cubicBezTo>
                    <a:pt x="301" y="8"/>
                    <a:pt x="307" y="12"/>
                    <a:pt x="312" y="18"/>
                  </a:cubicBezTo>
                  <a:cubicBezTo>
                    <a:pt x="316" y="24"/>
                    <a:pt x="319" y="31"/>
                    <a:pt x="319" y="40"/>
                  </a:cubicBezTo>
                  <a:cubicBezTo>
                    <a:pt x="319" y="52"/>
                    <a:pt x="313" y="66"/>
                    <a:pt x="300" y="80"/>
                  </a:cubicBezTo>
                  <a:cubicBezTo>
                    <a:pt x="299" y="82"/>
                    <a:pt x="296" y="82"/>
                    <a:pt x="295" y="81"/>
                  </a:cubicBezTo>
                  <a:cubicBezTo>
                    <a:pt x="293" y="79"/>
                    <a:pt x="293" y="77"/>
                    <a:pt x="294" y="75"/>
                  </a:cubicBezTo>
                  <a:cubicBezTo>
                    <a:pt x="306" y="62"/>
                    <a:pt x="311" y="50"/>
                    <a:pt x="311" y="40"/>
                  </a:cubicBezTo>
                  <a:cubicBezTo>
                    <a:pt x="311" y="33"/>
                    <a:pt x="309" y="28"/>
                    <a:pt x="306" y="23"/>
                  </a:cubicBezTo>
                  <a:cubicBezTo>
                    <a:pt x="302" y="18"/>
                    <a:pt x="297" y="15"/>
                    <a:pt x="291" y="12"/>
                  </a:cubicBezTo>
                  <a:cubicBezTo>
                    <a:pt x="280" y="8"/>
                    <a:pt x="265" y="8"/>
                    <a:pt x="249" y="15"/>
                  </a:cubicBezTo>
                  <a:cubicBezTo>
                    <a:pt x="249" y="15"/>
                    <a:pt x="249" y="15"/>
                    <a:pt x="249" y="15"/>
                  </a:cubicBezTo>
                  <a:lnTo>
                    <a:pt x="6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1" name="Freeform 177"/>
            <p:cNvSpPr>
              <a:spLocks noEditPoints="1"/>
            </p:cNvSpPr>
            <p:nvPr/>
          </p:nvSpPr>
          <p:spPr bwMode="auto">
            <a:xfrm>
              <a:off x="3167" y="2387"/>
              <a:ext cx="833" cy="90"/>
            </a:xfrm>
            <a:custGeom>
              <a:avLst/>
              <a:gdLst>
                <a:gd name="T0" fmla="*/ 348 w 351"/>
                <a:gd name="T1" fmla="*/ 34 h 38"/>
                <a:gd name="T2" fmla="*/ 341 w 351"/>
                <a:gd name="T3" fmla="*/ 19 h 38"/>
                <a:gd name="T4" fmla="*/ 327 w 351"/>
                <a:gd name="T5" fmla="*/ 10 h 38"/>
                <a:gd name="T6" fmla="*/ 324 w 351"/>
                <a:gd name="T7" fmla="*/ 3 h 38"/>
                <a:gd name="T8" fmla="*/ 330 w 351"/>
                <a:gd name="T9" fmla="*/ 36 h 38"/>
                <a:gd name="T10" fmla="*/ 322 w 351"/>
                <a:gd name="T11" fmla="*/ 36 h 38"/>
                <a:gd name="T12" fmla="*/ 311 w 351"/>
                <a:gd name="T13" fmla="*/ 21 h 38"/>
                <a:gd name="T14" fmla="*/ 298 w 351"/>
                <a:gd name="T15" fmla="*/ 19 h 38"/>
                <a:gd name="T16" fmla="*/ 307 w 351"/>
                <a:gd name="T17" fmla="*/ 22 h 38"/>
                <a:gd name="T18" fmla="*/ 303 w 351"/>
                <a:gd name="T19" fmla="*/ 15 h 38"/>
                <a:gd name="T20" fmla="*/ 312 w 351"/>
                <a:gd name="T21" fmla="*/ 20 h 38"/>
                <a:gd name="T22" fmla="*/ 318 w 351"/>
                <a:gd name="T23" fmla="*/ 21 h 38"/>
                <a:gd name="T24" fmla="*/ 278 w 351"/>
                <a:gd name="T25" fmla="*/ 36 h 38"/>
                <a:gd name="T26" fmla="*/ 266 w 351"/>
                <a:gd name="T27" fmla="*/ 7 h 38"/>
                <a:gd name="T28" fmla="*/ 265 w 351"/>
                <a:gd name="T29" fmla="*/ 2 h 38"/>
                <a:gd name="T30" fmla="*/ 263 w 351"/>
                <a:gd name="T31" fmla="*/ 13 h 38"/>
                <a:gd name="T32" fmla="*/ 265 w 351"/>
                <a:gd name="T33" fmla="*/ 31 h 38"/>
                <a:gd name="T34" fmla="*/ 263 w 351"/>
                <a:gd name="T35" fmla="*/ 24 h 38"/>
                <a:gd name="T36" fmla="*/ 251 w 351"/>
                <a:gd name="T37" fmla="*/ 19 h 38"/>
                <a:gd name="T38" fmla="*/ 253 w 351"/>
                <a:gd name="T39" fmla="*/ 20 h 38"/>
                <a:gd name="T40" fmla="*/ 249 w 351"/>
                <a:gd name="T41" fmla="*/ 13 h 38"/>
                <a:gd name="T42" fmla="*/ 223 w 351"/>
                <a:gd name="T43" fmla="*/ 13 h 38"/>
                <a:gd name="T44" fmla="*/ 210 w 351"/>
                <a:gd name="T45" fmla="*/ 20 h 38"/>
                <a:gd name="T46" fmla="*/ 208 w 351"/>
                <a:gd name="T47" fmla="*/ 30 h 38"/>
                <a:gd name="T48" fmla="*/ 204 w 351"/>
                <a:gd name="T49" fmla="*/ 13 h 38"/>
                <a:gd name="T50" fmla="*/ 197 w 351"/>
                <a:gd name="T51" fmla="*/ 13 h 38"/>
                <a:gd name="T52" fmla="*/ 188 w 351"/>
                <a:gd name="T53" fmla="*/ 26 h 38"/>
                <a:gd name="T54" fmla="*/ 197 w 351"/>
                <a:gd name="T55" fmla="*/ 20 h 38"/>
                <a:gd name="T56" fmla="*/ 205 w 351"/>
                <a:gd name="T57" fmla="*/ 13 h 38"/>
                <a:gd name="T58" fmla="*/ 185 w 351"/>
                <a:gd name="T59" fmla="*/ 25 h 38"/>
                <a:gd name="T60" fmla="*/ 186 w 351"/>
                <a:gd name="T61" fmla="*/ 26 h 38"/>
                <a:gd name="T62" fmla="*/ 171 w 351"/>
                <a:gd name="T63" fmla="*/ 20 h 38"/>
                <a:gd name="T64" fmla="*/ 176 w 351"/>
                <a:gd name="T65" fmla="*/ 26 h 38"/>
                <a:gd name="T66" fmla="*/ 184 w 351"/>
                <a:gd name="T67" fmla="*/ 13 h 38"/>
                <a:gd name="T68" fmla="*/ 163 w 351"/>
                <a:gd name="T69" fmla="*/ 27 h 38"/>
                <a:gd name="T70" fmla="*/ 161 w 351"/>
                <a:gd name="T71" fmla="*/ 16 h 38"/>
                <a:gd name="T72" fmla="*/ 163 w 351"/>
                <a:gd name="T73" fmla="*/ 24 h 38"/>
                <a:gd name="T74" fmla="*/ 152 w 351"/>
                <a:gd name="T75" fmla="*/ 23 h 38"/>
                <a:gd name="T76" fmla="*/ 148 w 351"/>
                <a:gd name="T77" fmla="*/ 32 h 38"/>
                <a:gd name="T78" fmla="*/ 139 w 351"/>
                <a:gd name="T79" fmla="*/ 20 h 38"/>
                <a:gd name="T80" fmla="*/ 147 w 351"/>
                <a:gd name="T81" fmla="*/ 20 h 38"/>
                <a:gd name="T82" fmla="*/ 115 w 351"/>
                <a:gd name="T83" fmla="*/ 21 h 38"/>
                <a:gd name="T84" fmla="*/ 103 w 351"/>
                <a:gd name="T85" fmla="*/ 25 h 38"/>
                <a:gd name="T86" fmla="*/ 101 w 351"/>
                <a:gd name="T87" fmla="*/ 13 h 38"/>
                <a:gd name="T88" fmla="*/ 92 w 351"/>
                <a:gd name="T89" fmla="*/ 27 h 38"/>
                <a:gd name="T90" fmla="*/ 97 w 351"/>
                <a:gd name="T91" fmla="*/ 25 h 38"/>
                <a:gd name="T92" fmla="*/ 84 w 351"/>
                <a:gd name="T93" fmla="*/ 21 h 38"/>
                <a:gd name="T94" fmla="*/ 83 w 351"/>
                <a:gd name="T95" fmla="*/ 13 h 38"/>
                <a:gd name="T96" fmla="*/ 81 w 351"/>
                <a:gd name="T97" fmla="*/ 30 h 38"/>
                <a:gd name="T98" fmla="*/ 75 w 351"/>
                <a:gd name="T99" fmla="*/ 22 h 38"/>
                <a:gd name="T100" fmla="*/ 61 w 351"/>
                <a:gd name="T101" fmla="*/ 24 h 38"/>
                <a:gd name="T102" fmla="*/ 67 w 351"/>
                <a:gd name="T103" fmla="*/ 19 h 38"/>
                <a:gd name="T104" fmla="*/ 70 w 351"/>
                <a:gd name="T105" fmla="*/ 23 h 38"/>
                <a:gd name="T106" fmla="*/ 34 w 351"/>
                <a:gd name="T107" fmla="*/ 19 h 38"/>
                <a:gd name="T108" fmla="*/ 37 w 351"/>
                <a:gd name="T109" fmla="*/ 29 h 38"/>
                <a:gd name="T110" fmla="*/ 30 w 351"/>
                <a:gd name="T111" fmla="*/ 34 h 38"/>
                <a:gd name="T112" fmla="*/ 24 w 351"/>
                <a:gd name="T113" fmla="*/ 16 h 38"/>
                <a:gd name="T114" fmla="*/ 21 w 351"/>
                <a:gd name="T115" fmla="*/ 22 h 38"/>
                <a:gd name="T116" fmla="*/ 43 w 351"/>
                <a:gd name="T117" fmla="*/ 10 h 38"/>
                <a:gd name="T118" fmla="*/ 13 w 351"/>
                <a:gd name="T119" fmla="*/ 26 h 38"/>
                <a:gd name="T120" fmla="*/ 5 w 351"/>
                <a:gd name="T121" fmla="*/ 25 h 38"/>
                <a:gd name="T122" fmla="*/ 14 w 351"/>
                <a:gd name="T123" fmla="*/ 35 h 38"/>
                <a:gd name="T124" fmla="*/ 19 w 351"/>
                <a:gd name="T125" fmla="*/ 1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1" h="38">
                  <a:moveTo>
                    <a:pt x="351" y="13"/>
                  </a:moveTo>
                  <a:cubicBezTo>
                    <a:pt x="351" y="13"/>
                    <a:pt x="351" y="13"/>
                    <a:pt x="351" y="13"/>
                  </a:cubicBezTo>
                  <a:cubicBezTo>
                    <a:pt x="351" y="13"/>
                    <a:pt x="351" y="13"/>
                    <a:pt x="351" y="13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4" y="15"/>
                    <a:pt x="344" y="15"/>
                    <a:pt x="344" y="15"/>
                  </a:cubicBezTo>
                  <a:cubicBezTo>
                    <a:pt x="345" y="17"/>
                    <a:pt x="345" y="17"/>
                    <a:pt x="345" y="17"/>
                  </a:cubicBezTo>
                  <a:cubicBezTo>
                    <a:pt x="345" y="20"/>
                    <a:pt x="343" y="23"/>
                    <a:pt x="341" y="25"/>
                  </a:cubicBezTo>
                  <a:cubicBezTo>
                    <a:pt x="341" y="26"/>
                    <a:pt x="342" y="27"/>
                    <a:pt x="342" y="28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6" y="32"/>
                    <a:pt x="346" y="32"/>
                    <a:pt x="346" y="32"/>
                  </a:cubicBezTo>
                  <a:cubicBezTo>
                    <a:pt x="346" y="33"/>
                    <a:pt x="347" y="34"/>
                    <a:pt x="348" y="34"/>
                  </a:cubicBezTo>
                  <a:cubicBezTo>
                    <a:pt x="346" y="36"/>
                    <a:pt x="346" y="36"/>
                    <a:pt x="346" y="36"/>
                  </a:cubicBezTo>
                  <a:cubicBezTo>
                    <a:pt x="344" y="34"/>
                    <a:pt x="344" y="34"/>
                    <a:pt x="344" y="34"/>
                  </a:cubicBezTo>
                  <a:cubicBezTo>
                    <a:pt x="343" y="32"/>
                    <a:pt x="343" y="32"/>
                    <a:pt x="343" y="32"/>
                  </a:cubicBezTo>
                  <a:cubicBezTo>
                    <a:pt x="342" y="30"/>
                    <a:pt x="342" y="30"/>
                    <a:pt x="342" y="30"/>
                  </a:cubicBezTo>
                  <a:cubicBezTo>
                    <a:pt x="340" y="28"/>
                    <a:pt x="340" y="28"/>
                    <a:pt x="340" y="28"/>
                  </a:cubicBezTo>
                  <a:cubicBezTo>
                    <a:pt x="338" y="25"/>
                    <a:pt x="338" y="25"/>
                    <a:pt x="338" y="25"/>
                  </a:cubicBezTo>
                  <a:cubicBezTo>
                    <a:pt x="337" y="23"/>
                    <a:pt x="337" y="23"/>
                    <a:pt x="337" y="23"/>
                  </a:cubicBezTo>
                  <a:cubicBezTo>
                    <a:pt x="337" y="22"/>
                    <a:pt x="337" y="22"/>
                    <a:pt x="337" y="22"/>
                  </a:cubicBezTo>
                  <a:cubicBezTo>
                    <a:pt x="336" y="20"/>
                    <a:pt x="336" y="20"/>
                    <a:pt x="336" y="20"/>
                  </a:cubicBezTo>
                  <a:cubicBezTo>
                    <a:pt x="336" y="20"/>
                    <a:pt x="337" y="19"/>
                    <a:pt x="338" y="19"/>
                  </a:cubicBezTo>
                  <a:cubicBezTo>
                    <a:pt x="341" y="19"/>
                    <a:pt x="341" y="19"/>
                    <a:pt x="341" y="19"/>
                  </a:cubicBezTo>
                  <a:cubicBezTo>
                    <a:pt x="341" y="13"/>
                    <a:pt x="341" y="13"/>
                    <a:pt x="341" y="13"/>
                  </a:cubicBezTo>
                  <a:cubicBezTo>
                    <a:pt x="333" y="13"/>
                    <a:pt x="333" y="13"/>
                    <a:pt x="333" y="13"/>
                  </a:cubicBezTo>
                  <a:cubicBezTo>
                    <a:pt x="333" y="10"/>
                    <a:pt x="333" y="10"/>
                    <a:pt x="333" y="10"/>
                  </a:cubicBezTo>
                  <a:cubicBezTo>
                    <a:pt x="351" y="10"/>
                    <a:pt x="351" y="10"/>
                    <a:pt x="351" y="10"/>
                  </a:cubicBezTo>
                  <a:lnTo>
                    <a:pt x="351" y="13"/>
                  </a:lnTo>
                  <a:close/>
                  <a:moveTo>
                    <a:pt x="329" y="10"/>
                  </a:moveTo>
                  <a:cubicBezTo>
                    <a:pt x="330" y="10"/>
                    <a:pt x="330" y="10"/>
                    <a:pt x="329" y="10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8" y="11"/>
                    <a:pt x="328" y="11"/>
                    <a:pt x="328" y="11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23" y="4"/>
                    <a:pt x="323" y="4"/>
                    <a:pt x="323" y="4"/>
                  </a:cubicBezTo>
                  <a:cubicBezTo>
                    <a:pt x="322" y="4"/>
                    <a:pt x="322" y="4"/>
                    <a:pt x="322" y="4"/>
                  </a:cubicBezTo>
                  <a:cubicBezTo>
                    <a:pt x="321" y="4"/>
                    <a:pt x="321" y="4"/>
                    <a:pt x="321" y="4"/>
                  </a:cubicBezTo>
                  <a:cubicBezTo>
                    <a:pt x="316" y="4"/>
                    <a:pt x="316" y="4"/>
                    <a:pt x="316" y="4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3" y="0"/>
                    <a:pt x="323" y="0"/>
                    <a:pt x="323" y="1"/>
                  </a:cubicBezTo>
                  <a:cubicBezTo>
                    <a:pt x="324" y="3"/>
                    <a:pt x="324" y="3"/>
                    <a:pt x="324" y="3"/>
                  </a:cubicBezTo>
                  <a:cubicBezTo>
                    <a:pt x="326" y="5"/>
                    <a:pt x="326" y="5"/>
                    <a:pt x="326" y="5"/>
                  </a:cubicBezTo>
                  <a:cubicBezTo>
                    <a:pt x="327" y="6"/>
                    <a:pt x="327" y="6"/>
                    <a:pt x="327" y="6"/>
                  </a:cubicBezTo>
                  <a:cubicBezTo>
                    <a:pt x="327" y="7"/>
                    <a:pt x="327" y="7"/>
                    <a:pt x="327" y="7"/>
                  </a:cubicBezTo>
                  <a:cubicBezTo>
                    <a:pt x="328" y="8"/>
                    <a:pt x="328" y="8"/>
                    <a:pt x="328" y="8"/>
                  </a:cubicBezTo>
                  <a:cubicBezTo>
                    <a:pt x="329" y="9"/>
                    <a:pt x="329" y="9"/>
                    <a:pt x="329" y="9"/>
                  </a:cubicBezTo>
                  <a:lnTo>
                    <a:pt x="329" y="10"/>
                  </a:lnTo>
                  <a:close/>
                  <a:moveTo>
                    <a:pt x="334" y="13"/>
                  </a:moveTo>
                  <a:cubicBezTo>
                    <a:pt x="333" y="13"/>
                    <a:pt x="333" y="13"/>
                    <a:pt x="333" y="13"/>
                  </a:cubicBezTo>
                  <a:cubicBezTo>
                    <a:pt x="333" y="13"/>
                    <a:pt x="333" y="13"/>
                    <a:pt x="333" y="13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30" y="36"/>
                    <a:pt x="330" y="36"/>
                    <a:pt x="330" y="36"/>
                  </a:cubicBezTo>
                  <a:cubicBezTo>
                    <a:pt x="327" y="34"/>
                    <a:pt x="327" y="34"/>
                    <a:pt x="327" y="34"/>
                  </a:cubicBezTo>
                  <a:cubicBezTo>
                    <a:pt x="327" y="13"/>
                    <a:pt x="327" y="13"/>
                    <a:pt x="327" y="13"/>
                  </a:cubicBezTo>
                  <a:cubicBezTo>
                    <a:pt x="324" y="13"/>
                    <a:pt x="324" y="13"/>
                    <a:pt x="324" y="13"/>
                  </a:cubicBezTo>
                  <a:cubicBezTo>
                    <a:pt x="324" y="10"/>
                    <a:pt x="324" y="10"/>
                    <a:pt x="324" y="10"/>
                  </a:cubicBezTo>
                  <a:cubicBezTo>
                    <a:pt x="334" y="10"/>
                    <a:pt x="334" y="10"/>
                    <a:pt x="334" y="10"/>
                  </a:cubicBezTo>
                  <a:lnTo>
                    <a:pt x="334" y="13"/>
                  </a:lnTo>
                  <a:close/>
                  <a:moveTo>
                    <a:pt x="325" y="13"/>
                  </a:moveTo>
                  <a:cubicBezTo>
                    <a:pt x="325" y="13"/>
                    <a:pt x="325" y="13"/>
                    <a:pt x="325" y="13"/>
                  </a:cubicBezTo>
                  <a:cubicBezTo>
                    <a:pt x="325" y="13"/>
                    <a:pt x="325" y="13"/>
                    <a:pt x="325" y="13"/>
                  </a:cubicBezTo>
                  <a:cubicBezTo>
                    <a:pt x="322" y="13"/>
                    <a:pt x="322" y="13"/>
                    <a:pt x="322" y="13"/>
                  </a:cubicBezTo>
                  <a:cubicBezTo>
                    <a:pt x="322" y="36"/>
                    <a:pt x="322" y="36"/>
                    <a:pt x="322" y="36"/>
                  </a:cubicBezTo>
                  <a:cubicBezTo>
                    <a:pt x="319" y="34"/>
                    <a:pt x="319" y="34"/>
                    <a:pt x="319" y="34"/>
                  </a:cubicBezTo>
                  <a:cubicBezTo>
                    <a:pt x="319" y="24"/>
                    <a:pt x="319" y="24"/>
                    <a:pt x="319" y="24"/>
                  </a:cubicBezTo>
                  <a:cubicBezTo>
                    <a:pt x="319" y="24"/>
                    <a:pt x="319" y="24"/>
                    <a:pt x="319" y="24"/>
                  </a:cubicBezTo>
                  <a:cubicBezTo>
                    <a:pt x="318" y="24"/>
                    <a:pt x="318" y="24"/>
                    <a:pt x="318" y="24"/>
                  </a:cubicBezTo>
                  <a:cubicBezTo>
                    <a:pt x="318" y="24"/>
                    <a:pt x="318" y="24"/>
                    <a:pt x="317" y="25"/>
                  </a:cubicBezTo>
                  <a:cubicBezTo>
                    <a:pt x="316" y="25"/>
                    <a:pt x="316" y="25"/>
                    <a:pt x="316" y="25"/>
                  </a:cubicBezTo>
                  <a:cubicBezTo>
                    <a:pt x="316" y="25"/>
                    <a:pt x="315" y="24"/>
                    <a:pt x="314" y="24"/>
                  </a:cubicBezTo>
                  <a:cubicBezTo>
                    <a:pt x="314" y="24"/>
                    <a:pt x="313" y="23"/>
                    <a:pt x="313" y="23"/>
                  </a:cubicBezTo>
                  <a:cubicBezTo>
                    <a:pt x="312" y="22"/>
                    <a:pt x="312" y="22"/>
                    <a:pt x="312" y="22"/>
                  </a:cubicBezTo>
                  <a:cubicBezTo>
                    <a:pt x="311" y="22"/>
                    <a:pt x="311" y="22"/>
                    <a:pt x="311" y="22"/>
                  </a:cubicBezTo>
                  <a:cubicBezTo>
                    <a:pt x="311" y="21"/>
                    <a:pt x="311" y="21"/>
                    <a:pt x="311" y="21"/>
                  </a:cubicBezTo>
                  <a:cubicBezTo>
                    <a:pt x="312" y="22"/>
                    <a:pt x="312" y="22"/>
                    <a:pt x="312" y="22"/>
                  </a:cubicBezTo>
                  <a:cubicBezTo>
                    <a:pt x="312" y="23"/>
                    <a:pt x="312" y="23"/>
                    <a:pt x="312" y="23"/>
                  </a:cubicBezTo>
                  <a:cubicBezTo>
                    <a:pt x="313" y="25"/>
                    <a:pt x="313" y="25"/>
                    <a:pt x="313" y="25"/>
                  </a:cubicBezTo>
                  <a:cubicBezTo>
                    <a:pt x="314" y="27"/>
                    <a:pt x="314" y="27"/>
                    <a:pt x="314" y="27"/>
                  </a:cubicBezTo>
                  <a:cubicBezTo>
                    <a:pt x="314" y="28"/>
                    <a:pt x="313" y="29"/>
                    <a:pt x="312" y="30"/>
                  </a:cubicBezTo>
                  <a:cubicBezTo>
                    <a:pt x="312" y="31"/>
                    <a:pt x="311" y="32"/>
                    <a:pt x="309" y="32"/>
                  </a:cubicBezTo>
                  <a:cubicBezTo>
                    <a:pt x="309" y="32"/>
                    <a:pt x="308" y="32"/>
                    <a:pt x="308" y="32"/>
                  </a:cubicBezTo>
                  <a:cubicBezTo>
                    <a:pt x="306" y="32"/>
                    <a:pt x="304" y="31"/>
                    <a:pt x="303" y="29"/>
                  </a:cubicBezTo>
                  <a:cubicBezTo>
                    <a:pt x="302" y="28"/>
                    <a:pt x="301" y="27"/>
                    <a:pt x="299" y="24"/>
                  </a:cubicBezTo>
                  <a:cubicBezTo>
                    <a:pt x="299" y="23"/>
                    <a:pt x="298" y="22"/>
                    <a:pt x="298" y="21"/>
                  </a:cubicBezTo>
                  <a:cubicBezTo>
                    <a:pt x="298" y="20"/>
                    <a:pt x="298" y="20"/>
                    <a:pt x="298" y="1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0" y="20"/>
                    <a:pt x="300" y="22"/>
                    <a:pt x="301" y="24"/>
                  </a:cubicBezTo>
                  <a:cubicBezTo>
                    <a:pt x="302" y="26"/>
                    <a:pt x="303" y="27"/>
                    <a:pt x="304" y="28"/>
                  </a:cubicBezTo>
                  <a:cubicBezTo>
                    <a:pt x="305" y="29"/>
                    <a:pt x="306" y="29"/>
                    <a:pt x="307" y="29"/>
                  </a:cubicBezTo>
                  <a:cubicBezTo>
                    <a:pt x="308" y="29"/>
                    <a:pt x="309" y="29"/>
                    <a:pt x="310" y="28"/>
                  </a:cubicBezTo>
                  <a:cubicBezTo>
                    <a:pt x="310" y="27"/>
                    <a:pt x="311" y="27"/>
                    <a:pt x="311" y="26"/>
                  </a:cubicBezTo>
                  <a:cubicBezTo>
                    <a:pt x="311" y="26"/>
                    <a:pt x="311" y="26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3"/>
                    <a:pt x="310" y="22"/>
                    <a:pt x="310" y="22"/>
                  </a:cubicBezTo>
                  <a:cubicBezTo>
                    <a:pt x="308" y="22"/>
                    <a:pt x="308" y="22"/>
                    <a:pt x="308" y="22"/>
                  </a:cubicBezTo>
                  <a:cubicBezTo>
                    <a:pt x="307" y="22"/>
                    <a:pt x="307" y="22"/>
                    <a:pt x="307" y="22"/>
                  </a:cubicBezTo>
                  <a:cubicBezTo>
                    <a:pt x="306" y="22"/>
                    <a:pt x="306" y="22"/>
                    <a:pt x="306" y="22"/>
                  </a:cubicBezTo>
                  <a:cubicBezTo>
                    <a:pt x="304" y="20"/>
                    <a:pt x="304" y="20"/>
                    <a:pt x="304" y="20"/>
                  </a:cubicBezTo>
                  <a:cubicBezTo>
                    <a:pt x="305" y="20"/>
                    <a:pt x="305" y="20"/>
                    <a:pt x="305" y="20"/>
                  </a:cubicBezTo>
                  <a:cubicBezTo>
                    <a:pt x="307" y="20"/>
                    <a:pt x="309" y="19"/>
                    <a:pt x="310" y="18"/>
                  </a:cubicBezTo>
                  <a:cubicBezTo>
                    <a:pt x="310" y="17"/>
                    <a:pt x="310" y="17"/>
                    <a:pt x="310" y="16"/>
                  </a:cubicBezTo>
                  <a:cubicBezTo>
                    <a:pt x="310" y="16"/>
                    <a:pt x="310" y="15"/>
                    <a:pt x="310" y="15"/>
                  </a:cubicBezTo>
                  <a:cubicBezTo>
                    <a:pt x="310" y="15"/>
                    <a:pt x="310" y="14"/>
                    <a:pt x="309" y="14"/>
                  </a:cubicBezTo>
                  <a:cubicBezTo>
                    <a:pt x="309" y="14"/>
                    <a:pt x="308" y="13"/>
                    <a:pt x="307" y="13"/>
                  </a:cubicBezTo>
                  <a:cubicBezTo>
                    <a:pt x="306" y="13"/>
                    <a:pt x="306" y="13"/>
                    <a:pt x="306" y="13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4" y="14"/>
                    <a:pt x="303" y="14"/>
                    <a:pt x="303" y="15"/>
                  </a:cubicBezTo>
                  <a:cubicBezTo>
                    <a:pt x="301" y="12"/>
                    <a:pt x="301" y="12"/>
                    <a:pt x="301" y="12"/>
                  </a:cubicBezTo>
                  <a:cubicBezTo>
                    <a:pt x="302" y="12"/>
                    <a:pt x="302" y="12"/>
                    <a:pt x="302" y="12"/>
                  </a:cubicBezTo>
                  <a:cubicBezTo>
                    <a:pt x="303" y="11"/>
                    <a:pt x="303" y="11"/>
                    <a:pt x="303" y="11"/>
                  </a:cubicBezTo>
                  <a:cubicBezTo>
                    <a:pt x="303" y="11"/>
                    <a:pt x="304" y="11"/>
                    <a:pt x="305" y="11"/>
                  </a:cubicBezTo>
                  <a:cubicBezTo>
                    <a:pt x="306" y="10"/>
                    <a:pt x="306" y="10"/>
                    <a:pt x="306" y="10"/>
                  </a:cubicBezTo>
                  <a:cubicBezTo>
                    <a:pt x="306" y="10"/>
                    <a:pt x="306" y="10"/>
                    <a:pt x="306" y="10"/>
                  </a:cubicBezTo>
                  <a:cubicBezTo>
                    <a:pt x="307" y="10"/>
                    <a:pt x="308" y="11"/>
                    <a:pt x="308" y="11"/>
                  </a:cubicBezTo>
                  <a:cubicBezTo>
                    <a:pt x="310" y="12"/>
                    <a:pt x="311" y="13"/>
                    <a:pt x="312" y="15"/>
                  </a:cubicBezTo>
                  <a:cubicBezTo>
                    <a:pt x="312" y="16"/>
                    <a:pt x="313" y="16"/>
                    <a:pt x="313" y="17"/>
                  </a:cubicBezTo>
                  <a:cubicBezTo>
                    <a:pt x="313" y="18"/>
                    <a:pt x="313" y="18"/>
                    <a:pt x="313" y="18"/>
                  </a:cubicBezTo>
                  <a:cubicBezTo>
                    <a:pt x="313" y="19"/>
                    <a:pt x="312" y="19"/>
                    <a:pt x="312" y="20"/>
                  </a:cubicBezTo>
                  <a:cubicBezTo>
                    <a:pt x="311" y="21"/>
                    <a:pt x="311" y="21"/>
                    <a:pt x="311" y="21"/>
                  </a:cubicBezTo>
                  <a:cubicBezTo>
                    <a:pt x="311" y="21"/>
                    <a:pt x="311" y="21"/>
                    <a:pt x="311" y="21"/>
                  </a:cubicBezTo>
                  <a:cubicBezTo>
                    <a:pt x="312" y="21"/>
                    <a:pt x="312" y="21"/>
                    <a:pt x="312" y="21"/>
                  </a:cubicBezTo>
                  <a:cubicBezTo>
                    <a:pt x="313" y="22"/>
                    <a:pt x="313" y="22"/>
                    <a:pt x="313" y="22"/>
                  </a:cubicBezTo>
                  <a:cubicBezTo>
                    <a:pt x="314" y="22"/>
                    <a:pt x="314" y="22"/>
                    <a:pt x="314" y="22"/>
                  </a:cubicBezTo>
                  <a:cubicBezTo>
                    <a:pt x="315" y="22"/>
                    <a:pt x="315" y="22"/>
                    <a:pt x="315" y="22"/>
                  </a:cubicBezTo>
                  <a:cubicBezTo>
                    <a:pt x="315" y="22"/>
                    <a:pt x="315" y="22"/>
                    <a:pt x="315" y="22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7" y="22"/>
                    <a:pt x="317" y="22"/>
                    <a:pt x="317" y="22"/>
                  </a:cubicBezTo>
                  <a:cubicBezTo>
                    <a:pt x="318" y="21"/>
                    <a:pt x="318" y="21"/>
                    <a:pt x="318" y="21"/>
                  </a:cubicBezTo>
                  <a:cubicBezTo>
                    <a:pt x="319" y="21"/>
                    <a:pt x="319" y="21"/>
                    <a:pt x="319" y="21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4" y="13"/>
                    <a:pt x="314" y="13"/>
                    <a:pt x="314" y="13"/>
                  </a:cubicBezTo>
                  <a:cubicBezTo>
                    <a:pt x="312" y="10"/>
                    <a:pt x="312" y="10"/>
                    <a:pt x="312" y="10"/>
                  </a:cubicBezTo>
                  <a:cubicBezTo>
                    <a:pt x="325" y="10"/>
                    <a:pt x="325" y="10"/>
                    <a:pt x="325" y="10"/>
                  </a:cubicBezTo>
                  <a:lnTo>
                    <a:pt x="325" y="13"/>
                  </a:lnTo>
                  <a:close/>
                  <a:moveTo>
                    <a:pt x="281" y="13"/>
                  </a:moveTo>
                  <a:cubicBezTo>
                    <a:pt x="281" y="13"/>
                    <a:pt x="281" y="13"/>
                    <a:pt x="281" y="13"/>
                  </a:cubicBezTo>
                  <a:cubicBezTo>
                    <a:pt x="281" y="13"/>
                    <a:pt x="281" y="13"/>
                    <a:pt x="281" y="13"/>
                  </a:cubicBezTo>
                  <a:cubicBezTo>
                    <a:pt x="278" y="13"/>
                    <a:pt x="278" y="13"/>
                    <a:pt x="278" y="13"/>
                  </a:cubicBezTo>
                  <a:cubicBezTo>
                    <a:pt x="278" y="36"/>
                    <a:pt x="278" y="36"/>
                    <a:pt x="278" y="36"/>
                  </a:cubicBezTo>
                  <a:cubicBezTo>
                    <a:pt x="275" y="34"/>
                    <a:pt x="275" y="34"/>
                    <a:pt x="275" y="34"/>
                  </a:cubicBezTo>
                  <a:cubicBezTo>
                    <a:pt x="275" y="13"/>
                    <a:pt x="275" y="13"/>
                    <a:pt x="275" y="13"/>
                  </a:cubicBezTo>
                  <a:cubicBezTo>
                    <a:pt x="272" y="13"/>
                    <a:pt x="272" y="13"/>
                    <a:pt x="272" y="13"/>
                  </a:cubicBezTo>
                  <a:cubicBezTo>
                    <a:pt x="272" y="10"/>
                    <a:pt x="272" y="10"/>
                    <a:pt x="272" y="10"/>
                  </a:cubicBezTo>
                  <a:cubicBezTo>
                    <a:pt x="275" y="10"/>
                    <a:pt x="275" y="10"/>
                    <a:pt x="275" y="10"/>
                  </a:cubicBezTo>
                  <a:cubicBezTo>
                    <a:pt x="275" y="10"/>
                    <a:pt x="275" y="10"/>
                    <a:pt x="275" y="9"/>
                  </a:cubicBezTo>
                  <a:cubicBezTo>
                    <a:pt x="275" y="9"/>
                    <a:pt x="274" y="8"/>
                    <a:pt x="274" y="7"/>
                  </a:cubicBezTo>
                  <a:cubicBezTo>
                    <a:pt x="272" y="4"/>
                    <a:pt x="271" y="3"/>
                    <a:pt x="269" y="3"/>
                  </a:cubicBezTo>
                  <a:cubicBezTo>
                    <a:pt x="269" y="3"/>
                    <a:pt x="268" y="3"/>
                    <a:pt x="268" y="3"/>
                  </a:cubicBezTo>
                  <a:cubicBezTo>
                    <a:pt x="267" y="4"/>
                    <a:pt x="267" y="4"/>
                    <a:pt x="267" y="5"/>
                  </a:cubicBezTo>
                  <a:cubicBezTo>
                    <a:pt x="266" y="6"/>
                    <a:pt x="266" y="6"/>
                    <a:pt x="266" y="7"/>
                  </a:cubicBezTo>
                  <a:cubicBezTo>
                    <a:pt x="266" y="8"/>
                    <a:pt x="266" y="8"/>
                    <a:pt x="266" y="8"/>
                  </a:cubicBezTo>
                  <a:cubicBezTo>
                    <a:pt x="267" y="9"/>
                    <a:pt x="267" y="9"/>
                    <a:pt x="267" y="9"/>
                  </a:cubicBezTo>
                  <a:cubicBezTo>
                    <a:pt x="267" y="9"/>
                    <a:pt x="267" y="10"/>
                    <a:pt x="267" y="10"/>
                  </a:cubicBezTo>
                  <a:cubicBezTo>
                    <a:pt x="268" y="10"/>
                    <a:pt x="268" y="11"/>
                    <a:pt x="269" y="11"/>
                  </a:cubicBezTo>
                  <a:cubicBezTo>
                    <a:pt x="267" y="11"/>
                    <a:pt x="267" y="11"/>
                    <a:pt x="267" y="11"/>
                  </a:cubicBezTo>
                  <a:cubicBezTo>
                    <a:pt x="267" y="11"/>
                    <a:pt x="266" y="11"/>
                    <a:pt x="266" y="10"/>
                  </a:cubicBezTo>
                  <a:cubicBezTo>
                    <a:pt x="265" y="9"/>
                    <a:pt x="265" y="9"/>
                    <a:pt x="265" y="9"/>
                  </a:cubicBezTo>
                  <a:cubicBezTo>
                    <a:pt x="265" y="8"/>
                    <a:pt x="264" y="8"/>
                    <a:pt x="264" y="7"/>
                  </a:cubicBezTo>
                  <a:cubicBezTo>
                    <a:pt x="264" y="6"/>
                    <a:pt x="264" y="6"/>
                    <a:pt x="264" y="5"/>
                  </a:cubicBezTo>
                  <a:cubicBezTo>
                    <a:pt x="264" y="5"/>
                    <a:pt x="264" y="4"/>
                    <a:pt x="264" y="3"/>
                  </a:cubicBezTo>
                  <a:cubicBezTo>
                    <a:pt x="264" y="3"/>
                    <a:pt x="264" y="3"/>
                    <a:pt x="265" y="2"/>
                  </a:cubicBezTo>
                  <a:cubicBezTo>
                    <a:pt x="265" y="2"/>
                    <a:pt x="266" y="1"/>
                    <a:pt x="266" y="1"/>
                  </a:cubicBezTo>
                  <a:cubicBezTo>
                    <a:pt x="267" y="1"/>
                    <a:pt x="268" y="1"/>
                    <a:pt x="268" y="1"/>
                  </a:cubicBezTo>
                  <a:cubicBezTo>
                    <a:pt x="270" y="1"/>
                    <a:pt x="273" y="2"/>
                    <a:pt x="275" y="5"/>
                  </a:cubicBezTo>
                  <a:cubicBezTo>
                    <a:pt x="275" y="6"/>
                    <a:pt x="276" y="7"/>
                    <a:pt x="277" y="9"/>
                  </a:cubicBezTo>
                  <a:cubicBezTo>
                    <a:pt x="277" y="9"/>
                    <a:pt x="277" y="10"/>
                    <a:pt x="277" y="10"/>
                  </a:cubicBezTo>
                  <a:cubicBezTo>
                    <a:pt x="281" y="10"/>
                    <a:pt x="281" y="10"/>
                    <a:pt x="281" y="10"/>
                  </a:cubicBezTo>
                  <a:lnTo>
                    <a:pt x="281" y="13"/>
                  </a:lnTo>
                  <a:close/>
                  <a:moveTo>
                    <a:pt x="273" y="13"/>
                  </a:moveTo>
                  <a:cubicBezTo>
                    <a:pt x="273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3"/>
                  </a:cubicBezTo>
                  <a:cubicBezTo>
                    <a:pt x="263" y="13"/>
                    <a:pt x="263" y="13"/>
                    <a:pt x="263" y="13"/>
                  </a:cubicBezTo>
                  <a:cubicBezTo>
                    <a:pt x="263" y="20"/>
                    <a:pt x="263" y="20"/>
                    <a:pt x="263" y="20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64" y="19"/>
                    <a:pt x="265" y="19"/>
                    <a:pt x="265" y="19"/>
                  </a:cubicBezTo>
                  <a:cubicBezTo>
                    <a:pt x="266" y="18"/>
                    <a:pt x="266" y="18"/>
                    <a:pt x="266" y="18"/>
                  </a:cubicBezTo>
                  <a:cubicBezTo>
                    <a:pt x="267" y="18"/>
                    <a:pt x="268" y="19"/>
                    <a:pt x="269" y="19"/>
                  </a:cubicBezTo>
                  <a:cubicBezTo>
                    <a:pt x="270" y="20"/>
                    <a:pt x="271" y="21"/>
                    <a:pt x="271" y="23"/>
                  </a:cubicBezTo>
                  <a:cubicBezTo>
                    <a:pt x="272" y="23"/>
                    <a:pt x="272" y="24"/>
                    <a:pt x="272" y="25"/>
                  </a:cubicBezTo>
                  <a:cubicBezTo>
                    <a:pt x="272" y="26"/>
                    <a:pt x="272" y="27"/>
                    <a:pt x="271" y="28"/>
                  </a:cubicBezTo>
                  <a:cubicBezTo>
                    <a:pt x="271" y="29"/>
                    <a:pt x="271" y="29"/>
                    <a:pt x="271" y="30"/>
                  </a:cubicBezTo>
                  <a:cubicBezTo>
                    <a:pt x="270" y="32"/>
                    <a:pt x="269" y="33"/>
                    <a:pt x="268" y="33"/>
                  </a:cubicBezTo>
                  <a:cubicBezTo>
                    <a:pt x="265" y="31"/>
                    <a:pt x="265" y="31"/>
                    <a:pt x="265" y="31"/>
                  </a:cubicBezTo>
                  <a:cubicBezTo>
                    <a:pt x="266" y="31"/>
                    <a:pt x="266" y="31"/>
                    <a:pt x="266" y="30"/>
                  </a:cubicBezTo>
                  <a:cubicBezTo>
                    <a:pt x="267" y="30"/>
                    <a:pt x="267" y="30"/>
                    <a:pt x="268" y="29"/>
                  </a:cubicBezTo>
                  <a:cubicBezTo>
                    <a:pt x="268" y="28"/>
                    <a:pt x="269" y="27"/>
                    <a:pt x="269" y="26"/>
                  </a:cubicBezTo>
                  <a:cubicBezTo>
                    <a:pt x="270" y="25"/>
                    <a:pt x="270" y="24"/>
                    <a:pt x="270" y="23"/>
                  </a:cubicBezTo>
                  <a:cubicBezTo>
                    <a:pt x="270" y="23"/>
                    <a:pt x="270" y="23"/>
                    <a:pt x="270" y="23"/>
                  </a:cubicBezTo>
                  <a:cubicBezTo>
                    <a:pt x="269" y="22"/>
                    <a:pt x="269" y="22"/>
                    <a:pt x="269" y="21"/>
                  </a:cubicBezTo>
                  <a:cubicBezTo>
                    <a:pt x="268" y="21"/>
                    <a:pt x="268" y="21"/>
                    <a:pt x="267" y="21"/>
                  </a:cubicBezTo>
                  <a:cubicBezTo>
                    <a:pt x="267" y="21"/>
                    <a:pt x="267" y="21"/>
                    <a:pt x="266" y="21"/>
                  </a:cubicBezTo>
                  <a:cubicBezTo>
                    <a:pt x="265" y="22"/>
                    <a:pt x="265" y="22"/>
                    <a:pt x="264" y="22"/>
                  </a:cubicBezTo>
                  <a:cubicBezTo>
                    <a:pt x="264" y="23"/>
                    <a:pt x="264" y="23"/>
                    <a:pt x="264" y="23"/>
                  </a:cubicBezTo>
                  <a:cubicBezTo>
                    <a:pt x="263" y="24"/>
                    <a:pt x="263" y="24"/>
                    <a:pt x="263" y="24"/>
                  </a:cubicBezTo>
                  <a:cubicBezTo>
                    <a:pt x="263" y="36"/>
                    <a:pt x="263" y="36"/>
                    <a:pt x="263" y="36"/>
                  </a:cubicBezTo>
                  <a:cubicBezTo>
                    <a:pt x="260" y="34"/>
                    <a:pt x="260" y="34"/>
                    <a:pt x="260" y="34"/>
                  </a:cubicBezTo>
                  <a:cubicBezTo>
                    <a:pt x="260" y="26"/>
                    <a:pt x="260" y="26"/>
                    <a:pt x="260" y="26"/>
                  </a:cubicBezTo>
                  <a:cubicBezTo>
                    <a:pt x="259" y="26"/>
                    <a:pt x="259" y="26"/>
                    <a:pt x="259" y="26"/>
                  </a:cubicBezTo>
                  <a:cubicBezTo>
                    <a:pt x="259" y="27"/>
                    <a:pt x="259" y="27"/>
                    <a:pt x="259" y="27"/>
                  </a:cubicBezTo>
                  <a:cubicBezTo>
                    <a:pt x="257" y="27"/>
                    <a:pt x="257" y="27"/>
                    <a:pt x="257" y="27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5" y="28"/>
                    <a:pt x="254" y="27"/>
                    <a:pt x="253" y="27"/>
                  </a:cubicBezTo>
                  <a:cubicBezTo>
                    <a:pt x="252" y="27"/>
                    <a:pt x="251" y="25"/>
                    <a:pt x="250" y="24"/>
                  </a:cubicBezTo>
                  <a:cubicBezTo>
                    <a:pt x="250" y="23"/>
                    <a:pt x="250" y="22"/>
                    <a:pt x="250" y="21"/>
                  </a:cubicBezTo>
                  <a:cubicBezTo>
                    <a:pt x="250" y="20"/>
                    <a:pt x="250" y="19"/>
                    <a:pt x="251" y="19"/>
                  </a:cubicBezTo>
                  <a:cubicBezTo>
                    <a:pt x="251" y="18"/>
                    <a:pt x="251" y="18"/>
                    <a:pt x="251" y="18"/>
                  </a:cubicBezTo>
                  <a:cubicBezTo>
                    <a:pt x="252" y="17"/>
                    <a:pt x="253" y="17"/>
                    <a:pt x="254" y="1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8" y="19"/>
                    <a:pt x="258" y="19"/>
                    <a:pt x="258" y="19"/>
                  </a:cubicBezTo>
                  <a:cubicBezTo>
                    <a:pt x="258" y="19"/>
                    <a:pt x="258" y="19"/>
                    <a:pt x="258" y="19"/>
                  </a:cubicBezTo>
                  <a:cubicBezTo>
                    <a:pt x="257" y="19"/>
                    <a:pt x="257" y="19"/>
                    <a:pt x="257" y="19"/>
                  </a:cubicBezTo>
                  <a:cubicBezTo>
                    <a:pt x="256" y="19"/>
                    <a:pt x="256" y="19"/>
                    <a:pt x="256" y="19"/>
                  </a:cubicBezTo>
                  <a:cubicBezTo>
                    <a:pt x="256" y="19"/>
                    <a:pt x="255" y="19"/>
                    <a:pt x="255" y="20"/>
                  </a:cubicBezTo>
                  <a:cubicBezTo>
                    <a:pt x="254" y="20"/>
                    <a:pt x="253" y="20"/>
                    <a:pt x="253" y="20"/>
                  </a:cubicBezTo>
                  <a:cubicBezTo>
                    <a:pt x="252" y="21"/>
                    <a:pt x="252" y="21"/>
                    <a:pt x="252" y="21"/>
                  </a:cubicBezTo>
                  <a:cubicBezTo>
                    <a:pt x="252" y="22"/>
                    <a:pt x="252" y="22"/>
                    <a:pt x="252" y="22"/>
                  </a:cubicBezTo>
                  <a:cubicBezTo>
                    <a:pt x="252" y="23"/>
                    <a:pt x="252" y="24"/>
                    <a:pt x="253" y="25"/>
                  </a:cubicBezTo>
                  <a:cubicBezTo>
                    <a:pt x="254" y="25"/>
                    <a:pt x="254" y="25"/>
                    <a:pt x="254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25"/>
                    <a:pt x="255" y="25"/>
                    <a:pt x="256" y="25"/>
                  </a:cubicBezTo>
                  <a:cubicBezTo>
                    <a:pt x="257" y="25"/>
                    <a:pt x="257" y="24"/>
                    <a:pt x="258" y="24"/>
                  </a:cubicBezTo>
                  <a:cubicBezTo>
                    <a:pt x="258" y="24"/>
                    <a:pt x="259" y="24"/>
                    <a:pt x="259" y="23"/>
                  </a:cubicBezTo>
                  <a:cubicBezTo>
                    <a:pt x="260" y="23"/>
                    <a:pt x="260" y="23"/>
                    <a:pt x="260" y="23"/>
                  </a:cubicBezTo>
                  <a:cubicBezTo>
                    <a:pt x="260" y="13"/>
                    <a:pt x="260" y="13"/>
                    <a:pt x="260" y="13"/>
                  </a:cubicBezTo>
                  <a:cubicBezTo>
                    <a:pt x="249" y="13"/>
                    <a:pt x="249" y="13"/>
                    <a:pt x="249" y="13"/>
                  </a:cubicBezTo>
                  <a:cubicBezTo>
                    <a:pt x="249" y="10"/>
                    <a:pt x="249" y="10"/>
                    <a:pt x="249" y="10"/>
                  </a:cubicBezTo>
                  <a:cubicBezTo>
                    <a:pt x="273" y="10"/>
                    <a:pt x="273" y="10"/>
                    <a:pt x="273" y="10"/>
                  </a:cubicBezTo>
                  <a:lnTo>
                    <a:pt x="273" y="13"/>
                  </a:lnTo>
                  <a:close/>
                  <a:moveTo>
                    <a:pt x="232" y="13"/>
                  </a:moveTo>
                  <a:cubicBezTo>
                    <a:pt x="232" y="13"/>
                    <a:pt x="232" y="13"/>
                    <a:pt x="232" y="13"/>
                  </a:cubicBezTo>
                  <a:cubicBezTo>
                    <a:pt x="232" y="13"/>
                    <a:pt x="232" y="13"/>
                    <a:pt x="232" y="13"/>
                  </a:cubicBezTo>
                  <a:cubicBezTo>
                    <a:pt x="229" y="13"/>
                    <a:pt x="229" y="13"/>
                    <a:pt x="229" y="13"/>
                  </a:cubicBezTo>
                  <a:cubicBezTo>
                    <a:pt x="229" y="36"/>
                    <a:pt x="229" y="36"/>
                    <a:pt x="229" y="36"/>
                  </a:cubicBezTo>
                  <a:cubicBezTo>
                    <a:pt x="226" y="34"/>
                    <a:pt x="226" y="34"/>
                    <a:pt x="226" y="34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23" y="13"/>
                    <a:pt x="223" y="13"/>
                    <a:pt x="223" y="13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32" y="10"/>
                    <a:pt x="232" y="10"/>
                    <a:pt x="232" y="10"/>
                  </a:cubicBezTo>
                  <a:lnTo>
                    <a:pt x="232" y="13"/>
                  </a:lnTo>
                  <a:close/>
                  <a:moveTo>
                    <a:pt x="224" y="13"/>
                  </a:moveTo>
                  <a:cubicBezTo>
                    <a:pt x="224" y="13"/>
                    <a:pt x="224" y="13"/>
                    <a:pt x="224" y="13"/>
                  </a:cubicBezTo>
                  <a:cubicBezTo>
                    <a:pt x="224" y="13"/>
                    <a:pt x="224" y="13"/>
                    <a:pt x="224" y="13"/>
                  </a:cubicBezTo>
                  <a:cubicBezTo>
                    <a:pt x="221" y="13"/>
                    <a:pt x="221" y="13"/>
                    <a:pt x="221" y="13"/>
                  </a:cubicBezTo>
                  <a:cubicBezTo>
                    <a:pt x="221" y="36"/>
                    <a:pt x="221" y="36"/>
                    <a:pt x="221" y="36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20"/>
                    <a:pt x="218" y="20"/>
                    <a:pt x="218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09" y="20"/>
                    <a:pt x="209" y="20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208" y="21"/>
                    <a:pt x="208" y="22"/>
                    <a:pt x="208" y="22"/>
                  </a:cubicBezTo>
                  <a:cubicBezTo>
                    <a:pt x="208" y="23"/>
                    <a:pt x="208" y="23"/>
                    <a:pt x="208" y="23"/>
                  </a:cubicBezTo>
                  <a:cubicBezTo>
                    <a:pt x="208" y="24"/>
                    <a:pt x="208" y="25"/>
                    <a:pt x="208" y="26"/>
                  </a:cubicBezTo>
                  <a:cubicBezTo>
                    <a:pt x="209" y="28"/>
                    <a:pt x="210" y="29"/>
                    <a:pt x="211" y="30"/>
                  </a:cubicBezTo>
                  <a:cubicBezTo>
                    <a:pt x="212" y="31"/>
                    <a:pt x="212" y="31"/>
                    <a:pt x="212" y="31"/>
                  </a:cubicBezTo>
                  <a:cubicBezTo>
                    <a:pt x="212" y="32"/>
                    <a:pt x="213" y="32"/>
                    <a:pt x="214" y="33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1" y="34"/>
                    <a:pt x="211" y="33"/>
                    <a:pt x="210" y="33"/>
                  </a:cubicBezTo>
                  <a:cubicBezTo>
                    <a:pt x="208" y="30"/>
                    <a:pt x="208" y="30"/>
                    <a:pt x="208" y="30"/>
                  </a:cubicBezTo>
                  <a:cubicBezTo>
                    <a:pt x="207" y="28"/>
                    <a:pt x="206" y="27"/>
                    <a:pt x="206" y="25"/>
                  </a:cubicBezTo>
                  <a:cubicBezTo>
                    <a:pt x="205" y="24"/>
                    <a:pt x="205" y="23"/>
                    <a:pt x="205" y="22"/>
                  </a:cubicBezTo>
                  <a:cubicBezTo>
                    <a:pt x="205" y="21"/>
                    <a:pt x="205" y="20"/>
                    <a:pt x="206" y="19"/>
                  </a:cubicBezTo>
                  <a:cubicBezTo>
                    <a:pt x="206" y="19"/>
                    <a:pt x="206" y="19"/>
                    <a:pt x="206" y="19"/>
                  </a:cubicBezTo>
                  <a:cubicBezTo>
                    <a:pt x="207" y="18"/>
                    <a:pt x="207" y="18"/>
                    <a:pt x="207" y="18"/>
                  </a:cubicBezTo>
                  <a:cubicBezTo>
                    <a:pt x="207" y="17"/>
                    <a:pt x="207" y="17"/>
                    <a:pt x="207" y="17"/>
                  </a:cubicBezTo>
                  <a:cubicBezTo>
                    <a:pt x="208" y="17"/>
                    <a:pt x="208" y="17"/>
                    <a:pt x="208" y="17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18" y="17"/>
                    <a:pt x="218" y="17"/>
                    <a:pt x="218" y="17"/>
                  </a:cubicBezTo>
                  <a:cubicBezTo>
                    <a:pt x="218" y="13"/>
                    <a:pt x="218" y="13"/>
                    <a:pt x="218" y="13"/>
                  </a:cubicBezTo>
                  <a:cubicBezTo>
                    <a:pt x="204" y="13"/>
                    <a:pt x="204" y="13"/>
                    <a:pt x="204" y="13"/>
                  </a:cubicBezTo>
                  <a:cubicBezTo>
                    <a:pt x="204" y="10"/>
                    <a:pt x="204" y="10"/>
                    <a:pt x="204" y="10"/>
                  </a:cubicBezTo>
                  <a:cubicBezTo>
                    <a:pt x="224" y="10"/>
                    <a:pt x="224" y="10"/>
                    <a:pt x="224" y="10"/>
                  </a:cubicBezTo>
                  <a:lnTo>
                    <a:pt x="224" y="13"/>
                  </a:lnTo>
                  <a:close/>
                  <a:moveTo>
                    <a:pt x="199" y="27"/>
                  </a:moveTo>
                  <a:cubicBezTo>
                    <a:pt x="199" y="27"/>
                    <a:pt x="199" y="27"/>
                    <a:pt x="198" y="27"/>
                  </a:cubicBezTo>
                  <a:cubicBezTo>
                    <a:pt x="197" y="26"/>
                    <a:pt x="195" y="25"/>
                    <a:pt x="195" y="23"/>
                  </a:cubicBezTo>
                  <a:cubicBezTo>
                    <a:pt x="194" y="22"/>
                    <a:pt x="194" y="22"/>
                    <a:pt x="194" y="21"/>
                  </a:cubicBezTo>
                  <a:cubicBezTo>
                    <a:pt x="194" y="20"/>
                    <a:pt x="194" y="19"/>
                    <a:pt x="195" y="18"/>
                  </a:cubicBezTo>
                  <a:cubicBezTo>
                    <a:pt x="195" y="18"/>
                    <a:pt x="196" y="17"/>
                    <a:pt x="196" y="17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3"/>
                    <a:pt x="197" y="13"/>
                    <a:pt x="197" y="13"/>
                  </a:cubicBezTo>
                  <a:cubicBezTo>
                    <a:pt x="188" y="13"/>
                    <a:pt x="188" y="13"/>
                    <a:pt x="188" y="13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9" y="20"/>
                    <a:pt x="189" y="20"/>
                    <a:pt x="189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3" y="23"/>
                    <a:pt x="193" y="23"/>
                    <a:pt x="193" y="23"/>
                  </a:cubicBezTo>
                  <a:cubicBezTo>
                    <a:pt x="193" y="23"/>
                    <a:pt x="192" y="23"/>
                    <a:pt x="192" y="23"/>
                  </a:cubicBezTo>
                  <a:cubicBezTo>
                    <a:pt x="191" y="23"/>
                    <a:pt x="191" y="23"/>
                    <a:pt x="190" y="23"/>
                  </a:cubicBezTo>
                  <a:cubicBezTo>
                    <a:pt x="189" y="24"/>
                    <a:pt x="188" y="25"/>
                    <a:pt x="188" y="26"/>
                  </a:cubicBezTo>
                  <a:cubicBezTo>
                    <a:pt x="188" y="27"/>
                    <a:pt x="188" y="27"/>
                    <a:pt x="188" y="28"/>
                  </a:cubicBezTo>
                  <a:cubicBezTo>
                    <a:pt x="188" y="29"/>
                    <a:pt x="189" y="29"/>
                    <a:pt x="191" y="30"/>
                  </a:cubicBezTo>
                  <a:cubicBezTo>
                    <a:pt x="192" y="30"/>
                    <a:pt x="192" y="30"/>
                    <a:pt x="193" y="30"/>
                  </a:cubicBezTo>
                  <a:cubicBezTo>
                    <a:pt x="194" y="30"/>
                    <a:pt x="196" y="30"/>
                    <a:pt x="197" y="29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199" y="27"/>
                    <a:pt x="199" y="27"/>
                    <a:pt x="199" y="27"/>
                  </a:cubicBezTo>
                  <a:close/>
                  <a:moveTo>
                    <a:pt x="201" y="22"/>
                  </a:moveTo>
                  <a:cubicBezTo>
                    <a:pt x="201" y="21"/>
                    <a:pt x="201" y="20"/>
                    <a:pt x="200" y="19"/>
                  </a:cubicBezTo>
                  <a:cubicBezTo>
                    <a:pt x="200" y="19"/>
                    <a:pt x="199" y="18"/>
                    <a:pt x="198" y="18"/>
                  </a:cubicBezTo>
                  <a:cubicBezTo>
                    <a:pt x="198" y="18"/>
                    <a:pt x="198" y="19"/>
                    <a:pt x="198" y="19"/>
                  </a:cubicBezTo>
                  <a:cubicBezTo>
                    <a:pt x="197" y="19"/>
                    <a:pt x="197" y="19"/>
                    <a:pt x="197" y="20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2"/>
                    <a:pt x="197" y="22"/>
                    <a:pt x="197" y="23"/>
                  </a:cubicBezTo>
                  <a:cubicBezTo>
                    <a:pt x="197" y="24"/>
                    <a:pt x="198" y="24"/>
                    <a:pt x="198" y="25"/>
                  </a:cubicBezTo>
                  <a:cubicBezTo>
                    <a:pt x="198" y="25"/>
                    <a:pt x="199" y="25"/>
                    <a:pt x="199" y="25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200" y="25"/>
                    <a:pt x="200" y="25"/>
                    <a:pt x="200" y="25"/>
                  </a:cubicBezTo>
                  <a:cubicBezTo>
                    <a:pt x="200" y="25"/>
                    <a:pt x="200" y="25"/>
                    <a:pt x="200" y="25"/>
                  </a:cubicBezTo>
                  <a:cubicBezTo>
                    <a:pt x="200" y="25"/>
                    <a:pt x="200" y="25"/>
                    <a:pt x="200" y="25"/>
                  </a:cubicBezTo>
                  <a:cubicBezTo>
                    <a:pt x="201" y="24"/>
                    <a:pt x="201" y="24"/>
                    <a:pt x="201" y="24"/>
                  </a:cubicBezTo>
                  <a:cubicBezTo>
                    <a:pt x="201" y="23"/>
                    <a:pt x="201" y="23"/>
                    <a:pt x="201" y="22"/>
                  </a:cubicBezTo>
                  <a:moveTo>
                    <a:pt x="205" y="13"/>
                  </a:moveTo>
                  <a:cubicBezTo>
                    <a:pt x="204" y="13"/>
                    <a:pt x="204" y="13"/>
                    <a:pt x="204" y="13"/>
                  </a:cubicBezTo>
                  <a:cubicBezTo>
                    <a:pt x="204" y="13"/>
                    <a:pt x="204" y="13"/>
                    <a:pt x="204" y="13"/>
                  </a:cubicBezTo>
                  <a:cubicBezTo>
                    <a:pt x="200" y="13"/>
                    <a:pt x="200" y="13"/>
                    <a:pt x="200" y="13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201" y="17"/>
                    <a:pt x="201" y="18"/>
                    <a:pt x="202" y="20"/>
                  </a:cubicBezTo>
                  <a:cubicBezTo>
                    <a:pt x="202" y="20"/>
                    <a:pt x="203" y="21"/>
                    <a:pt x="203" y="21"/>
                  </a:cubicBezTo>
                  <a:cubicBezTo>
                    <a:pt x="203" y="22"/>
                    <a:pt x="203" y="23"/>
                    <a:pt x="203" y="23"/>
                  </a:cubicBezTo>
                  <a:cubicBezTo>
                    <a:pt x="203" y="26"/>
                    <a:pt x="202" y="28"/>
                    <a:pt x="201" y="30"/>
                  </a:cubicBezTo>
                  <a:cubicBezTo>
                    <a:pt x="199" y="32"/>
                    <a:pt x="197" y="33"/>
                    <a:pt x="195" y="33"/>
                  </a:cubicBezTo>
                  <a:cubicBezTo>
                    <a:pt x="192" y="33"/>
                    <a:pt x="189" y="32"/>
                    <a:pt x="188" y="31"/>
                  </a:cubicBezTo>
                  <a:cubicBezTo>
                    <a:pt x="186" y="29"/>
                    <a:pt x="185" y="27"/>
                    <a:pt x="185" y="25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23"/>
                    <a:pt x="186" y="22"/>
                    <a:pt x="187" y="22"/>
                  </a:cubicBezTo>
                  <a:cubicBezTo>
                    <a:pt x="188" y="21"/>
                    <a:pt x="188" y="21"/>
                    <a:pt x="188" y="21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3" y="13"/>
                    <a:pt x="183" y="13"/>
                    <a:pt x="183" y="13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205" y="10"/>
                    <a:pt x="205" y="10"/>
                    <a:pt x="205" y="10"/>
                  </a:cubicBezTo>
                  <a:lnTo>
                    <a:pt x="205" y="13"/>
                  </a:lnTo>
                  <a:close/>
                  <a:moveTo>
                    <a:pt x="186" y="26"/>
                  </a:moveTo>
                  <a:cubicBezTo>
                    <a:pt x="186" y="26"/>
                    <a:pt x="186" y="26"/>
                    <a:pt x="186" y="26"/>
                  </a:cubicBezTo>
                  <a:cubicBezTo>
                    <a:pt x="186" y="27"/>
                    <a:pt x="186" y="27"/>
                    <a:pt x="186" y="27"/>
                  </a:cubicBezTo>
                  <a:cubicBezTo>
                    <a:pt x="186" y="27"/>
                    <a:pt x="186" y="27"/>
                    <a:pt x="185" y="27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4" y="28"/>
                    <a:pt x="183" y="28"/>
                    <a:pt x="182" y="29"/>
                  </a:cubicBezTo>
                  <a:cubicBezTo>
                    <a:pt x="181" y="29"/>
                    <a:pt x="181" y="29"/>
                    <a:pt x="180" y="29"/>
                  </a:cubicBezTo>
                  <a:cubicBezTo>
                    <a:pt x="178" y="29"/>
                    <a:pt x="177" y="29"/>
                    <a:pt x="175" y="28"/>
                  </a:cubicBezTo>
                  <a:cubicBezTo>
                    <a:pt x="174" y="27"/>
                    <a:pt x="173" y="25"/>
                    <a:pt x="173" y="24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2"/>
                    <a:pt x="173" y="22"/>
                    <a:pt x="174" y="21"/>
                  </a:cubicBezTo>
                  <a:cubicBezTo>
                    <a:pt x="174" y="21"/>
                    <a:pt x="175" y="20"/>
                    <a:pt x="175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0" y="17"/>
                    <a:pt x="170" y="17"/>
                    <a:pt x="170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79" y="20"/>
                    <a:pt x="179" y="20"/>
                    <a:pt x="179" y="20"/>
                  </a:cubicBezTo>
                  <a:cubicBezTo>
                    <a:pt x="179" y="20"/>
                    <a:pt x="179" y="20"/>
                    <a:pt x="179" y="20"/>
                  </a:cubicBezTo>
                  <a:cubicBezTo>
                    <a:pt x="178" y="21"/>
                    <a:pt x="178" y="21"/>
                    <a:pt x="177" y="21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75" y="24"/>
                    <a:pt x="175" y="24"/>
                    <a:pt x="175" y="24"/>
                  </a:cubicBezTo>
                  <a:cubicBezTo>
                    <a:pt x="175" y="24"/>
                    <a:pt x="175" y="24"/>
                    <a:pt x="175" y="24"/>
                  </a:cubicBezTo>
                  <a:cubicBezTo>
                    <a:pt x="175" y="25"/>
                    <a:pt x="175" y="25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7" y="26"/>
                    <a:pt x="177" y="26"/>
                    <a:pt x="177" y="26"/>
                  </a:cubicBezTo>
                  <a:cubicBezTo>
                    <a:pt x="179" y="26"/>
                    <a:pt x="179" y="26"/>
                    <a:pt x="179" y="26"/>
                  </a:cubicBezTo>
                  <a:cubicBezTo>
                    <a:pt x="180" y="27"/>
                    <a:pt x="181" y="26"/>
                    <a:pt x="183" y="26"/>
                  </a:cubicBezTo>
                  <a:cubicBezTo>
                    <a:pt x="183" y="25"/>
                    <a:pt x="183" y="25"/>
                    <a:pt x="184" y="25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23"/>
                    <a:pt x="186" y="23"/>
                    <a:pt x="186" y="22"/>
                  </a:cubicBezTo>
                  <a:lnTo>
                    <a:pt x="186" y="26"/>
                  </a:lnTo>
                  <a:close/>
                  <a:moveTo>
                    <a:pt x="184" y="13"/>
                  </a:moveTo>
                  <a:cubicBezTo>
                    <a:pt x="184" y="13"/>
                    <a:pt x="184" y="13"/>
                    <a:pt x="184" y="13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84" y="10"/>
                    <a:pt x="184" y="10"/>
                    <a:pt x="184" y="10"/>
                  </a:cubicBezTo>
                  <a:lnTo>
                    <a:pt x="184" y="13"/>
                  </a:lnTo>
                  <a:close/>
                  <a:moveTo>
                    <a:pt x="170" y="13"/>
                  </a:moveTo>
                  <a:cubicBezTo>
                    <a:pt x="170" y="13"/>
                    <a:pt x="170" y="13"/>
                    <a:pt x="170" y="13"/>
                  </a:cubicBezTo>
                  <a:cubicBezTo>
                    <a:pt x="170" y="13"/>
                    <a:pt x="170" y="13"/>
                    <a:pt x="170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3" y="34"/>
                    <a:pt x="163" y="34"/>
                    <a:pt x="163" y="34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2" y="28"/>
                    <a:pt x="162" y="28"/>
                    <a:pt x="162" y="28"/>
                  </a:cubicBezTo>
                  <a:cubicBezTo>
                    <a:pt x="160" y="29"/>
                    <a:pt x="160" y="29"/>
                    <a:pt x="160" y="29"/>
                  </a:cubicBezTo>
                  <a:cubicBezTo>
                    <a:pt x="158" y="29"/>
                    <a:pt x="158" y="29"/>
                    <a:pt x="158" y="29"/>
                  </a:cubicBezTo>
                  <a:cubicBezTo>
                    <a:pt x="157" y="29"/>
                    <a:pt x="155" y="28"/>
                    <a:pt x="154" y="27"/>
                  </a:cubicBezTo>
                  <a:cubicBezTo>
                    <a:pt x="154" y="26"/>
                    <a:pt x="153" y="26"/>
                    <a:pt x="153" y="26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2" y="23"/>
                    <a:pt x="152" y="22"/>
                  </a:cubicBezTo>
                  <a:cubicBezTo>
                    <a:pt x="152" y="19"/>
                    <a:pt x="153" y="18"/>
                    <a:pt x="155" y="17"/>
                  </a:cubicBezTo>
                  <a:cubicBezTo>
                    <a:pt x="156" y="17"/>
                    <a:pt x="157" y="16"/>
                    <a:pt x="159" y="16"/>
                  </a:cubicBezTo>
                  <a:cubicBezTo>
                    <a:pt x="160" y="16"/>
                    <a:pt x="160" y="16"/>
                    <a:pt x="161" y="16"/>
                  </a:cubicBezTo>
                  <a:cubicBezTo>
                    <a:pt x="163" y="19"/>
                    <a:pt x="163" y="19"/>
                    <a:pt x="163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0" y="19"/>
                    <a:pt x="159" y="19"/>
                    <a:pt x="159" y="19"/>
                  </a:cubicBezTo>
                  <a:cubicBezTo>
                    <a:pt x="157" y="19"/>
                    <a:pt x="156" y="20"/>
                    <a:pt x="155" y="21"/>
                  </a:cubicBezTo>
                  <a:cubicBezTo>
                    <a:pt x="155" y="22"/>
                    <a:pt x="154" y="22"/>
                    <a:pt x="154" y="23"/>
                  </a:cubicBezTo>
                  <a:cubicBezTo>
                    <a:pt x="154" y="24"/>
                    <a:pt x="155" y="25"/>
                    <a:pt x="155" y="26"/>
                  </a:cubicBezTo>
                  <a:cubicBezTo>
                    <a:pt x="155" y="26"/>
                    <a:pt x="156" y="26"/>
                    <a:pt x="156" y="26"/>
                  </a:cubicBezTo>
                  <a:cubicBezTo>
                    <a:pt x="157" y="26"/>
                    <a:pt x="157" y="26"/>
                    <a:pt x="158" y="26"/>
                  </a:cubicBezTo>
                  <a:cubicBezTo>
                    <a:pt x="158" y="26"/>
                    <a:pt x="159" y="26"/>
                    <a:pt x="160" y="26"/>
                  </a:cubicBezTo>
                  <a:cubicBezTo>
                    <a:pt x="160" y="26"/>
                    <a:pt x="161" y="26"/>
                    <a:pt x="162" y="25"/>
                  </a:cubicBezTo>
                  <a:cubicBezTo>
                    <a:pt x="162" y="25"/>
                    <a:pt x="163" y="24"/>
                    <a:pt x="163" y="24"/>
                  </a:cubicBezTo>
                  <a:cubicBezTo>
                    <a:pt x="163" y="24"/>
                    <a:pt x="163" y="24"/>
                    <a:pt x="163" y="23"/>
                  </a:cubicBezTo>
                  <a:cubicBezTo>
                    <a:pt x="163" y="13"/>
                    <a:pt x="163" y="13"/>
                    <a:pt x="163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70" y="10"/>
                    <a:pt x="170" y="10"/>
                    <a:pt x="170" y="10"/>
                  </a:cubicBezTo>
                  <a:lnTo>
                    <a:pt x="170" y="13"/>
                  </a:lnTo>
                  <a:close/>
                  <a:moveTo>
                    <a:pt x="154" y="22"/>
                  </a:moveTo>
                  <a:cubicBezTo>
                    <a:pt x="154" y="22"/>
                    <a:pt x="154" y="22"/>
                    <a:pt x="154" y="22"/>
                  </a:cubicBezTo>
                  <a:cubicBezTo>
                    <a:pt x="154" y="23"/>
                    <a:pt x="154" y="23"/>
                    <a:pt x="154" y="23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52" y="23"/>
                    <a:pt x="152" y="23"/>
                    <a:pt x="152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49" y="24"/>
                    <a:pt x="148" y="23"/>
                    <a:pt x="146" y="22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5" y="24"/>
                    <a:pt x="145" y="24"/>
                    <a:pt x="144" y="25"/>
                  </a:cubicBezTo>
                  <a:cubicBezTo>
                    <a:pt x="143" y="26"/>
                    <a:pt x="143" y="26"/>
                    <a:pt x="143" y="26"/>
                  </a:cubicBezTo>
                  <a:cubicBezTo>
                    <a:pt x="143" y="26"/>
                    <a:pt x="143" y="26"/>
                    <a:pt x="143" y="26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50" y="33"/>
                    <a:pt x="150" y="34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3" y="19"/>
                    <a:pt x="143" y="19"/>
                    <a:pt x="143" y="19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51" y="21"/>
                    <a:pt x="152" y="21"/>
                    <a:pt x="153" y="20"/>
                  </a:cubicBezTo>
                  <a:cubicBezTo>
                    <a:pt x="153" y="20"/>
                    <a:pt x="153" y="20"/>
                    <a:pt x="154" y="19"/>
                  </a:cubicBezTo>
                  <a:lnTo>
                    <a:pt x="154" y="22"/>
                  </a:lnTo>
                  <a:close/>
                  <a:moveTo>
                    <a:pt x="115" y="21"/>
                  </a:moveTo>
                  <a:cubicBezTo>
                    <a:pt x="114" y="21"/>
                    <a:pt x="114" y="21"/>
                    <a:pt x="114" y="21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15" y="21"/>
                    <a:pt x="115" y="21"/>
                    <a:pt x="115" y="21"/>
                  </a:cubicBezTo>
                  <a:close/>
                  <a:moveTo>
                    <a:pt x="121" y="13"/>
                  </a:moveTo>
                  <a:cubicBezTo>
                    <a:pt x="120" y="13"/>
                    <a:pt x="120" y="13"/>
                    <a:pt x="120" y="13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7"/>
                    <a:pt x="107" y="27"/>
                    <a:pt x="106" y="27"/>
                  </a:cubicBezTo>
                  <a:cubicBezTo>
                    <a:pt x="105" y="27"/>
                    <a:pt x="104" y="26"/>
                    <a:pt x="103" y="25"/>
                  </a:cubicBezTo>
                  <a:cubicBezTo>
                    <a:pt x="103" y="25"/>
                    <a:pt x="102" y="24"/>
                    <a:pt x="102" y="24"/>
                  </a:cubicBezTo>
                  <a:cubicBezTo>
                    <a:pt x="102" y="23"/>
                    <a:pt x="102" y="23"/>
                    <a:pt x="102" y="22"/>
                  </a:cubicBezTo>
                  <a:cubicBezTo>
                    <a:pt x="102" y="22"/>
                    <a:pt x="102" y="21"/>
                    <a:pt x="103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21" y="10"/>
                    <a:pt x="121" y="10"/>
                    <a:pt x="121" y="10"/>
                  </a:cubicBezTo>
                  <a:lnTo>
                    <a:pt x="121" y="13"/>
                  </a:lnTo>
                  <a:close/>
                  <a:moveTo>
                    <a:pt x="102" y="13"/>
                  </a:move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19"/>
                    <a:pt x="89" y="19"/>
                    <a:pt x="88" y="19"/>
                  </a:cubicBezTo>
                  <a:cubicBezTo>
                    <a:pt x="88" y="20"/>
                    <a:pt x="88" y="20"/>
                    <a:pt x="87" y="20"/>
                  </a:cubicBezTo>
                  <a:cubicBezTo>
                    <a:pt x="87" y="20"/>
                    <a:pt x="87" y="21"/>
                    <a:pt x="87" y="21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4"/>
                    <a:pt x="87" y="25"/>
                    <a:pt x="88" y="26"/>
                  </a:cubicBezTo>
                  <a:cubicBezTo>
                    <a:pt x="89" y="27"/>
                    <a:pt x="90" y="27"/>
                    <a:pt x="91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3" y="24"/>
                    <a:pt x="93" y="23"/>
                  </a:cubicBezTo>
                  <a:cubicBezTo>
                    <a:pt x="93" y="23"/>
                    <a:pt x="93" y="23"/>
                    <a:pt x="94" y="23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5" y="23"/>
                    <a:pt x="96" y="23"/>
                    <a:pt x="96" y="23"/>
                  </a:cubicBezTo>
                  <a:cubicBezTo>
                    <a:pt x="96" y="23"/>
                    <a:pt x="97" y="23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6"/>
                    <a:pt x="97" y="27"/>
                    <a:pt x="96" y="28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0" y="30"/>
                    <a:pt x="89" y="29"/>
                  </a:cubicBezTo>
                  <a:cubicBezTo>
                    <a:pt x="88" y="28"/>
                    <a:pt x="87" y="27"/>
                    <a:pt x="86" y="26"/>
                  </a:cubicBezTo>
                  <a:cubicBezTo>
                    <a:pt x="85" y="24"/>
                    <a:pt x="84" y="23"/>
                    <a:pt x="84" y="21"/>
                  </a:cubicBezTo>
                  <a:cubicBezTo>
                    <a:pt x="84" y="20"/>
                    <a:pt x="85" y="19"/>
                    <a:pt x="85" y="18"/>
                  </a:cubicBezTo>
                  <a:cubicBezTo>
                    <a:pt x="85" y="17"/>
                    <a:pt x="86" y="17"/>
                    <a:pt x="86" y="17"/>
                  </a:cubicBezTo>
                  <a:cubicBezTo>
                    <a:pt x="87" y="17"/>
                    <a:pt x="87" y="16"/>
                    <a:pt x="88" y="16"/>
                  </a:cubicBezTo>
                  <a:cubicBezTo>
                    <a:pt x="93" y="16"/>
                    <a:pt x="93" y="16"/>
                    <a:pt x="93" y="16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102" y="10"/>
                    <a:pt x="102" y="10"/>
                    <a:pt x="102" y="10"/>
                  </a:cubicBezTo>
                  <a:lnTo>
                    <a:pt x="102" y="13"/>
                  </a:lnTo>
                  <a:close/>
                  <a:moveTo>
                    <a:pt x="84" y="13"/>
                  </a:move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5" y="19"/>
                    <a:pt x="75" y="19"/>
                    <a:pt x="76" y="19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8" y="18"/>
                    <a:pt x="79" y="19"/>
                    <a:pt x="79" y="19"/>
                  </a:cubicBezTo>
                  <a:cubicBezTo>
                    <a:pt x="80" y="20"/>
                    <a:pt x="81" y="21"/>
                    <a:pt x="82" y="23"/>
                  </a:cubicBezTo>
                  <a:cubicBezTo>
                    <a:pt x="82" y="23"/>
                    <a:pt x="82" y="24"/>
                    <a:pt x="82" y="25"/>
                  </a:cubicBezTo>
                  <a:cubicBezTo>
                    <a:pt x="82" y="26"/>
                    <a:pt x="82" y="27"/>
                    <a:pt x="82" y="28"/>
                  </a:cubicBezTo>
                  <a:cubicBezTo>
                    <a:pt x="82" y="29"/>
                    <a:pt x="81" y="29"/>
                    <a:pt x="81" y="30"/>
                  </a:cubicBezTo>
                  <a:cubicBezTo>
                    <a:pt x="80" y="32"/>
                    <a:pt x="79" y="33"/>
                    <a:pt x="78" y="33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7" y="31"/>
                    <a:pt x="77" y="30"/>
                  </a:cubicBezTo>
                  <a:cubicBezTo>
                    <a:pt x="77" y="30"/>
                    <a:pt x="78" y="30"/>
                    <a:pt x="78" y="29"/>
                  </a:cubicBezTo>
                  <a:cubicBezTo>
                    <a:pt x="79" y="28"/>
                    <a:pt x="79" y="27"/>
                    <a:pt x="80" y="26"/>
                  </a:cubicBezTo>
                  <a:cubicBezTo>
                    <a:pt x="80" y="25"/>
                    <a:pt x="80" y="24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2"/>
                    <a:pt x="80" y="22"/>
                    <a:pt x="79" y="21"/>
                  </a:cubicBezTo>
                  <a:cubicBezTo>
                    <a:pt x="79" y="21"/>
                    <a:pt x="78" y="21"/>
                    <a:pt x="78" y="21"/>
                  </a:cubicBezTo>
                  <a:cubicBezTo>
                    <a:pt x="78" y="21"/>
                    <a:pt x="77" y="21"/>
                    <a:pt x="77" y="21"/>
                  </a:cubicBezTo>
                  <a:cubicBezTo>
                    <a:pt x="76" y="22"/>
                    <a:pt x="75" y="22"/>
                    <a:pt x="75" y="22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5" y="28"/>
                    <a:pt x="65" y="27"/>
                    <a:pt x="64" y="27"/>
                  </a:cubicBezTo>
                  <a:cubicBezTo>
                    <a:pt x="62" y="27"/>
                    <a:pt x="61" y="25"/>
                    <a:pt x="61" y="24"/>
                  </a:cubicBezTo>
                  <a:cubicBezTo>
                    <a:pt x="60" y="23"/>
                    <a:pt x="60" y="22"/>
                    <a:pt x="60" y="21"/>
                  </a:cubicBezTo>
                  <a:cubicBezTo>
                    <a:pt x="60" y="20"/>
                    <a:pt x="61" y="19"/>
                    <a:pt x="61" y="19"/>
                  </a:cubicBezTo>
                  <a:cubicBezTo>
                    <a:pt x="61" y="18"/>
                    <a:pt x="62" y="18"/>
                    <a:pt x="62" y="18"/>
                  </a:cubicBezTo>
                  <a:cubicBezTo>
                    <a:pt x="63" y="17"/>
                    <a:pt x="64" y="17"/>
                    <a:pt x="65" y="16"/>
                  </a:cubicBezTo>
                  <a:cubicBezTo>
                    <a:pt x="65" y="16"/>
                    <a:pt x="66" y="16"/>
                    <a:pt x="66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9"/>
                    <a:pt x="66" y="19"/>
                    <a:pt x="65" y="20"/>
                  </a:cubicBezTo>
                  <a:cubicBezTo>
                    <a:pt x="65" y="20"/>
                    <a:pt x="64" y="20"/>
                    <a:pt x="63" y="2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3"/>
                    <a:pt x="63" y="24"/>
                    <a:pt x="63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6" y="25"/>
                    <a:pt x="66" y="25"/>
                    <a:pt x="67" y="25"/>
                  </a:cubicBezTo>
                  <a:cubicBezTo>
                    <a:pt x="67" y="25"/>
                    <a:pt x="68" y="24"/>
                    <a:pt x="69" y="24"/>
                  </a:cubicBezTo>
                  <a:cubicBezTo>
                    <a:pt x="69" y="24"/>
                    <a:pt x="69" y="24"/>
                    <a:pt x="69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84" y="10"/>
                    <a:pt x="84" y="10"/>
                    <a:pt x="84" y="10"/>
                  </a:cubicBezTo>
                  <a:lnTo>
                    <a:pt x="84" y="13"/>
                  </a:lnTo>
                  <a:close/>
                  <a:moveTo>
                    <a:pt x="43" y="13"/>
                  </a:move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5" y="19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7" y="18"/>
                    <a:pt x="38" y="19"/>
                    <a:pt x="38" y="19"/>
                  </a:cubicBezTo>
                  <a:cubicBezTo>
                    <a:pt x="40" y="20"/>
                    <a:pt x="40" y="21"/>
                    <a:pt x="41" y="23"/>
                  </a:cubicBezTo>
                  <a:cubicBezTo>
                    <a:pt x="41" y="23"/>
                    <a:pt x="41" y="24"/>
                    <a:pt x="41" y="25"/>
                  </a:cubicBezTo>
                  <a:cubicBezTo>
                    <a:pt x="41" y="26"/>
                    <a:pt x="41" y="27"/>
                    <a:pt x="41" y="28"/>
                  </a:cubicBezTo>
                  <a:cubicBezTo>
                    <a:pt x="41" y="29"/>
                    <a:pt x="40" y="29"/>
                    <a:pt x="40" y="30"/>
                  </a:cubicBezTo>
                  <a:cubicBezTo>
                    <a:pt x="39" y="32"/>
                    <a:pt x="38" y="33"/>
                    <a:pt x="37" y="3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6" y="31"/>
                    <a:pt x="36" y="30"/>
                  </a:cubicBezTo>
                  <a:cubicBezTo>
                    <a:pt x="36" y="30"/>
                    <a:pt x="37" y="30"/>
                    <a:pt x="37" y="29"/>
                  </a:cubicBezTo>
                  <a:cubicBezTo>
                    <a:pt x="38" y="28"/>
                    <a:pt x="38" y="27"/>
                    <a:pt x="39" y="26"/>
                  </a:cubicBezTo>
                  <a:cubicBezTo>
                    <a:pt x="39" y="25"/>
                    <a:pt x="39" y="24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2"/>
                    <a:pt x="39" y="22"/>
                    <a:pt x="38" y="21"/>
                  </a:cubicBezTo>
                  <a:cubicBezTo>
                    <a:pt x="38" y="21"/>
                    <a:pt x="37" y="21"/>
                    <a:pt x="37" y="21"/>
                  </a:cubicBezTo>
                  <a:cubicBezTo>
                    <a:pt x="37" y="21"/>
                    <a:pt x="36" y="21"/>
                    <a:pt x="36" y="21"/>
                  </a:cubicBezTo>
                  <a:cubicBezTo>
                    <a:pt x="35" y="22"/>
                    <a:pt x="35" y="22"/>
                    <a:pt x="34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4" y="28"/>
                    <a:pt x="24" y="27"/>
                    <a:pt x="23" y="27"/>
                  </a:cubicBezTo>
                  <a:cubicBezTo>
                    <a:pt x="22" y="27"/>
                    <a:pt x="20" y="25"/>
                    <a:pt x="20" y="24"/>
                  </a:cubicBezTo>
                  <a:cubicBezTo>
                    <a:pt x="19" y="23"/>
                    <a:pt x="19" y="22"/>
                    <a:pt x="19" y="21"/>
                  </a:cubicBezTo>
                  <a:cubicBezTo>
                    <a:pt x="19" y="20"/>
                    <a:pt x="20" y="19"/>
                    <a:pt x="20" y="19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7"/>
                    <a:pt x="23" y="17"/>
                    <a:pt x="24" y="16"/>
                  </a:cubicBezTo>
                  <a:cubicBezTo>
                    <a:pt x="24" y="16"/>
                    <a:pt x="25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5" y="19"/>
                    <a:pt x="25" y="19"/>
                    <a:pt x="24" y="20"/>
                  </a:cubicBezTo>
                  <a:cubicBezTo>
                    <a:pt x="24" y="20"/>
                    <a:pt x="23" y="20"/>
                    <a:pt x="22" y="2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3"/>
                    <a:pt x="22" y="24"/>
                    <a:pt x="22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5"/>
                    <a:pt x="25" y="25"/>
                    <a:pt x="26" y="25"/>
                  </a:cubicBezTo>
                  <a:cubicBezTo>
                    <a:pt x="26" y="25"/>
                    <a:pt x="27" y="24"/>
                    <a:pt x="28" y="24"/>
                  </a:cubicBezTo>
                  <a:cubicBezTo>
                    <a:pt x="28" y="24"/>
                    <a:pt x="28" y="24"/>
                    <a:pt x="29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43" y="10"/>
                    <a:pt x="43" y="10"/>
                    <a:pt x="43" y="10"/>
                  </a:cubicBezTo>
                  <a:lnTo>
                    <a:pt x="43" y="13"/>
                  </a:lnTo>
                  <a:close/>
                  <a:moveTo>
                    <a:pt x="19" y="13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3"/>
                    <a:pt x="15" y="23"/>
                  </a:cubicBezTo>
                  <a:cubicBezTo>
                    <a:pt x="15" y="23"/>
                    <a:pt x="15" y="24"/>
                    <a:pt x="14" y="24"/>
                  </a:cubicBezTo>
                  <a:cubicBezTo>
                    <a:pt x="14" y="24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6"/>
                    <a:pt x="18" y="36"/>
                    <a:pt x="18" y="37"/>
                  </a:cubicBezTo>
                  <a:cubicBezTo>
                    <a:pt x="17" y="37"/>
                    <a:pt x="17" y="38"/>
                    <a:pt x="17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lnTo>
                    <a:pt x="19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2" name="Freeform 178"/>
            <p:cNvSpPr>
              <a:spLocks noEditPoints="1"/>
            </p:cNvSpPr>
            <p:nvPr/>
          </p:nvSpPr>
          <p:spPr bwMode="auto">
            <a:xfrm>
              <a:off x="3233" y="2131"/>
              <a:ext cx="207" cy="77"/>
            </a:xfrm>
            <a:custGeom>
              <a:avLst/>
              <a:gdLst>
                <a:gd name="T0" fmla="*/ 74 w 87"/>
                <a:gd name="T1" fmla="*/ 16 h 32"/>
                <a:gd name="T2" fmla="*/ 76 w 87"/>
                <a:gd name="T3" fmla="*/ 8 h 32"/>
                <a:gd name="T4" fmla="*/ 66 w 87"/>
                <a:gd name="T5" fmla="*/ 3 h 32"/>
                <a:gd name="T6" fmla="*/ 68 w 87"/>
                <a:gd name="T7" fmla="*/ 12 h 32"/>
                <a:gd name="T8" fmla="*/ 70 w 87"/>
                <a:gd name="T9" fmla="*/ 12 h 32"/>
                <a:gd name="T10" fmla="*/ 68 w 87"/>
                <a:gd name="T11" fmla="*/ 16 h 32"/>
                <a:gd name="T12" fmla="*/ 69 w 87"/>
                <a:gd name="T13" fmla="*/ 25 h 32"/>
                <a:gd name="T14" fmla="*/ 79 w 87"/>
                <a:gd name="T15" fmla="*/ 22 h 32"/>
                <a:gd name="T16" fmla="*/ 82 w 87"/>
                <a:gd name="T17" fmla="*/ 11 h 32"/>
                <a:gd name="T18" fmla="*/ 77 w 87"/>
                <a:gd name="T19" fmla="*/ 12 h 32"/>
                <a:gd name="T20" fmla="*/ 79 w 87"/>
                <a:gd name="T21" fmla="*/ 18 h 32"/>
                <a:gd name="T22" fmla="*/ 82 w 87"/>
                <a:gd name="T23" fmla="*/ 19 h 32"/>
                <a:gd name="T24" fmla="*/ 82 w 87"/>
                <a:gd name="T25" fmla="*/ 17 h 32"/>
                <a:gd name="T26" fmla="*/ 87 w 87"/>
                <a:gd name="T27" fmla="*/ 3 h 32"/>
                <a:gd name="T28" fmla="*/ 81 w 87"/>
                <a:gd name="T29" fmla="*/ 7 h 32"/>
                <a:gd name="T30" fmla="*/ 85 w 87"/>
                <a:gd name="T31" fmla="*/ 16 h 32"/>
                <a:gd name="T32" fmla="*/ 65 w 87"/>
                <a:gd name="T33" fmla="*/ 26 h 32"/>
                <a:gd name="T34" fmla="*/ 64 w 87"/>
                <a:gd name="T35" fmla="*/ 14 h 32"/>
                <a:gd name="T36" fmla="*/ 62 w 87"/>
                <a:gd name="T37" fmla="*/ 3 h 32"/>
                <a:gd name="T38" fmla="*/ 87 w 87"/>
                <a:gd name="T39" fmla="*/ 0 h 32"/>
                <a:gd name="T40" fmla="*/ 63 w 87"/>
                <a:gd name="T41" fmla="*/ 20 h 32"/>
                <a:gd name="T42" fmla="*/ 61 w 87"/>
                <a:gd name="T43" fmla="*/ 22 h 32"/>
                <a:gd name="T44" fmla="*/ 50 w 87"/>
                <a:gd name="T45" fmla="*/ 22 h 32"/>
                <a:gd name="T46" fmla="*/ 48 w 87"/>
                <a:gd name="T47" fmla="*/ 13 h 32"/>
                <a:gd name="T48" fmla="*/ 42 w 87"/>
                <a:gd name="T49" fmla="*/ 8 h 32"/>
                <a:gd name="T50" fmla="*/ 55 w 87"/>
                <a:gd name="T51" fmla="*/ 12 h 32"/>
                <a:gd name="T52" fmla="*/ 51 w 87"/>
                <a:gd name="T53" fmla="*/ 15 h 32"/>
                <a:gd name="T54" fmla="*/ 50 w 87"/>
                <a:gd name="T55" fmla="*/ 18 h 32"/>
                <a:gd name="T56" fmla="*/ 52 w 87"/>
                <a:gd name="T57" fmla="*/ 20 h 32"/>
                <a:gd name="T58" fmla="*/ 60 w 87"/>
                <a:gd name="T59" fmla="*/ 18 h 32"/>
                <a:gd name="T60" fmla="*/ 63 w 87"/>
                <a:gd name="T61" fmla="*/ 20 h 32"/>
                <a:gd name="T62" fmla="*/ 60 w 87"/>
                <a:gd name="T63" fmla="*/ 3 h 32"/>
                <a:gd name="T64" fmla="*/ 60 w 87"/>
                <a:gd name="T65" fmla="*/ 0 h 32"/>
                <a:gd name="T66" fmla="*/ 42 w 87"/>
                <a:gd name="T67" fmla="*/ 3 h 32"/>
                <a:gd name="T68" fmla="*/ 38 w 87"/>
                <a:gd name="T69" fmla="*/ 32 h 32"/>
                <a:gd name="T70" fmla="*/ 34 w 87"/>
                <a:gd name="T71" fmla="*/ 22 h 32"/>
                <a:gd name="T72" fmla="*/ 28 w 87"/>
                <a:gd name="T73" fmla="*/ 23 h 32"/>
                <a:gd name="T74" fmla="*/ 20 w 87"/>
                <a:gd name="T75" fmla="*/ 18 h 32"/>
                <a:gd name="T76" fmla="*/ 29 w 87"/>
                <a:gd name="T77" fmla="*/ 7 h 32"/>
                <a:gd name="T78" fmla="*/ 31 w 87"/>
                <a:gd name="T79" fmla="*/ 11 h 32"/>
                <a:gd name="T80" fmla="*/ 23 w 87"/>
                <a:gd name="T81" fmla="*/ 16 h 32"/>
                <a:gd name="T82" fmla="*/ 27 w 87"/>
                <a:gd name="T83" fmla="*/ 20 h 32"/>
                <a:gd name="T84" fmla="*/ 33 w 87"/>
                <a:gd name="T85" fmla="*/ 17 h 32"/>
                <a:gd name="T86" fmla="*/ 18 w 87"/>
                <a:gd name="T87" fmla="*/ 3 h 32"/>
                <a:gd name="T88" fmla="*/ 43 w 87"/>
                <a:gd name="T89" fmla="*/ 3 h 32"/>
                <a:gd name="T90" fmla="*/ 22 w 87"/>
                <a:gd name="T91" fmla="*/ 15 h 32"/>
                <a:gd name="T92" fmla="*/ 19 w 87"/>
                <a:gd name="T93" fmla="*/ 16 h 32"/>
                <a:gd name="T94" fmla="*/ 12 w 87"/>
                <a:gd name="T95" fmla="*/ 15 h 32"/>
                <a:gd name="T96" fmla="*/ 8 w 87"/>
                <a:gd name="T97" fmla="*/ 19 h 32"/>
                <a:gd name="T98" fmla="*/ 13 w 87"/>
                <a:gd name="T99" fmla="*/ 25 h 32"/>
                <a:gd name="T100" fmla="*/ 17 w 87"/>
                <a:gd name="T101" fmla="*/ 30 h 32"/>
                <a:gd name="T102" fmla="*/ 11 w 87"/>
                <a:gd name="T103" fmla="*/ 27 h 32"/>
                <a:gd name="T104" fmla="*/ 4 w 87"/>
                <a:gd name="T105" fmla="*/ 17 h 32"/>
                <a:gd name="T106" fmla="*/ 3 w 87"/>
                <a:gd name="T107" fmla="*/ 12 h 32"/>
                <a:gd name="T108" fmla="*/ 4 w 87"/>
                <a:gd name="T109" fmla="*/ 11 h 32"/>
                <a:gd name="T110" fmla="*/ 0 w 87"/>
                <a:gd name="T111" fmla="*/ 3 h 32"/>
                <a:gd name="T112" fmla="*/ 19 w 87"/>
                <a:gd name="T113" fmla="*/ 3 h 32"/>
                <a:gd name="T114" fmla="*/ 14 w 87"/>
                <a:gd name="T115" fmla="*/ 13 h 32"/>
                <a:gd name="T116" fmla="*/ 22 w 87"/>
                <a:gd name="T117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" h="32">
                  <a:moveTo>
                    <a:pt x="80" y="21"/>
                  </a:moveTo>
                  <a:cubicBezTo>
                    <a:pt x="80" y="21"/>
                    <a:pt x="79" y="21"/>
                    <a:pt x="79" y="21"/>
                  </a:cubicBezTo>
                  <a:cubicBezTo>
                    <a:pt x="77" y="20"/>
                    <a:pt x="75" y="18"/>
                    <a:pt x="74" y="16"/>
                  </a:cubicBezTo>
                  <a:cubicBezTo>
                    <a:pt x="74" y="15"/>
                    <a:pt x="73" y="14"/>
                    <a:pt x="73" y="13"/>
                  </a:cubicBezTo>
                  <a:cubicBezTo>
                    <a:pt x="73" y="12"/>
                    <a:pt x="74" y="11"/>
                    <a:pt x="75" y="10"/>
                  </a:cubicBezTo>
                  <a:cubicBezTo>
                    <a:pt x="75" y="9"/>
                    <a:pt x="75" y="9"/>
                    <a:pt x="76" y="8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2" y="15"/>
                    <a:pt x="71" y="15"/>
                    <a:pt x="70" y="16"/>
                  </a:cubicBezTo>
                  <a:cubicBezTo>
                    <a:pt x="70" y="16"/>
                    <a:pt x="69" y="16"/>
                    <a:pt x="68" y="16"/>
                  </a:cubicBezTo>
                  <a:cubicBezTo>
                    <a:pt x="66" y="17"/>
                    <a:pt x="65" y="18"/>
                    <a:pt x="65" y="20"/>
                  </a:cubicBezTo>
                  <a:cubicBezTo>
                    <a:pt x="65" y="21"/>
                    <a:pt x="65" y="21"/>
                    <a:pt x="66" y="22"/>
                  </a:cubicBezTo>
                  <a:cubicBezTo>
                    <a:pt x="66" y="23"/>
                    <a:pt x="68" y="24"/>
                    <a:pt x="69" y="25"/>
                  </a:cubicBezTo>
                  <a:cubicBezTo>
                    <a:pt x="70" y="25"/>
                    <a:pt x="71" y="25"/>
                    <a:pt x="72" y="25"/>
                  </a:cubicBezTo>
                  <a:cubicBezTo>
                    <a:pt x="74" y="25"/>
                    <a:pt x="76" y="25"/>
                    <a:pt x="78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80" y="21"/>
                    <a:pt x="80" y="21"/>
                    <a:pt x="80" y="21"/>
                  </a:cubicBezTo>
                  <a:close/>
                  <a:moveTo>
                    <a:pt x="82" y="15"/>
                  </a:moveTo>
                  <a:cubicBezTo>
                    <a:pt x="82" y="13"/>
                    <a:pt x="82" y="12"/>
                    <a:pt x="82" y="11"/>
                  </a:cubicBezTo>
                  <a:cubicBezTo>
                    <a:pt x="81" y="10"/>
                    <a:pt x="80" y="10"/>
                    <a:pt x="79" y="10"/>
                  </a:cubicBezTo>
                  <a:cubicBezTo>
                    <a:pt x="79" y="10"/>
                    <a:pt x="78" y="10"/>
                    <a:pt x="78" y="10"/>
                  </a:cubicBezTo>
                  <a:cubicBezTo>
                    <a:pt x="78" y="10"/>
                    <a:pt x="77" y="11"/>
                    <a:pt x="77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7" y="14"/>
                    <a:pt x="77" y="15"/>
                    <a:pt x="77" y="16"/>
                  </a:cubicBezTo>
                  <a:cubicBezTo>
                    <a:pt x="78" y="17"/>
                    <a:pt x="78" y="17"/>
                    <a:pt x="79" y="18"/>
                  </a:cubicBezTo>
                  <a:cubicBezTo>
                    <a:pt x="79" y="18"/>
                    <a:pt x="80" y="18"/>
                    <a:pt x="80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6"/>
                    <a:pt x="82" y="16"/>
                    <a:pt x="82" y="15"/>
                  </a:cubicBezTo>
                  <a:moveTo>
                    <a:pt x="87" y="3"/>
                  </a:move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82" y="8"/>
                    <a:pt x="83" y="10"/>
                    <a:pt x="84" y="11"/>
                  </a:cubicBezTo>
                  <a:cubicBezTo>
                    <a:pt x="84" y="12"/>
                    <a:pt x="85" y="13"/>
                    <a:pt x="85" y="14"/>
                  </a:cubicBezTo>
                  <a:cubicBezTo>
                    <a:pt x="85" y="15"/>
                    <a:pt x="85" y="16"/>
                    <a:pt x="85" y="16"/>
                  </a:cubicBezTo>
                  <a:cubicBezTo>
                    <a:pt x="85" y="20"/>
                    <a:pt x="84" y="22"/>
                    <a:pt x="82" y="24"/>
                  </a:cubicBezTo>
                  <a:cubicBezTo>
                    <a:pt x="80" y="27"/>
                    <a:pt x="78" y="28"/>
                    <a:pt x="74" y="28"/>
                  </a:cubicBezTo>
                  <a:cubicBezTo>
                    <a:pt x="71" y="28"/>
                    <a:pt x="68" y="27"/>
                    <a:pt x="65" y="26"/>
                  </a:cubicBezTo>
                  <a:cubicBezTo>
                    <a:pt x="63" y="24"/>
                    <a:pt x="62" y="21"/>
                    <a:pt x="62" y="18"/>
                  </a:cubicBezTo>
                  <a:cubicBezTo>
                    <a:pt x="62" y="18"/>
                    <a:pt x="62" y="17"/>
                    <a:pt x="62" y="17"/>
                  </a:cubicBezTo>
                  <a:cubicBezTo>
                    <a:pt x="62" y="16"/>
                    <a:pt x="63" y="15"/>
                    <a:pt x="64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87" y="0"/>
                    <a:pt x="87" y="0"/>
                    <a:pt x="87" y="0"/>
                  </a:cubicBezTo>
                  <a:lnTo>
                    <a:pt x="87" y="3"/>
                  </a:lnTo>
                  <a:close/>
                  <a:moveTo>
                    <a:pt x="63" y="20"/>
                  </a:moveTo>
                  <a:cubicBezTo>
                    <a:pt x="63" y="20"/>
                    <a:pt x="63" y="20"/>
                    <a:pt x="63" y="2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3" y="21"/>
                    <a:pt x="62" y="2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3"/>
                    <a:pt x="59" y="23"/>
                    <a:pt x="58" y="23"/>
                  </a:cubicBezTo>
                  <a:cubicBezTo>
                    <a:pt x="57" y="24"/>
                    <a:pt x="56" y="24"/>
                    <a:pt x="56" y="24"/>
                  </a:cubicBezTo>
                  <a:cubicBezTo>
                    <a:pt x="53" y="24"/>
                    <a:pt x="51" y="23"/>
                    <a:pt x="50" y="22"/>
                  </a:cubicBezTo>
                  <a:cubicBezTo>
                    <a:pt x="47" y="21"/>
                    <a:pt x="46" y="19"/>
                    <a:pt x="46" y="17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5"/>
                    <a:pt x="47" y="14"/>
                    <a:pt x="48" y="13"/>
                  </a:cubicBezTo>
                  <a:cubicBezTo>
                    <a:pt x="48" y="13"/>
                    <a:pt x="49" y="12"/>
                    <a:pt x="49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2"/>
                    <a:pt x="54" y="12"/>
                    <a:pt x="54" y="12"/>
                  </a:cubicBezTo>
                  <a:cubicBezTo>
                    <a:pt x="53" y="13"/>
                    <a:pt x="53" y="13"/>
                    <a:pt x="52" y="14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8"/>
                  </a:cubicBezTo>
                  <a:cubicBezTo>
                    <a:pt x="50" y="18"/>
                    <a:pt x="50" y="19"/>
                    <a:pt x="50" y="19"/>
                  </a:cubicBezTo>
                  <a:cubicBezTo>
                    <a:pt x="50" y="19"/>
                    <a:pt x="50" y="20"/>
                    <a:pt x="51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6" y="20"/>
                    <a:pt x="57" y="20"/>
                    <a:pt x="59" y="19"/>
                  </a:cubicBezTo>
                  <a:cubicBezTo>
                    <a:pt x="59" y="19"/>
                    <a:pt x="60" y="18"/>
                    <a:pt x="60" y="18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6"/>
                    <a:pt x="63" y="16"/>
                    <a:pt x="63" y="15"/>
                  </a:cubicBezTo>
                  <a:lnTo>
                    <a:pt x="63" y="20"/>
                  </a:lnTo>
                  <a:close/>
                  <a:moveTo>
                    <a:pt x="60" y="3"/>
                  </a:moveTo>
                  <a:cubicBezTo>
                    <a:pt x="60" y="3"/>
                    <a:pt x="60" y="3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3"/>
                  </a:lnTo>
                  <a:close/>
                  <a:moveTo>
                    <a:pt x="43" y="3"/>
                  </a:move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5" y="23"/>
                    <a:pt x="23" y="23"/>
                    <a:pt x="22" y="21"/>
                  </a:cubicBezTo>
                  <a:cubicBezTo>
                    <a:pt x="21" y="20"/>
                    <a:pt x="21" y="20"/>
                    <a:pt x="21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7"/>
                    <a:pt x="19" y="15"/>
                    <a:pt x="19" y="14"/>
                  </a:cubicBezTo>
                  <a:cubicBezTo>
                    <a:pt x="19" y="11"/>
                    <a:pt x="21" y="9"/>
                    <a:pt x="24" y="8"/>
                  </a:cubicBezTo>
                  <a:cubicBezTo>
                    <a:pt x="25" y="8"/>
                    <a:pt x="26" y="7"/>
                    <a:pt x="29" y="7"/>
                  </a:cubicBezTo>
                  <a:cubicBezTo>
                    <a:pt x="29" y="7"/>
                    <a:pt x="30" y="7"/>
                    <a:pt x="31" y="7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0" y="11"/>
                    <a:pt x="29" y="11"/>
                    <a:pt x="28" y="11"/>
                  </a:cubicBezTo>
                  <a:cubicBezTo>
                    <a:pt x="26" y="11"/>
                    <a:pt x="25" y="12"/>
                    <a:pt x="23" y="13"/>
                  </a:cubicBezTo>
                  <a:cubicBezTo>
                    <a:pt x="23" y="14"/>
                    <a:pt x="23" y="15"/>
                    <a:pt x="23" y="16"/>
                  </a:cubicBezTo>
                  <a:cubicBezTo>
                    <a:pt x="23" y="17"/>
                    <a:pt x="23" y="18"/>
                    <a:pt x="24" y="19"/>
                  </a:cubicBezTo>
                  <a:cubicBezTo>
                    <a:pt x="24" y="19"/>
                    <a:pt x="24" y="20"/>
                    <a:pt x="25" y="20"/>
                  </a:cubicBezTo>
                  <a:cubicBezTo>
                    <a:pt x="26" y="20"/>
                    <a:pt x="26" y="20"/>
                    <a:pt x="27" y="20"/>
                  </a:cubicBezTo>
                  <a:cubicBezTo>
                    <a:pt x="28" y="20"/>
                    <a:pt x="29" y="20"/>
                    <a:pt x="29" y="20"/>
                  </a:cubicBezTo>
                  <a:cubicBezTo>
                    <a:pt x="30" y="20"/>
                    <a:pt x="31" y="19"/>
                    <a:pt x="32" y="18"/>
                  </a:cubicBezTo>
                  <a:cubicBezTo>
                    <a:pt x="33" y="18"/>
                    <a:pt x="33" y="17"/>
                    <a:pt x="33" y="17"/>
                  </a:cubicBezTo>
                  <a:cubicBezTo>
                    <a:pt x="34" y="17"/>
                    <a:pt x="34" y="17"/>
                    <a:pt x="34" y="16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43" y="3"/>
                  </a:lnTo>
                  <a:close/>
                  <a:moveTo>
                    <a:pt x="22" y="15"/>
                  </a:move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7"/>
                    <a:pt x="14" y="16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7"/>
                    <a:pt x="10" y="18"/>
                    <a:pt x="9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6" y="29"/>
                    <a:pt x="17" y="30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8" y="13"/>
                    <a:pt x="19" y="13"/>
                    <a:pt x="20" y="12"/>
                  </a:cubicBezTo>
                  <a:cubicBezTo>
                    <a:pt x="21" y="12"/>
                    <a:pt x="21" y="12"/>
                    <a:pt x="22" y="11"/>
                  </a:cubicBezTo>
                  <a:lnTo>
                    <a:pt x="2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3" name="Freeform 179"/>
            <p:cNvSpPr>
              <a:spLocks noEditPoints="1"/>
            </p:cNvSpPr>
            <p:nvPr/>
          </p:nvSpPr>
          <p:spPr bwMode="auto">
            <a:xfrm>
              <a:off x="3727" y="2131"/>
              <a:ext cx="202" cy="77"/>
            </a:xfrm>
            <a:custGeom>
              <a:avLst/>
              <a:gdLst>
                <a:gd name="T0" fmla="*/ 84 w 85"/>
                <a:gd name="T1" fmla="*/ 3 h 32"/>
                <a:gd name="T2" fmla="*/ 76 w 85"/>
                <a:gd name="T3" fmla="*/ 30 h 32"/>
                <a:gd name="T4" fmla="*/ 65 w 85"/>
                <a:gd name="T5" fmla="*/ 12 h 32"/>
                <a:gd name="T6" fmla="*/ 63 w 85"/>
                <a:gd name="T7" fmla="*/ 16 h 32"/>
                <a:gd name="T8" fmla="*/ 68 w 85"/>
                <a:gd name="T9" fmla="*/ 26 h 32"/>
                <a:gd name="T10" fmla="*/ 66 w 85"/>
                <a:gd name="T11" fmla="*/ 28 h 32"/>
                <a:gd name="T12" fmla="*/ 60 w 85"/>
                <a:gd name="T13" fmla="*/ 14 h 32"/>
                <a:gd name="T14" fmla="*/ 62 w 85"/>
                <a:gd name="T15" fmla="*/ 9 h 32"/>
                <a:gd name="T16" fmla="*/ 64 w 85"/>
                <a:gd name="T17" fmla="*/ 8 h 32"/>
                <a:gd name="T18" fmla="*/ 58 w 85"/>
                <a:gd name="T19" fmla="*/ 3 h 32"/>
                <a:gd name="T20" fmla="*/ 85 w 85"/>
                <a:gd name="T21" fmla="*/ 3 h 32"/>
                <a:gd name="T22" fmla="*/ 60 w 85"/>
                <a:gd name="T23" fmla="*/ 3 h 32"/>
                <a:gd name="T24" fmla="*/ 52 w 85"/>
                <a:gd name="T25" fmla="*/ 8 h 32"/>
                <a:gd name="T26" fmla="*/ 52 w 85"/>
                <a:gd name="T27" fmla="*/ 25 h 32"/>
                <a:gd name="T28" fmla="*/ 54 w 85"/>
                <a:gd name="T29" fmla="*/ 32 h 32"/>
                <a:gd name="T30" fmla="*/ 49 w 85"/>
                <a:gd name="T31" fmla="*/ 25 h 32"/>
                <a:gd name="T32" fmla="*/ 43 w 85"/>
                <a:gd name="T33" fmla="*/ 16 h 32"/>
                <a:gd name="T34" fmla="*/ 43 w 85"/>
                <a:gd name="T35" fmla="*/ 11 h 32"/>
                <a:gd name="T36" fmla="*/ 37 w 85"/>
                <a:gd name="T37" fmla="*/ 3 h 32"/>
                <a:gd name="T38" fmla="*/ 60 w 85"/>
                <a:gd name="T39" fmla="*/ 3 h 32"/>
                <a:gd name="T40" fmla="*/ 38 w 85"/>
                <a:gd name="T41" fmla="*/ 3 h 32"/>
                <a:gd name="T42" fmla="*/ 30 w 85"/>
                <a:gd name="T43" fmla="*/ 30 h 32"/>
                <a:gd name="T44" fmla="*/ 26 w 85"/>
                <a:gd name="T45" fmla="*/ 0 h 32"/>
                <a:gd name="T46" fmla="*/ 28 w 85"/>
                <a:gd name="T47" fmla="*/ 3 h 32"/>
                <a:gd name="T48" fmla="*/ 23 w 85"/>
                <a:gd name="T49" fmla="*/ 3 h 32"/>
                <a:gd name="T50" fmla="*/ 20 w 85"/>
                <a:gd name="T51" fmla="*/ 3 h 32"/>
                <a:gd name="T52" fmla="*/ 28 w 85"/>
                <a:gd name="T53" fmla="*/ 0 h 32"/>
                <a:gd name="T54" fmla="*/ 9 w 85"/>
                <a:gd name="T55" fmla="*/ 4 h 32"/>
                <a:gd name="T56" fmla="*/ 7 w 85"/>
                <a:gd name="T57" fmla="*/ 3 h 32"/>
                <a:gd name="T58" fmla="*/ 3 w 85"/>
                <a:gd name="T59" fmla="*/ 5 h 32"/>
                <a:gd name="T60" fmla="*/ 6 w 85"/>
                <a:gd name="T61" fmla="*/ 8 h 32"/>
                <a:gd name="T62" fmla="*/ 21 w 85"/>
                <a:gd name="T63" fmla="*/ 17 h 32"/>
                <a:gd name="T64" fmla="*/ 12 w 85"/>
                <a:gd name="T65" fmla="*/ 17 h 32"/>
                <a:gd name="T66" fmla="*/ 12 w 85"/>
                <a:gd name="T67" fmla="*/ 22 h 32"/>
                <a:gd name="T68" fmla="*/ 9 w 85"/>
                <a:gd name="T69" fmla="*/ 22 h 32"/>
                <a:gd name="T70" fmla="*/ 4 w 85"/>
                <a:gd name="T71" fmla="*/ 15 h 32"/>
                <a:gd name="T72" fmla="*/ 5 w 85"/>
                <a:gd name="T73" fmla="*/ 14 h 32"/>
                <a:gd name="T74" fmla="*/ 9 w 85"/>
                <a:gd name="T75" fmla="*/ 11 h 32"/>
                <a:gd name="T76" fmla="*/ 0 w 85"/>
                <a:gd name="T77" fmla="*/ 5 h 32"/>
                <a:gd name="T78" fmla="*/ 5 w 85"/>
                <a:gd name="T79" fmla="*/ 0 h 32"/>
                <a:gd name="T80" fmla="*/ 12 w 85"/>
                <a:gd name="T81" fmla="*/ 5 h 32"/>
                <a:gd name="T82" fmla="*/ 21 w 85"/>
                <a:gd name="T83" fmla="*/ 17 h 32"/>
                <a:gd name="T84" fmla="*/ 17 w 85"/>
                <a:gd name="T85" fmla="*/ 3 h 32"/>
                <a:gd name="T86" fmla="*/ 18 w 85"/>
                <a:gd name="T8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" h="32">
                  <a:moveTo>
                    <a:pt x="85" y="3"/>
                  </a:moveTo>
                  <a:cubicBezTo>
                    <a:pt x="84" y="3"/>
                    <a:pt x="84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5" y="12"/>
                    <a:pt x="65" y="12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4"/>
                    <a:pt x="63" y="14"/>
                    <a:pt x="63" y="14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63" y="17"/>
                    <a:pt x="63" y="19"/>
                    <a:pt x="64" y="20"/>
                  </a:cubicBezTo>
                  <a:cubicBezTo>
                    <a:pt x="65" y="22"/>
                    <a:pt x="66" y="23"/>
                    <a:pt x="67" y="25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9" y="27"/>
                    <a:pt x="70" y="28"/>
                    <a:pt x="71" y="29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30"/>
                    <a:pt x="67" y="29"/>
                    <a:pt x="66" y="28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2" y="22"/>
                    <a:pt x="61" y="21"/>
                    <a:pt x="61" y="19"/>
                  </a:cubicBezTo>
                  <a:cubicBezTo>
                    <a:pt x="60" y="17"/>
                    <a:pt x="60" y="16"/>
                    <a:pt x="60" y="14"/>
                  </a:cubicBezTo>
                  <a:cubicBezTo>
                    <a:pt x="60" y="13"/>
                    <a:pt x="60" y="12"/>
                    <a:pt x="60" y="11"/>
                  </a:cubicBezTo>
                  <a:cubicBezTo>
                    <a:pt x="61" y="11"/>
                    <a:pt x="61" y="11"/>
                    <a:pt x="61" y="10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5" y="0"/>
                    <a:pt x="85" y="0"/>
                    <a:pt x="85" y="0"/>
                  </a:cubicBezTo>
                  <a:lnTo>
                    <a:pt x="85" y="3"/>
                  </a:lnTo>
                  <a:close/>
                  <a:moveTo>
                    <a:pt x="60" y="3"/>
                  </a:moveTo>
                  <a:cubicBezTo>
                    <a:pt x="60" y="3"/>
                    <a:pt x="60" y="3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12"/>
                    <a:pt x="51" y="15"/>
                    <a:pt x="48" y="19"/>
                  </a:cubicBezTo>
                  <a:cubicBezTo>
                    <a:pt x="48" y="20"/>
                    <a:pt x="49" y="21"/>
                    <a:pt x="49" y="22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5" y="29"/>
                    <a:pt x="56" y="29"/>
                    <a:pt x="57" y="3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1"/>
                    <a:pt x="43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3"/>
                  </a:lnTo>
                  <a:close/>
                  <a:moveTo>
                    <a:pt x="39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9" y="0"/>
                    <a:pt x="39" y="0"/>
                    <a:pt x="39" y="0"/>
                  </a:cubicBezTo>
                  <a:lnTo>
                    <a:pt x="39" y="3"/>
                  </a:lnTo>
                  <a:close/>
                  <a:moveTo>
                    <a:pt x="28" y="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28" y="3"/>
                  </a:lnTo>
                  <a:close/>
                  <a:moveTo>
                    <a:pt x="9" y="8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5" y="2"/>
                    <a:pt x="4" y="3"/>
                    <a:pt x="4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7"/>
                    <a:pt x="4" y="7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lose/>
                  <a:moveTo>
                    <a:pt x="21" y="17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9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6" y="19"/>
                    <a:pt x="5" y="18"/>
                    <a:pt x="4" y="16"/>
                  </a:cubicBezTo>
                  <a:cubicBezTo>
                    <a:pt x="4" y="16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3" y="10"/>
                    <a:pt x="2" y="9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8" y="0"/>
                    <a:pt x="10" y="1"/>
                  </a:cubicBezTo>
                  <a:cubicBezTo>
                    <a:pt x="11" y="2"/>
                    <a:pt x="11" y="2"/>
                    <a:pt x="12" y="3"/>
                  </a:cubicBezTo>
                  <a:cubicBezTo>
                    <a:pt x="12" y="4"/>
                    <a:pt x="12" y="5"/>
                    <a:pt x="12" y="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21" y="14"/>
                    <a:pt x="21" y="14"/>
                    <a:pt x="21" y="14"/>
                  </a:cubicBezTo>
                  <a:lnTo>
                    <a:pt x="21" y="17"/>
                  </a:lnTo>
                  <a:close/>
                  <a:moveTo>
                    <a:pt x="18" y="3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18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89" name="Group 288"/>
          <p:cNvGrpSpPr/>
          <p:nvPr/>
        </p:nvGrpSpPr>
        <p:grpSpPr>
          <a:xfrm>
            <a:off x="496711" y="124178"/>
            <a:ext cx="1423780" cy="1012845"/>
            <a:chOff x="411517" y="79022"/>
            <a:chExt cx="1565419" cy="1113604"/>
          </a:xfrm>
        </p:grpSpPr>
        <p:grpSp>
          <p:nvGrpSpPr>
            <p:cNvPr id="1108" name="Group 109"/>
            <p:cNvGrpSpPr>
              <a:grpSpLocks noChangeAspect="1"/>
            </p:cNvGrpSpPr>
            <p:nvPr/>
          </p:nvGrpSpPr>
          <p:grpSpPr bwMode="auto">
            <a:xfrm>
              <a:off x="1411002" y="79022"/>
              <a:ext cx="565934" cy="567035"/>
              <a:chOff x="3324" y="1646"/>
              <a:chExt cx="1028" cy="1030"/>
            </a:xfrm>
            <a:solidFill>
              <a:schemeClr val="bg1"/>
            </a:solidFill>
          </p:grpSpPr>
          <p:sp>
            <p:nvSpPr>
              <p:cNvPr id="1110" name="Rectangle 110"/>
              <p:cNvSpPr>
                <a:spLocks noChangeArrowheads="1"/>
              </p:cNvSpPr>
              <p:nvPr/>
            </p:nvSpPr>
            <p:spPr bwMode="auto">
              <a:xfrm>
                <a:off x="3324" y="2029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1" name="Rectangle 111"/>
              <p:cNvSpPr>
                <a:spLocks noChangeArrowheads="1"/>
              </p:cNvSpPr>
              <p:nvPr/>
            </p:nvSpPr>
            <p:spPr bwMode="auto">
              <a:xfrm>
                <a:off x="4275" y="2029"/>
                <a:ext cx="77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2" name="Rectangle 112"/>
              <p:cNvSpPr>
                <a:spLocks noChangeArrowheads="1"/>
              </p:cNvSpPr>
              <p:nvPr/>
            </p:nvSpPr>
            <p:spPr bwMode="auto">
              <a:xfrm>
                <a:off x="3797" y="212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3" name="Rectangle 113"/>
              <p:cNvSpPr>
                <a:spLocks noChangeArrowheads="1"/>
              </p:cNvSpPr>
              <p:nvPr/>
            </p:nvSpPr>
            <p:spPr bwMode="auto">
              <a:xfrm>
                <a:off x="3324" y="1932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4" name="Rectangle 114"/>
              <p:cNvSpPr>
                <a:spLocks noChangeArrowheads="1"/>
              </p:cNvSpPr>
              <p:nvPr/>
            </p:nvSpPr>
            <p:spPr bwMode="auto">
              <a:xfrm>
                <a:off x="4275" y="1932"/>
                <a:ext cx="77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5" name="Rectangle 115"/>
              <p:cNvSpPr>
                <a:spLocks noChangeArrowheads="1"/>
              </p:cNvSpPr>
              <p:nvPr/>
            </p:nvSpPr>
            <p:spPr bwMode="auto">
              <a:xfrm>
                <a:off x="3797" y="2027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6" name="Rectangle 116"/>
              <p:cNvSpPr>
                <a:spLocks noChangeArrowheads="1"/>
              </p:cNvSpPr>
              <p:nvPr/>
            </p:nvSpPr>
            <p:spPr bwMode="auto">
              <a:xfrm>
                <a:off x="3797" y="2217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7" name="Rectangle 117"/>
              <p:cNvSpPr>
                <a:spLocks noChangeArrowheads="1"/>
              </p:cNvSpPr>
              <p:nvPr/>
            </p:nvSpPr>
            <p:spPr bwMode="auto">
              <a:xfrm>
                <a:off x="3797" y="2315"/>
                <a:ext cx="76" cy="7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8" name="Rectangle 118"/>
              <p:cNvSpPr>
                <a:spLocks noChangeArrowheads="1"/>
              </p:cNvSpPr>
              <p:nvPr/>
            </p:nvSpPr>
            <p:spPr bwMode="auto">
              <a:xfrm>
                <a:off x="3324" y="2315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9" name="Rectangle 119"/>
              <p:cNvSpPr>
                <a:spLocks noChangeArrowheads="1"/>
              </p:cNvSpPr>
              <p:nvPr/>
            </p:nvSpPr>
            <p:spPr bwMode="auto">
              <a:xfrm>
                <a:off x="4275" y="2315"/>
                <a:ext cx="77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6" name="Rectangle 120"/>
              <p:cNvSpPr>
                <a:spLocks noChangeArrowheads="1"/>
              </p:cNvSpPr>
              <p:nvPr/>
            </p:nvSpPr>
            <p:spPr bwMode="auto">
              <a:xfrm>
                <a:off x="3797" y="2410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7" name="Rectangle 121"/>
              <p:cNvSpPr>
                <a:spLocks noChangeArrowheads="1"/>
              </p:cNvSpPr>
              <p:nvPr/>
            </p:nvSpPr>
            <p:spPr bwMode="auto">
              <a:xfrm>
                <a:off x="3324" y="2410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8" name="Rectangle 122"/>
              <p:cNvSpPr>
                <a:spLocks noChangeArrowheads="1"/>
              </p:cNvSpPr>
              <p:nvPr/>
            </p:nvSpPr>
            <p:spPr bwMode="auto">
              <a:xfrm>
                <a:off x="4275" y="2410"/>
                <a:ext cx="77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9" name="Rectangle 123"/>
              <p:cNvSpPr>
                <a:spLocks noChangeArrowheads="1"/>
              </p:cNvSpPr>
              <p:nvPr/>
            </p:nvSpPr>
            <p:spPr bwMode="auto">
              <a:xfrm>
                <a:off x="3797" y="2505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0" name="Rectangle 124"/>
              <p:cNvSpPr>
                <a:spLocks noChangeArrowheads="1"/>
              </p:cNvSpPr>
              <p:nvPr/>
            </p:nvSpPr>
            <p:spPr bwMode="auto">
              <a:xfrm>
                <a:off x="3324" y="2507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1" name="Rectangle 125"/>
              <p:cNvSpPr>
                <a:spLocks noChangeArrowheads="1"/>
              </p:cNvSpPr>
              <p:nvPr/>
            </p:nvSpPr>
            <p:spPr bwMode="auto">
              <a:xfrm>
                <a:off x="4275" y="2507"/>
                <a:ext cx="77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2" name="Rectangle 126"/>
              <p:cNvSpPr>
                <a:spLocks noChangeArrowheads="1"/>
              </p:cNvSpPr>
              <p:nvPr/>
            </p:nvSpPr>
            <p:spPr bwMode="auto">
              <a:xfrm>
                <a:off x="3797" y="260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3" name="Rectangle 127"/>
              <p:cNvSpPr>
                <a:spLocks noChangeArrowheads="1"/>
              </p:cNvSpPr>
              <p:nvPr/>
            </p:nvSpPr>
            <p:spPr bwMode="auto">
              <a:xfrm>
                <a:off x="3324" y="1836"/>
                <a:ext cx="73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4" name="Rectangle 128"/>
              <p:cNvSpPr>
                <a:spLocks noChangeArrowheads="1"/>
              </p:cNvSpPr>
              <p:nvPr/>
            </p:nvSpPr>
            <p:spPr bwMode="auto">
              <a:xfrm>
                <a:off x="4275" y="1836"/>
                <a:ext cx="77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5" name="Rectangle 129"/>
              <p:cNvSpPr>
                <a:spLocks noChangeArrowheads="1"/>
              </p:cNvSpPr>
              <p:nvPr/>
            </p:nvSpPr>
            <p:spPr bwMode="auto">
              <a:xfrm>
                <a:off x="3797" y="1932"/>
                <a:ext cx="76" cy="7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6" name="Rectangle 130"/>
              <p:cNvSpPr>
                <a:spLocks noChangeArrowheads="1"/>
              </p:cNvSpPr>
              <p:nvPr/>
            </p:nvSpPr>
            <p:spPr bwMode="auto">
              <a:xfrm>
                <a:off x="3797" y="1741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7" name="Rectangle 131"/>
              <p:cNvSpPr>
                <a:spLocks noChangeArrowheads="1"/>
              </p:cNvSpPr>
              <p:nvPr/>
            </p:nvSpPr>
            <p:spPr bwMode="auto">
              <a:xfrm>
                <a:off x="3419" y="2029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8" name="Rectangle 132"/>
              <p:cNvSpPr>
                <a:spLocks noChangeArrowheads="1"/>
              </p:cNvSpPr>
              <p:nvPr/>
            </p:nvSpPr>
            <p:spPr bwMode="auto">
              <a:xfrm>
                <a:off x="4180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9" name="Rectangle 133"/>
              <p:cNvSpPr>
                <a:spLocks noChangeArrowheads="1"/>
              </p:cNvSpPr>
              <p:nvPr/>
            </p:nvSpPr>
            <p:spPr bwMode="auto">
              <a:xfrm>
                <a:off x="3419" y="1932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0" name="Rectangle 134"/>
              <p:cNvSpPr>
                <a:spLocks noChangeArrowheads="1"/>
              </p:cNvSpPr>
              <p:nvPr/>
            </p:nvSpPr>
            <p:spPr bwMode="auto">
              <a:xfrm>
                <a:off x="4180" y="193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1" name="Rectangle 135"/>
              <p:cNvSpPr>
                <a:spLocks noChangeArrowheads="1"/>
              </p:cNvSpPr>
              <p:nvPr/>
            </p:nvSpPr>
            <p:spPr bwMode="auto">
              <a:xfrm>
                <a:off x="3419" y="2124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2" name="Rectangle 136"/>
              <p:cNvSpPr>
                <a:spLocks noChangeArrowheads="1"/>
              </p:cNvSpPr>
              <p:nvPr/>
            </p:nvSpPr>
            <p:spPr bwMode="auto">
              <a:xfrm>
                <a:off x="4180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3" name="Rectangle 137"/>
              <p:cNvSpPr>
                <a:spLocks noChangeArrowheads="1"/>
              </p:cNvSpPr>
              <p:nvPr/>
            </p:nvSpPr>
            <p:spPr bwMode="auto">
              <a:xfrm>
                <a:off x="3419" y="2220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4" name="Rectangle 138"/>
              <p:cNvSpPr>
                <a:spLocks noChangeArrowheads="1"/>
              </p:cNvSpPr>
              <p:nvPr/>
            </p:nvSpPr>
            <p:spPr bwMode="auto">
              <a:xfrm>
                <a:off x="4180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5" name="Rectangle 139"/>
              <p:cNvSpPr>
                <a:spLocks noChangeArrowheads="1"/>
              </p:cNvSpPr>
              <p:nvPr/>
            </p:nvSpPr>
            <p:spPr bwMode="auto">
              <a:xfrm>
                <a:off x="3419" y="2315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Rectangle 140"/>
              <p:cNvSpPr>
                <a:spLocks noChangeArrowheads="1"/>
              </p:cNvSpPr>
              <p:nvPr/>
            </p:nvSpPr>
            <p:spPr bwMode="auto">
              <a:xfrm>
                <a:off x="4180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Rectangle 141"/>
              <p:cNvSpPr>
                <a:spLocks noChangeArrowheads="1"/>
              </p:cNvSpPr>
              <p:nvPr/>
            </p:nvSpPr>
            <p:spPr bwMode="auto">
              <a:xfrm>
                <a:off x="3419" y="2410"/>
                <a:ext cx="73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Rectangle 142"/>
              <p:cNvSpPr>
                <a:spLocks noChangeArrowheads="1"/>
              </p:cNvSpPr>
              <p:nvPr/>
            </p:nvSpPr>
            <p:spPr bwMode="auto">
              <a:xfrm>
                <a:off x="4180" y="241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Rectangle 143"/>
              <p:cNvSpPr>
                <a:spLocks noChangeArrowheads="1"/>
              </p:cNvSpPr>
              <p:nvPr/>
            </p:nvSpPr>
            <p:spPr bwMode="auto">
              <a:xfrm>
                <a:off x="3419" y="2507"/>
                <a:ext cx="73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Rectangle 144"/>
              <p:cNvSpPr>
                <a:spLocks noChangeArrowheads="1"/>
              </p:cNvSpPr>
              <p:nvPr/>
            </p:nvSpPr>
            <p:spPr bwMode="auto">
              <a:xfrm>
                <a:off x="4180" y="2507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Rectangle 145"/>
              <p:cNvSpPr>
                <a:spLocks noChangeArrowheads="1"/>
              </p:cNvSpPr>
              <p:nvPr/>
            </p:nvSpPr>
            <p:spPr bwMode="auto">
              <a:xfrm>
                <a:off x="3419" y="1836"/>
                <a:ext cx="73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Rectangle 146"/>
              <p:cNvSpPr>
                <a:spLocks noChangeArrowheads="1"/>
              </p:cNvSpPr>
              <p:nvPr/>
            </p:nvSpPr>
            <p:spPr bwMode="auto">
              <a:xfrm>
                <a:off x="4180" y="1836"/>
                <a:ext cx="76" cy="7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Rectangle 147"/>
              <p:cNvSpPr>
                <a:spLocks noChangeArrowheads="1"/>
              </p:cNvSpPr>
              <p:nvPr/>
            </p:nvSpPr>
            <p:spPr bwMode="auto">
              <a:xfrm>
                <a:off x="3514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Rectangle 148"/>
              <p:cNvSpPr>
                <a:spLocks noChangeArrowheads="1"/>
              </p:cNvSpPr>
              <p:nvPr/>
            </p:nvSpPr>
            <p:spPr bwMode="auto">
              <a:xfrm>
                <a:off x="4085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Rectangle 149"/>
              <p:cNvSpPr>
                <a:spLocks noChangeArrowheads="1"/>
              </p:cNvSpPr>
              <p:nvPr/>
            </p:nvSpPr>
            <p:spPr bwMode="auto">
              <a:xfrm>
                <a:off x="3514" y="193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Rectangle 150"/>
              <p:cNvSpPr>
                <a:spLocks noChangeArrowheads="1"/>
              </p:cNvSpPr>
              <p:nvPr/>
            </p:nvSpPr>
            <p:spPr bwMode="auto">
              <a:xfrm>
                <a:off x="4085" y="1932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Rectangle 151"/>
              <p:cNvSpPr>
                <a:spLocks noChangeArrowheads="1"/>
              </p:cNvSpPr>
              <p:nvPr/>
            </p:nvSpPr>
            <p:spPr bwMode="auto">
              <a:xfrm>
                <a:off x="3514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Rectangle 152"/>
              <p:cNvSpPr>
                <a:spLocks noChangeArrowheads="1"/>
              </p:cNvSpPr>
              <p:nvPr/>
            </p:nvSpPr>
            <p:spPr bwMode="auto">
              <a:xfrm>
                <a:off x="4085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Rectangle 153"/>
              <p:cNvSpPr>
                <a:spLocks noChangeArrowheads="1"/>
              </p:cNvSpPr>
              <p:nvPr/>
            </p:nvSpPr>
            <p:spPr bwMode="auto">
              <a:xfrm>
                <a:off x="3514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Rectangle 154"/>
              <p:cNvSpPr>
                <a:spLocks noChangeArrowheads="1"/>
              </p:cNvSpPr>
              <p:nvPr/>
            </p:nvSpPr>
            <p:spPr bwMode="auto">
              <a:xfrm>
                <a:off x="4085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Rectangle 155"/>
              <p:cNvSpPr>
                <a:spLocks noChangeArrowheads="1"/>
              </p:cNvSpPr>
              <p:nvPr/>
            </p:nvSpPr>
            <p:spPr bwMode="auto">
              <a:xfrm>
                <a:off x="3514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0" name="Rectangle 156"/>
              <p:cNvSpPr>
                <a:spLocks noChangeArrowheads="1"/>
              </p:cNvSpPr>
              <p:nvPr/>
            </p:nvSpPr>
            <p:spPr bwMode="auto">
              <a:xfrm>
                <a:off x="4085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1" name="Rectangle 157"/>
              <p:cNvSpPr>
                <a:spLocks noChangeArrowheads="1"/>
              </p:cNvSpPr>
              <p:nvPr/>
            </p:nvSpPr>
            <p:spPr bwMode="auto">
              <a:xfrm>
                <a:off x="3514" y="241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2" name="Rectangle 158"/>
              <p:cNvSpPr>
                <a:spLocks noChangeArrowheads="1"/>
              </p:cNvSpPr>
              <p:nvPr/>
            </p:nvSpPr>
            <p:spPr bwMode="auto">
              <a:xfrm>
                <a:off x="4085" y="241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3" name="Rectangle 159"/>
              <p:cNvSpPr>
                <a:spLocks noChangeArrowheads="1"/>
              </p:cNvSpPr>
              <p:nvPr/>
            </p:nvSpPr>
            <p:spPr bwMode="auto">
              <a:xfrm>
                <a:off x="3609" y="2029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4" name="Rectangle 160"/>
              <p:cNvSpPr>
                <a:spLocks noChangeArrowheads="1"/>
              </p:cNvSpPr>
              <p:nvPr/>
            </p:nvSpPr>
            <p:spPr bwMode="auto">
              <a:xfrm>
                <a:off x="3702" y="1646"/>
                <a:ext cx="74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5" name="Rectangle 161"/>
              <p:cNvSpPr>
                <a:spLocks noChangeArrowheads="1"/>
              </p:cNvSpPr>
              <p:nvPr/>
            </p:nvSpPr>
            <p:spPr bwMode="auto">
              <a:xfrm>
                <a:off x="3895" y="1646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6" name="Rectangle 162"/>
              <p:cNvSpPr>
                <a:spLocks noChangeArrowheads="1"/>
              </p:cNvSpPr>
              <p:nvPr/>
            </p:nvSpPr>
            <p:spPr bwMode="auto">
              <a:xfrm>
                <a:off x="3990" y="2029"/>
                <a:ext cx="74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7" name="Rectangle 163"/>
              <p:cNvSpPr>
                <a:spLocks noChangeArrowheads="1"/>
              </p:cNvSpPr>
              <p:nvPr/>
            </p:nvSpPr>
            <p:spPr bwMode="auto">
              <a:xfrm>
                <a:off x="3609" y="2124"/>
                <a:ext cx="76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8" name="Rectangle 164"/>
              <p:cNvSpPr>
                <a:spLocks noChangeArrowheads="1"/>
              </p:cNvSpPr>
              <p:nvPr/>
            </p:nvSpPr>
            <p:spPr bwMode="auto">
              <a:xfrm>
                <a:off x="3990" y="2124"/>
                <a:ext cx="74" cy="7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9" name="Rectangle 165"/>
              <p:cNvSpPr>
                <a:spLocks noChangeArrowheads="1"/>
              </p:cNvSpPr>
              <p:nvPr/>
            </p:nvSpPr>
            <p:spPr bwMode="auto">
              <a:xfrm>
                <a:off x="3609" y="2220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30" name="Rectangle 166"/>
              <p:cNvSpPr>
                <a:spLocks noChangeArrowheads="1"/>
              </p:cNvSpPr>
              <p:nvPr/>
            </p:nvSpPr>
            <p:spPr bwMode="auto">
              <a:xfrm>
                <a:off x="3990" y="2220"/>
                <a:ext cx="74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31" name="Rectangle 167"/>
              <p:cNvSpPr>
                <a:spLocks noChangeArrowheads="1"/>
              </p:cNvSpPr>
              <p:nvPr/>
            </p:nvSpPr>
            <p:spPr bwMode="auto">
              <a:xfrm>
                <a:off x="3609" y="2315"/>
                <a:ext cx="76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32" name="Rectangle 168"/>
              <p:cNvSpPr>
                <a:spLocks noChangeArrowheads="1"/>
              </p:cNvSpPr>
              <p:nvPr/>
            </p:nvSpPr>
            <p:spPr bwMode="auto">
              <a:xfrm>
                <a:off x="3990" y="2315"/>
                <a:ext cx="74" cy="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1145" name="Group 182"/>
            <p:cNvGrpSpPr>
              <a:grpSpLocks noChangeAspect="1"/>
            </p:cNvGrpSpPr>
            <p:nvPr/>
          </p:nvGrpSpPr>
          <p:grpSpPr bwMode="auto">
            <a:xfrm>
              <a:off x="411517" y="756355"/>
              <a:ext cx="1539136" cy="436271"/>
              <a:chOff x="949" y="186"/>
              <a:chExt cx="1263" cy="358"/>
            </a:xfrm>
            <a:solidFill>
              <a:schemeClr val="bg1"/>
            </a:solidFill>
          </p:grpSpPr>
          <p:sp>
            <p:nvSpPr>
              <p:cNvPr id="1147" name="Freeform 183"/>
              <p:cNvSpPr>
                <a:spLocks noEditPoints="1"/>
              </p:cNvSpPr>
              <p:nvPr/>
            </p:nvSpPr>
            <p:spPr bwMode="auto">
              <a:xfrm>
                <a:off x="949" y="186"/>
                <a:ext cx="1263" cy="242"/>
              </a:xfrm>
              <a:custGeom>
                <a:avLst/>
                <a:gdLst>
                  <a:gd name="T0" fmla="*/ 686 w 717"/>
                  <a:gd name="T1" fmla="*/ 114 h 136"/>
                  <a:gd name="T2" fmla="*/ 680 w 717"/>
                  <a:gd name="T3" fmla="*/ 78 h 136"/>
                  <a:gd name="T4" fmla="*/ 641 w 717"/>
                  <a:gd name="T5" fmla="*/ 34 h 136"/>
                  <a:gd name="T6" fmla="*/ 654 w 717"/>
                  <a:gd name="T7" fmla="*/ 117 h 136"/>
                  <a:gd name="T8" fmla="*/ 631 w 717"/>
                  <a:gd name="T9" fmla="*/ 109 h 136"/>
                  <a:gd name="T10" fmla="*/ 622 w 717"/>
                  <a:gd name="T11" fmla="*/ 88 h 136"/>
                  <a:gd name="T12" fmla="*/ 633 w 717"/>
                  <a:gd name="T13" fmla="*/ 47 h 136"/>
                  <a:gd name="T14" fmla="*/ 621 w 717"/>
                  <a:gd name="T15" fmla="*/ 11 h 136"/>
                  <a:gd name="T16" fmla="*/ 598 w 717"/>
                  <a:gd name="T17" fmla="*/ 32 h 136"/>
                  <a:gd name="T18" fmla="*/ 598 w 717"/>
                  <a:gd name="T19" fmla="*/ 48 h 136"/>
                  <a:gd name="T20" fmla="*/ 631 w 717"/>
                  <a:gd name="T21" fmla="*/ 109 h 136"/>
                  <a:gd name="T22" fmla="*/ 541 w 717"/>
                  <a:gd name="T23" fmla="*/ 84 h 136"/>
                  <a:gd name="T24" fmla="*/ 495 w 717"/>
                  <a:gd name="T25" fmla="*/ 86 h 136"/>
                  <a:gd name="T26" fmla="*/ 487 w 717"/>
                  <a:gd name="T27" fmla="*/ 55 h 136"/>
                  <a:gd name="T28" fmla="*/ 495 w 717"/>
                  <a:gd name="T29" fmla="*/ 23 h 136"/>
                  <a:gd name="T30" fmla="*/ 541 w 717"/>
                  <a:gd name="T31" fmla="*/ 26 h 136"/>
                  <a:gd name="T32" fmla="*/ 467 w 717"/>
                  <a:gd name="T33" fmla="*/ 26 h 136"/>
                  <a:gd name="T34" fmla="*/ 464 w 717"/>
                  <a:gd name="T35" fmla="*/ 65 h 136"/>
                  <a:gd name="T36" fmla="*/ 403 w 717"/>
                  <a:gd name="T37" fmla="*/ 109 h 136"/>
                  <a:gd name="T38" fmla="*/ 394 w 717"/>
                  <a:gd name="T39" fmla="*/ 88 h 136"/>
                  <a:gd name="T40" fmla="*/ 404 w 717"/>
                  <a:gd name="T41" fmla="*/ 47 h 136"/>
                  <a:gd name="T42" fmla="*/ 392 w 717"/>
                  <a:gd name="T43" fmla="*/ 11 h 136"/>
                  <a:gd name="T44" fmla="*/ 370 w 717"/>
                  <a:gd name="T45" fmla="*/ 32 h 136"/>
                  <a:gd name="T46" fmla="*/ 370 w 717"/>
                  <a:gd name="T47" fmla="*/ 48 h 136"/>
                  <a:gd name="T48" fmla="*/ 403 w 717"/>
                  <a:gd name="T49" fmla="*/ 109 h 136"/>
                  <a:gd name="T50" fmla="*/ 336 w 717"/>
                  <a:gd name="T51" fmla="*/ 50 h 136"/>
                  <a:gd name="T52" fmla="*/ 352 w 717"/>
                  <a:gd name="T53" fmla="*/ 32 h 136"/>
                  <a:gd name="T54" fmla="*/ 325 w 717"/>
                  <a:gd name="T55" fmla="*/ 34 h 136"/>
                  <a:gd name="T56" fmla="*/ 304 w 717"/>
                  <a:gd name="T57" fmla="*/ 108 h 136"/>
                  <a:gd name="T58" fmla="*/ 266 w 717"/>
                  <a:gd name="T59" fmla="*/ 78 h 136"/>
                  <a:gd name="T60" fmla="*/ 287 w 717"/>
                  <a:gd name="T61" fmla="*/ 106 h 136"/>
                  <a:gd name="T62" fmla="*/ 253 w 717"/>
                  <a:gd name="T63" fmla="*/ 31 h 136"/>
                  <a:gd name="T64" fmla="*/ 234 w 717"/>
                  <a:gd name="T65" fmla="*/ 53 h 136"/>
                  <a:gd name="T66" fmla="*/ 266 w 717"/>
                  <a:gd name="T67" fmla="*/ 61 h 136"/>
                  <a:gd name="T68" fmla="*/ 222 w 717"/>
                  <a:gd name="T69" fmla="*/ 97 h 136"/>
                  <a:gd name="T70" fmla="*/ 266 w 717"/>
                  <a:gd name="T71" fmla="*/ 101 h 136"/>
                  <a:gd name="T72" fmla="*/ 206 w 717"/>
                  <a:gd name="T73" fmla="*/ 108 h 136"/>
                  <a:gd name="T74" fmla="*/ 167 w 717"/>
                  <a:gd name="T75" fmla="*/ 33 h 136"/>
                  <a:gd name="T76" fmla="*/ 117 w 717"/>
                  <a:gd name="T77" fmla="*/ 39 h 136"/>
                  <a:gd name="T78" fmla="*/ 95 w 717"/>
                  <a:gd name="T79" fmla="*/ 34 h 136"/>
                  <a:gd name="T80" fmla="*/ 117 w 717"/>
                  <a:gd name="T81" fmla="*/ 63 h 136"/>
                  <a:gd name="T82" fmla="*/ 141 w 717"/>
                  <a:gd name="T83" fmla="*/ 106 h 136"/>
                  <a:gd name="T84" fmla="*/ 166 w 717"/>
                  <a:gd name="T85" fmla="*/ 53 h 136"/>
                  <a:gd name="T86" fmla="*/ 188 w 717"/>
                  <a:gd name="T87" fmla="*/ 108 h 136"/>
                  <a:gd name="T88" fmla="*/ 83 w 717"/>
                  <a:gd name="T89" fmla="*/ 76 h 136"/>
                  <a:gd name="T90" fmla="*/ 28 w 717"/>
                  <a:gd name="T91" fmla="*/ 32 h 136"/>
                  <a:gd name="T92" fmla="*/ 69 w 717"/>
                  <a:gd name="T93" fmla="*/ 28 h 136"/>
                  <a:gd name="T94" fmla="*/ 27 w 717"/>
                  <a:gd name="T95" fmla="*/ 2 h 136"/>
                  <a:gd name="T96" fmla="*/ 38 w 717"/>
                  <a:gd name="T97" fmla="*/ 64 h 136"/>
                  <a:gd name="T98" fmla="*/ 43 w 717"/>
                  <a:gd name="T99" fmla="*/ 89 h 136"/>
                  <a:gd name="T100" fmla="*/ 1 w 717"/>
                  <a:gd name="T101" fmla="*/ 95 h 136"/>
                  <a:gd name="T102" fmla="*/ 60 w 717"/>
                  <a:gd name="T103" fmla="*/ 107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17" h="136">
                    <a:moveTo>
                      <a:pt x="659" y="136"/>
                    </a:moveTo>
                    <a:cubicBezTo>
                      <a:pt x="662" y="136"/>
                      <a:pt x="666" y="135"/>
                      <a:pt x="668" y="135"/>
                    </a:cubicBezTo>
                    <a:cubicBezTo>
                      <a:pt x="671" y="134"/>
                      <a:pt x="673" y="133"/>
                      <a:pt x="675" y="131"/>
                    </a:cubicBezTo>
                    <a:cubicBezTo>
                      <a:pt x="677" y="130"/>
                      <a:pt x="679" y="127"/>
                      <a:pt x="681" y="125"/>
                    </a:cubicBezTo>
                    <a:cubicBezTo>
                      <a:pt x="682" y="122"/>
                      <a:pt x="684" y="118"/>
                      <a:pt x="686" y="114"/>
                    </a:cubicBezTo>
                    <a:cubicBezTo>
                      <a:pt x="716" y="34"/>
                      <a:pt x="716" y="34"/>
                      <a:pt x="716" y="34"/>
                    </a:cubicBezTo>
                    <a:cubicBezTo>
                      <a:pt x="717" y="33"/>
                      <a:pt x="716" y="32"/>
                      <a:pt x="715" y="32"/>
                    </a:cubicBezTo>
                    <a:cubicBezTo>
                      <a:pt x="696" y="32"/>
                      <a:pt x="696" y="32"/>
                      <a:pt x="696" y="32"/>
                    </a:cubicBezTo>
                    <a:cubicBezTo>
                      <a:pt x="695" y="32"/>
                      <a:pt x="694" y="33"/>
                      <a:pt x="694" y="34"/>
                    </a:cubicBezTo>
                    <a:cubicBezTo>
                      <a:pt x="680" y="78"/>
                      <a:pt x="680" y="78"/>
                      <a:pt x="680" y="78"/>
                    </a:cubicBezTo>
                    <a:cubicBezTo>
                      <a:pt x="679" y="78"/>
                      <a:pt x="679" y="78"/>
                      <a:pt x="679" y="78"/>
                    </a:cubicBezTo>
                    <a:cubicBezTo>
                      <a:pt x="664" y="34"/>
                      <a:pt x="664" y="34"/>
                      <a:pt x="664" y="34"/>
                    </a:cubicBezTo>
                    <a:cubicBezTo>
                      <a:pt x="664" y="33"/>
                      <a:pt x="663" y="32"/>
                      <a:pt x="662" y="32"/>
                    </a:cubicBezTo>
                    <a:cubicBezTo>
                      <a:pt x="643" y="32"/>
                      <a:pt x="643" y="32"/>
                      <a:pt x="643" y="32"/>
                    </a:cubicBezTo>
                    <a:cubicBezTo>
                      <a:pt x="641" y="32"/>
                      <a:pt x="641" y="33"/>
                      <a:pt x="641" y="34"/>
                    </a:cubicBezTo>
                    <a:cubicBezTo>
                      <a:pt x="669" y="104"/>
                      <a:pt x="669" y="104"/>
                      <a:pt x="669" y="104"/>
                    </a:cubicBezTo>
                    <a:cubicBezTo>
                      <a:pt x="667" y="110"/>
                      <a:pt x="667" y="110"/>
                      <a:pt x="667" y="110"/>
                    </a:cubicBezTo>
                    <a:cubicBezTo>
                      <a:pt x="666" y="112"/>
                      <a:pt x="665" y="114"/>
                      <a:pt x="664" y="116"/>
                    </a:cubicBezTo>
                    <a:cubicBezTo>
                      <a:pt x="662" y="117"/>
                      <a:pt x="660" y="117"/>
                      <a:pt x="657" y="117"/>
                    </a:cubicBezTo>
                    <a:cubicBezTo>
                      <a:pt x="654" y="117"/>
                      <a:pt x="654" y="117"/>
                      <a:pt x="654" y="117"/>
                    </a:cubicBezTo>
                    <a:cubicBezTo>
                      <a:pt x="653" y="117"/>
                      <a:pt x="652" y="118"/>
                      <a:pt x="652" y="119"/>
                    </a:cubicBezTo>
                    <a:cubicBezTo>
                      <a:pt x="652" y="134"/>
                      <a:pt x="652" y="134"/>
                      <a:pt x="652" y="134"/>
                    </a:cubicBezTo>
                    <a:cubicBezTo>
                      <a:pt x="652" y="135"/>
                      <a:pt x="653" y="136"/>
                      <a:pt x="654" y="136"/>
                    </a:cubicBezTo>
                    <a:lnTo>
                      <a:pt x="659" y="136"/>
                    </a:lnTo>
                    <a:close/>
                    <a:moveTo>
                      <a:pt x="631" y="109"/>
                    </a:moveTo>
                    <a:cubicBezTo>
                      <a:pt x="632" y="109"/>
                      <a:pt x="633" y="108"/>
                      <a:pt x="633" y="107"/>
                    </a:cubicBezTo>
                    <a:cubicBezTo>
                      <a:pt x="633" y="92"/>
                      <a:pt x="633" y="92"/>
                      <a:pt x="633" y="92"/>
                    </a:cubicBezTo>
                    <a:cubicBezTo>
                      <a:pt x="633" y="91"/>
                      <a:pt x="632" y="90"/>
                      <a:pt x="631" y="90"/>
                    </a:cubicBezTo>
                    <a:cubicBezTo>
                      <a:pt x="628" y="90"/>
                      <a:pt x="628" y="90"/>
                      <a:pt x="628" y="90"/>
                    </a:cubicBezTo>
                    <a:cubicBezTo>
                      <a:pt x="625" y="90"/>
                      <a:pt x="623" y="90"/>
                      <a:pt x="622" y="88"/>
                    </a:cubicBezTo>
                    <a:cubicBezTo>
                      <a:pt x="621" y="87"/>
                      <a:pt x="621" y="85"/>
                      <a:pt x="621" y="83"/>
                    </a:cubicBezTo>
                    <a:cubicBezTo>
                      <a:pt x="621" y="49"/>
                      <a:pt x="621" y="49"/>
                      <a:pt x="621" y="49"/>
                    </a:cubicBezTo>
                    <a:cubicBezTo>
                      <a:pt x="621" y="49"/>
                      <a:pt x="621" y="48"/>
                      <a:pt x="622" y="48"/>
                    </a:cubicBezTo>
                    <a:cubicBezTo>
                      <a:pt x="631" y="48"/>
                      <a:pt x="631" y="48"/>
                      <a:pt x="631" y="48"/>
                    </a:cubicBezTo>
                    <a:cubicBezTo>
                      <a:pt x="632" y="48"/>
                      <a:pt x="633" y="48"/>
                      <a:pt x="633" y="47"/>
                    </a:cubicBezTo>
                    <a:cubicBezTo>
                      <a:pt x="633" y="34"/>
                      <a:pt x="633" y="34"/>
                      <a:pt x="633" y="34"/>
                    </a:cubicBezTo>
                    <a:cubicBezTo>
                      <a:pt x="633" y="33"/>
                      <a:pt x="632" y="32"/>
                      <a:pt x="631" y="32"/>
                    </a:cubicBezTo>
                    <a:cubicBezTo>
                      <a:pt x="622" y="32"/>
                      <a:pt x="622" y="32"/>
                      <a:pt x="622" y="32"/>
                    </a:cubicBezTo>
                    <a:cubicBezTo>
                      <a:pt x="621" y="32"/>
                      <a:pt x="621" y="32"/>
                      <a:pt x="621" y="31"/>
                    </a:cubicBezTo>
                    <a:cubicBezTo>
                      <a:pt x="621" y="11"/>
                      <a:pt x="621" y="11"/>
                      <a:pt x="621" y="11"/>
                    </a:cubicBezTo>
                    <a:cubicBezTo>
                      <a:pt x="621" y="10"/>
                      <a:pt x="620" y="10"/>
                      <a:pt x="619" y="10"/>
                    </a:cubicBezTo>
                    <a:cubicBezTo>
                      <a:pt x="601" y="10"/>
                      <a:pt x="601" y="10"/>
                      <a:pt x="601" y="10"/>
                    </a:cubicBezTo>
                    <a:cubicBezTo>
                      <a:pt x="600" y="10"/>
                      <a:pt x="599" y="10"/>
                      <a:pt x="599" y="11"/>
                    </a:cubicBezTo>
                    <a:cubicBezTo>
                      <a:pt x="599" y="31"/>
                      <a:pt x="599" y="31"/>
                      <a:pt x="599" y="31"/>
                    </a:cubicBezTo>
                    <a:cubicBezTo>
                      <a:pt x="599" y="32"/>
                      <a:pt x="599" y="32"/>
                      <a:pt x="598" y="32"/>
                    </a:cubicBezTo>
                    <a:cubicBezTo>
                      <a:pt x="594" y="32"/>
                      <a:pt x="594" y="32"/>
                      <a:pt x="594" y="32"/>
                    </a:cubicBezTo>
                    <a:cubicBezTo>
                      <a:pt x="592" y="32"/>
                      <a:pt x="592" y="33"/>
                      <a:pt x="592" y="34"/>
                    </a:cubicBezTo>
                    <a:cubicBezTo>
                      <a:pt x="592" y="47"/>
                      <a:pt x="592" y="47"/>
                      <a:pt x="592" y="47"/>
                    </a:cubicBezTo>
                    <a:cubicBezTo>
                      <a:pt x="592" y="48"/>
                      <a:pt x="592" y="48"/>
                      <a:pt x="594" y="48"/>
                    </a:cubicBezTo>
                    <a:cubicBezTo>
                      <a:pt x="598" y="48"/>
                      <a:pt x="598" y="48"/>
                      <a:pt x="598" y="48"/>
                    </a:cubicBezTo>
                    <a:cubicBezTo>
                      <a:pt x="599" y="48"/>
                      <a:pt x="599" y="49"/>
                      <a:pt x="599" y="49"/>
                    </a:cubicBezTo>
                    <a:cubicBezTo>
                      <a:pt x="599" y="84"/>
                      <a:pt x="599" y="84"/>
                      <a:pt x="599" y="84"/>
                    </a:cubicBezTo>
                    <a:cubicBezTo>
                      <a:pt x="599" y="92"/>
                      <a:pt x="601" y="99"/>
                      <a:pt x="605" y="103"/>
                    </a:cubicBezTo>
                    <a:cubicBezTo>
                      <a:pt x="608" y="107"/>
                      <a:pt x="614" y="109"/>
                      <a:pt x="623" y="109"/>
                    </a:cubicBezTo>
                    <a:lnTo>
                      <a:pt x="631" y="109"/>
                    </a:lnTo>
                    <a:close/>
                    <a:moveTo>
                      <a:pt x="481" y="103"/>
                    </a:moveTo>
                    <a:cubicBezTo>
                      <a:pt x="488" y="107"/>
                      <a:pt x="495" y="109"/>
                      <a:pt x="505" y="109"/>
                    </a:cubicBezTo>
                    <a:cubicBezTo>
                      <a:pt x="514" y="109"/>
                      <a:pt x="521" y="107"/>
                      <a:pt x="528" y="103"/>
                    </a:cubicBezTo>
                    <a:cubicBezTo>
                      <a:pt x="534" y="99"/>
                      <a:pt x="539" y="93"/>
                      <a:pt x="542" y="86"/>
                    </a:cubicBezTo>
                    <a:cubicBezTo>
                      <a:pt x="542" y="85"/>
                      <a:pt x="542" y="84"/>
                      <a:pt x="541" y="84"/>
                    </a:cubicBezTo>
                    <a:cubicBezTo>
                      <a:pt x="524" y="76"/>
                      <a:pt x="524" y="76"/>
                      <a:pt x="524" y="76"/>
                    </a:cubicBezTo>
                    <a:cubicBezTo>
                      <a:pt x="523" y="76"/>
                      <a:pt x="522" y="76"/>
                      <a:pt x="522" y="77"/>
                    </a:cubicBezTo>
                    <a:cubicBezTo>
                      <a:pt x="520" y="81"/>
                      <a:pt x="518" y="83"/>
                      <a:pt x="516" y="86"/>
                    </a:cubicBezTo>
                    <a:cubicBezTo>
                      <a:pt x="513" y="88"/>
                      <a:pt x="509" y="89"/>
                      <a:pt x="505" y="89"/>
                    </a:cubicBezTo>
                    <a:cubicBezTo>
                      <a:pt x="501" y="89"/>
                      <a:pt x="497" y="88"/>
                      <a:pt x="495" y="86"/>
                    </a:cubicBezTo>
                    <a:cubicBezTo>
                      <a:pt x="492" y="84"/>
                      <a:pt x="490" y="81"/>
                      <a:pt x="489" y="78"/>
                    </a:cubicBezTo>
                    <a:cubicBezTo>
                      <a:pt x="489" y="77"/>
                      <a:pt x="489" y="76"/>
                      <a:pt x="488" y="74"/>
                    </a:cubicBezTo>
                    <a:cubicBezTo>
                      <a:pt x="488" y="73"/>
                      <a:pt x="488" y="72"/>
                      <a:pt x="488" y="70"/>
                    </a:cubicBezTo>
                    <a:cubicBezTo>
                      <a:pt x="488" y="69"/>
                      <a:pt x="487" y="67"/>
                      <a:pt x="487" y="64"/>
                    </a:cubicBezTo>
                    <a:cubicBezTo>
                      <a:pt x="487" y="62"/>
                      <a:pt x="487" y="59"/>
                      <a:pt x="487" y="55"/>
                    </a:cubicBezTo>
                    <a:cubicBezTo>
                      <a:pt x="487" y="51"/>
                      <a:pt x="487" y="48"/>
                      <a:pt x="487" y="45"/>
                    </a:cubicBezTo>
                    <a:cubicBezTo>
                      <a:pt x="487" y="43"/>
                      <a:pt x="488" y="41"/>
                      <a:pt x="488" y="39"/>
                    </a:cubicBezTo>
                    <a:cubicBezTo>
                      <a:pt x="488" y="38"/>
                      <a:pt x="488" y="36"/>
                      <a:pt x="488" y="35"/>
                    </a:cubicBezTo>
                    <a:cubicBezTo>
                      <a:pt x="489" y="34"/>
                      <a:pt x="489" y="33"/>
                      <a:pt x="489" y="32"/>
                    </a:cubicBezTo>
                    <a:cubicBezTo>
                      <a:pt x="490" y="28"/>
                      <a:pt x="492" y="26"/>
                      <a:pt x="495" y="23"/>
                    </a:cubicBezTo>
                    <a:cubicBezTo>
                      <a:pt x="497" y="21"/>
                      <a:pt x="501" y="20"/>
                      <a:pt x="505" y="20"/>
                    </a:cubicBezTo>
                    <a:cubicBezTo>
                      <a:pt x="509" y="20"/>
                      <a:pt x="513" y="22"/>
                      <a:pt x="516" y="24"/>
                    </a:cubicBezTo>
                    <a:cubicBezTo>
                      <a:pt x="518" y="26"/>
                      <a:pt x="520" y="29"/>
                      <a:pt x="522" y="32"/>
                    </a:cubicBezTo>
                    <a:cubicBezTo>
                      <a:pt x="522" y="33"/>
                      <a:pt x="523" y="34"/>
                      <a:pt x="524" y="33"/>
                    </a:cubicBezTo>
                    <a:cubicBezTo>
                      <a:pt x="541" y="26"/>
                      <a:pt x="541" y="26"/>
                      <a:pt x="541" y="26"/>
                    </a:cubicBezTo>
                    <a:cubicBezTo>
                      <a:pt x="542" y="25"/>
                      <a:pt x="542" y="25"/>
                      <a:pt x="542" y="24"/>
                    </a:cubicBezTo>
                    <a:cubicBezTo>
                      <a:pt x="539" y="16"/>
                      <a:pt x="534" y="10"/>
                      <a:pt x="528" y="6"/>
                    </a:cubicBezTo>
                    <a:cubicBezTo>
                      <a:pt x="521" y="2"/>
                      <a:pt x="514" y="0"/>
                      <a:pt x="505" y="0"/>
                    </a:cubicBezTo>
                    <a:cubicBezTo>
                      <a:pt x="495" y="0"/>
                      <a:pt x="488" y="2"/>
                      <a:pt x="481" y="7"/>
                    </a:cubicBezTo>
                    <a:cubicBezTo>
                      <a:pt x="475" y="11"/>
                      <a:pt x="470" y="17"/>
                      <a:pt x="467" y="26"/>
                    </a:cubicBezTo>
                    <a:cubicBezTo>
                      <a:pt x="466" y="28"/>
                      <a:pt x="466" y="30"/>
                      <a:pt x="466" y="31"/>
                    </a:cubicBezTo>
                    <a:cubicBezTo>
                      <a:pt x="465" y="33"/>
                      <a:pt x="465" y="35"/>
                      <a:pt x="465" y="37"/>
                    </a:cubicBezTo>
                    <a:cubicBezTo>
                      <a:pt x="465" y="39"/>
                      <a:pt x="464" y="42"/>
                      <a:pt x="464" y="44"/>
                    </a:cubicBezTo>
                    <a:cubicBezTo>
                      <a:pt x="464" y="47"/>
                      <a:pt x="464" y="51"/>
                      <a:pt x="464" y="55"/>
                    </a:cubicBezTo>
                    <a:cubicBezTo>
                      <a:pt x="464" y="59"/>
                      <a:pt x="464" y="62"/>
                      <a:pt x="464" y="65"/>
                    </a:cubicBezTo>
                    <a:cubicBezTo>
                      <a:pt x="464" y="68"/>
                      <a:pt x="465" y="70"/>
                      <a:pt x="465" y="73"/>
                    </a:cubicBezTo>
                    <a:cubicBezTo>
                      <a:pt x="465" y="75"/>
                      <a:pt x="465" y="77"/>
                      <a:pt x="466" y="78"/>
                    </a:cubicBezTo>
                    <a:cubicBezTo>
                      <a:pt x="466" y="80"/>
                      <a:pt x="466" y="82"/>
                      <a:pt x="467" y="83"/>
                    </a:cubicBezTo>
                    <a:cubicBezTo>
                      <a:pt x="470" y="92"/>
                      <a:pt x="475" y="99"/>
                      <a:pt x="481" y="103"/>
                    </a:cubicBezTo>
                    <a:moveTo>
                      <a:pt x="403" y="109"/>
                    </a:moveTo>
                    <a:cubicBezTo>
                      <a:pt x="404" y="109"/>
                      <a:pt x="404" y="108"/>
                      <a:pt x="404" y="107"/>
                    </a:cubicBezTo>
                    <a:cubicBezTo>
                      <a:pt x="404" y="92"/>
                      <a:pt x="404" y="92"/>
                      <a:pt x="404" y="92"/>
                    </a:cubicBezTo>
                    <a:cubicBezTo>
                      <a:pt x="404" y="91"/>
                      <a:pt x="404" y="90"/>
                      <a:pt x="403" y="90"/>
                    </a:cubicBezTo>
                    <a:cubicBezTo>
                      <a:pt x="399" y="90"/>
                      <a:pt x="399" y="90"/>
                      <a:pt x="399" y="90"/>
                    </a:cubicBezTo>
                    <a:cubicBezTo>
                      <a:pt x="397" y="90"/>
                      <a:pt x="395" y="90"/>
                      <a:pt x="394" y="88"/>
                    </a:cubicBezTo>
                    <a:cubicBezTo>
                      <a:pt x="393" y="87"/>
                      <a:pt x="392" y="85"/>
                      <a:pt x="392" y="83"/>
                    </a:cubicBezTo>
                    <a:cubicBezTo>
                      <a:pt x="392" y="49"/>
                      <a:pt x="392" y="49"/>
                      <a:pt x="392" y="49"/>
                    </a:cubicBezTo>
                    <a:cubicBezTo>
                      <a:pt x="392" y="49"/>
                      <a:pt x="393" y="48"/>
                      <a:pt x="393" y="48"/>
                    </a:cubicBezTo>
                    <a:cubicBezTo>
                      <a:pt x="403" y="48"/>
                      <a:pt x="403" y="48"/>
                      <a:pt x="403" y="48"/>
                    </a:cubicBezTo>
                    <a:cubicBezTo>
                      <a:pt x="404" y="48"/>
                      <a:pt x="404" y="48"/>
                      <a:pt x="404" y="47"/>
                    </a:cubicBezTo>
                    <a:cubicBezTo>
                      <a:pt x="404" y="34"/>
                      <a:pt x="404" y="34"/>
                      <a:pt x="404" y="34"/>
                    </a:cubicBezTo>
                    <a:cubicBezTo>
                      <a:pt x="404" y="33"/>
                      <a:pt x="404" y="32"/>
                      <a:pt x="403" y="32"/>
                    </a:cubicBezTo>
                    <a:cubicBezTo>
                      <a:pt x="393" y="32"/>
                      <a:pt x="393" y="32"/>
                      <a:pt x="393" y="32"/>
                    </a:cubicBezTo>
                    <a:cubicBezTo>
                      <a:pt x="393" y="32"/>
                      <a:pt x="392" y="32"/>
                      <a:pt x="392" y="31"/>
                    </a:cubicBezTo>
                    <a:cubicBezTo>
                      <a:pt x="392" y="11"/>
                      <a:pt x="392" y="11"/>
                      <a:pt x="392" y="11"/>
                    </a:cubicBezTo>
                    <a:cubicBezTo>
                      <a:pt x="392" y="10"/>
                      <a:pt x="392" y="10"/>
                      <a:pt x="391" y="10"/>
                    </a:cubicBezTo>
                    <a:cubicBezTo>
                      <a:pt x="372" y="10"/>
                      <a:pt x="372" y="10"/>
                      <a:pt x="372" y="10"/>
                    </a:cubicBezTo>
                    <a:cubicBezTo>
                      <a:pt x="371" y="10"/>
                      <a:pt x="371" y="10"/>
                      <a:pt x="371" y="11"/>
                    </a:cubicBezTo>
                    <a:cubicBezTo>
                      <a:pt x="371" y="31"/>
                      <a:pt x="371" y="31"/>
                      <a:pt x="371" y="31"/>
                    </a:cubicBezTo>
                    <a:cubicBezTo>
                      <a:pt x="371" y="32"/>
                      <a:pt x="370" y="32"/>
                      <a:pt x="370" y="32"/>
                    </a:cubicBezTo>
                    <a:cubicBezTo>
                      <a:pt x="365" y="32"/>
                      <a:pt x="365" y="32"/>
                      <a:pt x="365" y="32"/>
                    </a:cubicBezTo>
                    <a:cubicBezTo>
                      <a:pt x="364" y="32"/>
                      <a:pt x="363" y="33"/>
                      <a:pt x="363" y="34"/>
                    </a:cubicBezTo>
                    <a:cubicBezTo>
                      <a:pt x="363" y="47"/>
                      <a:pt x="363" y="47"/>
                      <a:pt x="363" y="47"/>
                    </a:cubicBezTo>
                    <a:cubicBezTo>
                      <a:pt x="363" y="48"/>
                      <a:pt x="364" y="48"/>
                      <a:pt x="365" y="48"/>
                    </a:cubicBezTo>
                    <a:cubicBezTo>
                      <a:pt x="370" y="48"/>
                      <a:pt x="370" y="48"/>
                      <a:pt x="370" y="48"/>
                    </a:cubicBezTo>
                    <a:cubicBezTo>
                      <a:pt x="370" y="48"/>
                      <a:pt x="371" y="49"/>
                      <a:pt x="371" y="49"/>
                    </a:cubicBezTo>
                    <a:cubicBezTo>
                      <a:pt x="371" y="84"/>
                      <a:pt x="371" y="84"/>
                      <a:pt x="371" y="84"/>
                    </a:cubicBezTo>
                    <a:cubicBezTo>
                      <a:pt x="371" y="92"/>
                      <a:pt x="372" y="99"/>
                      <a:pt x="376" y="103"/>
                    </a:cubicBezTo>
                    <a:cubicBezTo>
                      <a:pt x="380" y="107"/>
                      <a:pt x="386" y="109"/>
                      <a:pt x="395" y="109"/>
                    </a:cubicBezTo>
                    <a:lnTo>
                      <a:pt x="403" y="109"/>
                    </a:lnTo>
                    <a:close/>
                    <a:moveTo>
                      <a:pt x="323" y="108"/>
                    </a:moveTo>
                    <a:cubicBezTo>
                      <a:pt x="324" y="108"/>
                      <a:pt x="325" y="107"/>
                      <a:pt x="325" y="106"/>
                    </a:cubicBezTo>
                    <a:cubicBezTo>
                      <a:pt x="325" y="66"/>
                      <a:pt x="325" y="66"/>
                      <a:pt x="325" y="66"/>
                    </a:cubicBezTo>
                    <a:cubicBezTo>
                      <a:pt x="325" y="61"/>
                      <a:pt x="325" y="57"/>
                      <a:pt x="327" y="55"/>
                    </a:cubicBezTo>
                    <a:cubicBezTo>
                      <a:pt x="329" y="52"/>
                      <a:pt x="332" y="50"/>
                      <a:pt x="336" y="50"/>
                    </a:cubicBezTo>
                    <a:cubicBezTo>
                      <a:pt x="340" y="50"/>
                      <a:pt x="343" y="51"/>
                      <a:pt x="347" y="54"/>
                    </a:cubicBezTo>
                    <a:cubicBezTo>
                      <a:pt x="348" y="54"/>
                      <a:pt x="349" y="54"/>
                      <a:pt x="349" y="53"/>
                    </a:cubicBezTo>
                    <a:cubicBezTo>
                      <a:pt x="358" y="37"/>
                      <a:pt x="358" y="37"/>
                      <a:pt x="358" y="37"/>
                    </a:cubicBezTo>
                    <a:cubicBezTo>
                      <a:pt x="358" y="37"/>
                      <a:pt x="358" y="36"/>
                      <a:pt x="358" y="35"/>
                    </a:cubicBezTo>
                    <a:cubicBezTo>
                      <a:pt x="356" y="34"/>
                      <a:pt x="354" y="33"/>
                      <a:pt x="352" y="32"/>
                    </a:cubicBezTo>
                    <a:cubicBezTo>
                      <a:pt x="349" y="31"/>
                      <a:pt x="347" y="31"/>
                      <a:pt x="344" y="31"/>
                    </a:cubicBezTo>
                    <a:cubicBezTo>
                      <a:pt x="340" y="31"/>
                      <a:pt x="336" y="32"/>
                      <a:pt x="332" y="33"/>
                    </a:cubicBezTo>
                    <a:cubicBezTo>
                      <a:pt x="329" y="35"/>
                      <a:pt x="326" y="37"/>
                      <a:pt x="325" y="40"/>
                    </a:cubicBezTo>
                    <a:cubicBezTo>
                      <a:pt x="325" y="40"/>
                      <a:pt x="325" y="40"/>
                      <a:pt x="325" y="40"/>
                    </a:cubicBezTo>
                    <a:cubicBezTo>
                      <a:pt x="325" y="34"/>
                      <a:pt x="325" y="34"/>
                      <a:pt x="325" y="34"/>
                    </a:cubicBezTo>
                    <a:cubicBezTo>
                      <a:pt x="325" y="33"/>
                      <a:pt x="324" y="32"/>
                      <a:pt x="323" y="32"/>
                    </a:cubicBezTo>
                    <a:cubicBezTo>
                      <a:pt x="304" y="32"/>
                      <a:pt x="304" y="32"/>
                      <a:pt x="304" y="32"/>
                    </a:cubicBezTo>
                    <a:cubicBezTo>
                      <a:pt x="303" y="32"/>
                      <a:pt x="303" y="33"/>
                      <a:pt x="303" y="34"/>
                    </a:cubicBezTo>
                    <a:cubicBezTo>
                      <a:pt x="303" y="106"/>
                      <a:pt x="303" y="106"/>
                      <a:pt x="303" y="106"/>
                    </a:cubicBezTo>
                    <a:cubicBezTo>
                      <a:pt x="303" y="107"/>
                      <a:pt x="303" y="108"/>
                      <a:pt x="304" y="108"/>
                    </a:cubicBezTo>
                    <a:lnTo>
                      <a:pt x="323" y="108"/>
                    </a:lnTo>
                    <a:close/>
                    <a:moveTo>
                      <a:pt x="241" y="85"/>
                    </a:moveTo>
                    <a:cubicBezTo>
                      <a:pt x="241" y="79"/>
                      <a:pt x="246" y="77"/>
                      <a:pt x="254" y="77"/>
                    </a:cubicBezTo>
                    <a:cubicBezTo>
                      <a:pt x="265" y="77"/>
                      <a:pt x="265" y="77"/>
                      <a:pt x="265" y="77"/>
                    </a:cubicBezTo>
                    <a:cubicBezTo>
                      <a:pt x="266" y="77"/>
                      <a:pt x="266" y="77"/>
                      <a:pt x="266" y="78"/>
                    </a:cubicBezTo>
                    <a:cubicBezTo>
                      <a:pt x="266" y="83"/>
                      <a:pt x="266" y="83"/>
                      <a:pt x="266" y="83"/>
                    </a:cubicBezTo>
                    <a:cubicBezTo>
                      <a:pt x="266" y="90"/>
                      <a:pt x="261" y="93"/>
                      <a:pt x="252" y="93"/>
                    </a:cubicBezTo>
                    <a:cubicBezTo>
                      <a:pt x="245" y="93"/>
                      <a:pt x="241" y="90"/>
                      <a:pt x="241" y="85"/>
                    </a:cubicBezTo>
                    <a:moveTo>
                      <a:pt x="285" y="108"/>
                    </a:moveTo>
                    <a:cubicBezTo>
                      <a:pt x="286" y="108"/>
                      <a:pt x="287" y="107"/>
                      <a:pt x="287" y="106"/>
                    </a:cubicBezTo>
                    <a:cubicBezTo>
                      <a:pt x="287" y="58"/>
                      <a:pt x="287" y="58"/>
                      <a:pt x="287" y="58"/>
                    </a:cubicBezTo>
                    <a:cubicBezTo>
                      <a:pt x="287" y="53"/>
                      <a:pt x="286" y="49"/>
                      <a:pt x="285" y="46"/>
                    </a:cubicBezTo>
                    <a:cubicBezTo>
                      <a:pt x="284" y="42"/>
                      <a:pt x="282" y="39"/>
                      <a:pt x="279" y="37"/>
                    </a:cubicBezTo>
                    <a:cubicBezTo>
                      <a:pt x="276" y="35"/>
                      <a:pt x="273" y="33"/>
                      <a:pt x="269" y="32"/>
                    </a:cubicBezTo>
                    <a:cubicBezTo>
                      <a:pt x="265" y="31"/>
                      <a:pt x="259" y="31"/>
                      <a:pt x="253" y="31"/>
                    </a:cubicBezTo>
                    <a:cubicBezTo>
                      <a:pt x="247" y="31"/>
                      <a:pt x="242" y="31"/>
                      <a:pt x="237" y="33"/>
                    </a:cubicBezTo>
                    <a:cubicBezTo>
                      <a:pt x="232" y="34"/>
                      <a:pt x="228" y="36"/>
                      <a:pt x="225" y="38"/>
                    </a:cubicBezTo>
                    <a:cubicBezTo>
                      <a:pt x="224" y="39"/>
                      <a:pt x="224" y="39"/>
                      <a:pt x="225" y="40"/>
                    </a:cubicBezTo>
                    <a:cubicBezTo>
                      <a:pt x="232" y="53"/>
                      <a:pt x="232" y="53"/>
                      <a:pt x="232" y="53"/>
                    </a:cubicBezTo>
                    <a:cubicBezTo>
                      <a:pt x="232" y="53"/>
                      <a:pt x="233" y="54"/>
                      <a:pt x="234" y="53"/>
                    </a:cubicBezTo>
                    <a:cubicBezTo>
                      <a:pt x="236" y="52"/>
                      <a:pt x="238" y="50"/>
                      <a:pt x="241" y="49"/>
                    </a:cubicBezTo>
                    <a:cubicBezTo>
                      <a:pt x="243" y="49"/>
                      <a:pt x="247" y="48"/>
                      <a:pt x="251" y="48"/>
                    </a:cubicBezTo>
                    <a:cubicBezTo>
                      <a:pt x="257" y="48"/>
                      <a:pt x="261" y="49"/>
                      <a:pt x="263" y="51"/>
                    </a:cubicBezTo>
                    <a:cubicBezTo>
                      <a:pt x="265" y="52"/>
                      <a:pt x="266" y="55"/>
                      <a:pt x="266" y="58"/>
                    </a:cubicBezTo>
                    <a:cubicBezTo>
                      <a:pt x="266" y="61"/>
                      <a:pt x="266" y="61"/>
                      <a:pt x="266" y="61"/>
                    </a:cubicBezTo>
                    <a:cubicBezTo>
                      <a:pt x="266" y="62"/>
                      <a:pt x="266" y="62"/>
                      <a:pt x="265" y="62"/>
                    </a:cubicBezTo>
                    <a:cubicBezTo>
                      <a:pt x="252" y="62"/>
                      <a:pt x="252" y="62"/>
                      <a:pt x="252" y="62"/>
                    </a:cubicBezTo>
                    <a:cubicBezTo>
                      <a:pt x="242" y="62"/>
                      <a:pt x="235" y="64"/>
                      <a:pt x="229" y="68"/>
                    </a:cubicBezTo>
                    <a:cubicBezTo>
                      <a:pt x="223" y="72"/>
                      <a:pt x="220" y="78"/>
                      <a:pt x="220" y="86"/>
                    </a:cubicBezTo>
                    <a:cubicBezTo>
                      <a:pt x="220" y="90"/>
                      <a:pt x="221" y="94"/>
                      <a:pt x="222" y="97"/>
                    </a:cubicBezTo>
                    <a:cubicBezTo>
                      <a:pt x="224" y="100"/>
                      <a:pt x="226" y="102"/>
                      <a:pt x="228" y="104"/>
                    </a:cubicBezTo>
                    <a:cubicBezTo>
                      <a:pt x="230" y="106"/>
                      <a:pt x="233" y="107"/>
                      <a:pt x="236" y="108"/>
                    </a:cubicBezTo>
                    <a:cubicBezTo>
                      <a:pt x="239" y="109"/>
                      <a:pt x="242" y="109"/>
                      <a:pt x="245" y="109"/>
                    </a:cubicBezTo>
                    <a:cubicBezTo>
                      <a:pt x="251" y="109"/>
                      <a:pt x="255" y="109"/>
                      <a:pt x="258" y="107"/>
                    </a:cubicBezTo>
                    <a:cubicBezTo>
                      <a:pt x="262" y="106"/>
                      <a:pt x="264" y="104"/>
                      <a:pt x="266" y="101"/>
                    </a:cubicBezTo>
                    <a:cubicBezTo>
                      <a:pt x="266" y="101"/>
                      <a:pt x="266" y="101"/>
                      <a:pt x="266" y="101"/>
                    </a:cubicBezTo>
                    <a:cubicBezTo>
                      <a:pt x="266" y="106"/>
                      <a:pt x="266" y="106"/>
                      <a:pt x="266" y="106"/>
                    </a:cubicBezTo>
                    <a:cubicBezTo>
                      <a:pt x="266" y="107"/>
                      <a:pt x="267" y="108"/>
                      <a:pt x="268" y="108"/>
                    </a:cubicBezTo>
                    <a:lnTo>
                      <a:pt x="285" y="108"/>
                    </a:lnTo>
                    <a:close/>
                    <a:moveTo>
                      <a:pt x="206" y="108"/>
                    </a:moveTo>
                    <a:cubicBezTo>
                      <a:pt x="207" y="108"/>
                      <a:pt x="208" y="107"/>
                      <a:pt x="208" y="106"/>
                    </a:cubicBezTo>
                    <a:cubicBezTo>
                      <a:pt x="208" y="59"/>
                      <a:pt x="208" y="59"/>
                      <a:pt x="208" y="59"/>
                    </a:cubicBezTo>
                    <a:cubicBezTo>
                      <a:pt x="208" y="50"/>
                      <a:pt x="205" y="44"/>
                      <a:pt x="201" y="38"/>
                    </a:cubicBezTo>
                    <a:cubicBezTo>
                      <a:pt x="196" y="33"/>
                      <a:pt x="190" y="31"/>
                      <a:pt x="181" y="31"/>
                    </a:cubicBezTo>
                    <a:cubicBezTo>
                      <a:pt x="176" y="31"/>
                      <a:pt x="171" y="31"/>
                      <a:pt x="167" y="33"/>
                    </a:cubicBezTo>
                    <a:cubicBezTo>
                      <a:pt x="163" y="35"/>
                      <a:pt x="160" y="37"/>
                      <a:pt x="157" y="40"/>
                    </a:cubicBezTo>
                    <a:cubicBezTo>
                      <a:pt x="157" y="40"/>
                      <a:pt x="157" y="40"/>
                      <a:pt x="157" y="40"/>
                    </a:cubicBezTo>
                    <a:cubicBezTo>
                      <a:pt x="153" y="34"/>
                      <a:pt x="146" y="31"/>
                      <a:pt x="137" y="31"/>
                    </a:cubicBezTo>
                    <a:cubicBezTo>
                      <a:pt x="132" y="31"/>
                      <a:pt x="128" y="31"/>
                      <a:pt x="125" y="33"/>
                    </a:cubicBezTo>
                    <a:cubicBezTo>
                      <a:pt x="122" y="35"/>
                      <a:pt x="119" y="37"/>
                      <a:pt x="117" y="39"/>
                    </a:cubicBezTo>
                    <a:cubicBezTo>
                      <a:pt x="117" y="39"/>
                      <a:pt x="117" y="39"/>
                      <a:pt x="117" y="39"/>
                    </a:cubicBezTo>
                    <a:cubicBezTo>
                      <a:pt x="117" y="34"/>
                      <a:pt x="117" y="34"/>
                      <a:pt x="117" y="34"/>
                    </a:cubicBezTo>
                    <a:cubicBezTo>
                      <a:pt x="117" y="33"/>
                      <a:pt x="117" y="32"/>
                      <a:pt x="116" y="32"/>
                    </a:cubicBezTo>
                    <a:cubicBezTo>
                      <a:pt x="97" y="32"/>
                      <a:pt x="97" y="32"/>
                      <a:pt x="97" y="32"/>
                    </a:cubicBezTo>
                    <a:cubicBezTo>
                      <a:pt x="96" y="32"/>
                      <a:pt x="95" y="33"/>
                      <a:pt x="95" y="34"/>
                    </a:cubicBezTo>
                    <a:cubicBezTo>
                      <a:pt x="95" y="106"/>
                      <a:pt x="95" y="106"/>
                      <a:pt x="95" y="106"/>
                    </a:cubicBezTo>
                    <a:cubicBezTo>
                      <a:pt x="95" y="107"/>
                      <a:pt x="96" y="108"/>
                      <a:pt x="97" y="108"/>
                    </a:cubicBezTo>
                    <a:cubicBezTo>
                      <a:pt x="116" y="108"/>
                      <a:pt x="116" y="108"/>
                      <a:pt x="116" y="108"/>
                    </a:cubicBezTo>
                    <a:cubicBezTo>
                      <a:pt x="117" y="108"/>
                      <a:pt x="117" y="107"/>
                      <a:pt x="117" y="106"/>
                    </a:cubicBezTo>
                    <a:cubicBezTo>
                      <a:pt x="117" y="63"/>
                      <a:pt x="117" y="63"/>
                      <a:pt x="117" y="63"/>
                    </a:cubicBezTo>
                    <a:cubicBezTo>
                      <a:pt x="117" y="59"/>
                      <a:pt x="118" y="55"/>
                      <a:pt x="120" y="53"/>
                    </a:cubicBezTo>
                    <a:cubicBezTo>
                      <a:pt x="122" y="50"/>
                      <a:pt x="125" y="49"/>
                      <a:pt x="129" y="49"/>
                    </a:cubicBezTo>
                    <a:cubicBezTo>
                      <a:pt x="133" y="49"/>
                      <a:pt x="136" y="50"/>
                      <a:pt x="138" y="53"/>
                    </a:cubicBezTo>
                    <a:cubicBezTo>
                      <a:pt x="140" y="55"/>
                      <a:pt x="141" y="59"/>
                      <a:pt x="141" y="63"/>
                    </a:cubicBezTo>
                    <a:cubicBezTo>
                      <a:pt x="141" y="106"/>
                      <a:pt x="141" y="106"/>
                      <a:pt x="141" y="106"/>
                    </a:cubicBezTo>
                    <a:cubicBezTo>
                      <a:pt x="141" y="107"/>
                      <a:pt x="141" y="108"/>
                      <a:pt x="142" y="108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8"/>
                      <a:pt x="162" y="107"/>
                      <a:pt x="162" y="106"/>
                    </a:cubicBezTo>
                    <a:cubicBezTo>
                      <a:pt x="162" y="63"/>
                      <a:pt x="162" y="63"/>
                      <a:pt x="162" y="63"/>
                    </a:cubicBezTo>
                    <a:cubicBezTo>
                      <a:pt x="162" y="59"/>
                      <a:pt x="163" y="55"/>
                      <a:pt x="166" y="53"/>
                    </a:cubicBezTo>
                    <a:cubicBezTo>
                      <a:pt x="168" y="50"/>
                      <a:pt x="170" y="49"/>
                      <a:pt x="174" y="49"/>
                    </a:cubicBezTo>
                    <a:cubicBezTo>
                      <a:pt x="178" y="49"/>
                      <a:pt x="181" y="50"/>
                      <a:pt x="183" y="53"/>
                    </a:cubicBezTo>
                    <a:cubicBezTo>
                      <a:pt x="185" y="55"/>
                      <a:pt x="186" y="59"/>
                      <a:pt x="186" y="63"/>
                    </a:cubicBezTo>
                    <a:cubicBezTo>
                      <a:pt x="186" y="106"/>
                      <a:pt x="186" y="106"/>
                      <a:pt x="186" y="106"/>
                    </a:cubicBezTo>
                    <a:cubicBezTo>
                      <a:pt x="186" y="107"/>
                      <a:pt x="186" y="108"/>
                      <a:pt x="188" y="108"/>
                    </a:cubicBezTo>
                    <a:lnTo>
                      <a:pt x="206" y="108"/>
                    </a:lnTo>
                    <a:close/>
                    <a:moveTo>
                      <a:pt x="60" y="107"/>
                    </a:moveTo>
                    <a:cubicBezTo>
                      <a:pt x="65" y="105"/>
                      <a:pt x="69" y="103"/>
                      <a:pt x="73" y="100"/>
                    </a:cubicBezTo>
                    <a:cubicBezTo>
                      <a:pt x="76" y="97"/>
                      <a:pt x="79" y="94"/>
                      <a:pt x="81" y="89"/>
                    </a:cubicBezTo>
                    <a:cubicBezTo>
                      <a:pt x="83" y="85"/>
                      <a:pt x="83" y="81"/>
                      <a:pt x="83" y="76"/>
                    </a:cubicBezTo>
                    <a:cubicBezTo>
                      <a:pt x="83" y="66"/>
                      <a:pt x="81" y="59"/>
                      <a:pt x="75" y="54"/>
                    </a:cubicBezTo>
                    <a:cubicBezTo>
                      <a:pt x="69" y="49"/>
                      <a:pt x="61" y="45"/>
                      <a:pt x="50" y="44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38" y="42"/>
                      <a:pt x="34" y="41"/>
                      <a:pt x="32" y="39"/>
                    </a:cubicBezTo>
                    <a:cubicBezTo>
                      <a:pt x="29" y="37"/>
                      <a:pt x="28" y="35"/>
                      <a:pt x="28" y="32"/>
                    </a:cubicBezTo>
                    <a:cubicBezTo>
                      <a:pt x="28" y="28"/>
                      <a:pt x="29" y="26"/>
                      <a:pt x="32" y="23"/>
                    </a:cubicBezTo>
                    <a:cubicBezTo>
                      <a:pt x="34" y="21"/>
                      <a:pt x="37" y="20"/>
                      <a:pt x="42" y="20"/>
                    </a:cubicBezTo>
                    <a:cubicBezTo>
                      <a:pt x="46" y="20"/>
                      <a:pt x="51" y="21"/>
                      <a:pt x="55" y="22"/>
                    </a:cubicBezTo>
                    <a:cubicBezTo>
                      <a:pt x="59" y="23"/>
                      <a:pt x="63" y="25"/>
                      <a:pt x="67" y="28"/>
                    </a:cubicBezTo>
                    <a:cubicBezTo>
                      <a:pt x="68" y="29"/>
                      <a:pt x="68" y="29"/>
                      <a:pt x="69" y="28"/>
                    </a:cubicBezTo>
                    <a:cubicBezTo>
                      <a:pt x="78" y="14"/>
                      <a:pt x="78" y="14"/>
                      <a:pt x="78" y="14"/>
                    </a:cubicBezTo>
                    <a:cubicBezTo>
                      <a:pt x="79" y="13"/>
                      <a:pt x="79" y="12"/>
                      <a:pt x="78" y="11"/>
                    </a:cubicBezTo>
                    <a:cubicBezTo>
                      <a:pt x="74" y="8"/>
                      <a:pt x="68" y="5"/>
                      <a:pt x="62" y="3"/>
                    </a:cubicBezTo>
                    <a:cubicBezTo>
                      <a:pt x="56" y="1"/>
                      <a:pt x="49" y="0"/>
                      <a:pt x="42" y="0"/>
                    </a:cubicBezTo>
                    <a:cubicBezTo>
                      <a:pt x="36" y="0"/>
                      <a:pt x="31" y="1"/>
                      <a:pt x="27" y="2"/>
                    </a:cubicBezTo>
                    <a:cubicBezTo>
                      <a:pt x="22" y="4"/>
                      <a:pt x="18" y="6"/>
                      <a:pt x="15" y="9"/>
                    </a:cubicBezTo>
                    <a:cubicBezTo>
                      <a:pt x="12" y="12"/>
                      <a:pt x="9" y="15"/>
                      <a:pt x="7" y="19"/>
                    </a:cubicBezTo>
                    <a:cubicBezTo>
                      <a:pt x="5" y="23"/>
                      <a:pt x="5" y="28"/>
                      <a:pt x="5" y="33"/>
                    </a:cubicBezTo>
                    <a:cubicBezTo>
                      <a:pt x="5" y="42"/>
                      <a:pt x="7" y="49"/>
                      <a:pt x="13" y="54"/>
                    </a:cubicBezTo>
                    <a:cubicBezTo>
                      <a:pt x="19" y="60"/>
                      <a:pt x="27" y="63"/>
                      <a:pt x="38" y="64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50" y="66"/>
                      <a:pt x="54" y="67"/>
                      <a:pt x="57" y="69"/>
                    </a:cubicBezTo>
                    <a:cubicBezTo>
                      <a:pt x="59" y="71"/>
                      <a:pt x="60" y="74"/>
                      <a:pt x="60" y="77"/>
                    </a:cubicBezTo>
                    <a:cubicBezTo>
                      <a:pt x="60" y="81"/>
                      <a:pt x="59" y="84"/>
                      <a:pt x="56" y="86"/>
                    </a:cubicBezTo>
                    <a:cubicBezTo>
                      <a:pt x="53" y="88"/>
                      <a:pt x="48" y="89"/>
                      <a:pt x="43" y="89"/>
                    </a:cubicBezTo>
                    <a:cubicBezTo>
                      <a:pt x="37" y="89"/>
                      <a:pt x="32" y="88"/>
                      <a:pt x="27" y="86"/>
                    </a:cubicBezTo>
                    <a:cubicBezTo>
                      <a:pt x="23" y="84"/>
                      <a:pt x="19" y="81"/>
                      <a:pt x="15" y="79"/>
                    </a:cubicBezTo>
                    <a:cubicBezTo>
                      <a:pt x="14" y="78"/>
                      <a:pt x="13" y="78"/>
                      <a:pt x="13" y="79"/>
                    </a:cubicBezTo>
                    <a:cubicBezTo>
                      <a:pt x="1" y="92"/>
                      <a:pt x="1" y="92"/>
                      <a:pt x="1" y="92"/>
                    </a:cubicBezTo>
                    <a:cubicBezTo>
                      <a:pt x="0" y="93"/>
                      <a:pt x="0" y="94"/>
                      <a:pt x="1" y="95"/>
                    </a:cubicBezTo>
                    <a:cubicBezTo>
                      <a:pt x="3" y="97"/>
                      <a:pt x="6" y="99"/>
                      <a:pt x="9" y="101"/>
                    </a:cubicBezTo>
                    <a:cubicBezTo>
                      <a:pt x="12" y="102"/>
                      <a:pt x="15" y="104"/>
                      <a:pt x="18" y="105"/>
                    </a:cubicBezTo>
                    <a:cubicBezTo>
                      <a:pt x="22" y="106"/>
                      <a:pt x="26" y="107"/>
                      <a:pt x="30" y="108"/>
                    </a:cubicBezTo>
                    <a:cubicBezTo>
                      <a:pt x="34" y="109"/>
                      <a:pt x="38" y="109"/>
                      <a:pt x="42" y="109"/>
                    </a:cubicBezTo>
                    <a:cubicBezTo>
                      <a:pt x="49" y="109"/>
                      <a:pt x="55" y="109"/>
                      <a:pt x="60" y="10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48" name="Freeform 184"/>
              <p:cNvSpPr>
                <a:spLocks noEditPoints="1"/>
              </p:cNvSpPr>
              <p:nvPr/>
            </p:nvSpPr>
            <p:spPr bwMode="auto">
              <a:xfrm>
                <a:off x="963" y="485"/>
                <a:ext cx="1242" cy="59"/>
              </a:xfrm>
              <a:custGeom>
                <a:avLst/>
                <a:gdLst>
                  <a:gd name="T0" fmla="*/ 684 w 705"/>
                  <a:gd name="T1" fmla="*/ 33 h 33"/>
                  <a:gd name="T2" fmla="*/ 662 w 705"/>
                  <a:gd name="T3" fmla="*/ 30 h 33"/>
                  <a:gd name="T4" fmla="*/ 650 w 705"/>
                  <a:gd name="T5" fmla="*/ 12 h 33"/>
                  <a:gd name="T6" fmla="*/ 667 w 705"/>
                  <a:gd name="T7" fmla="*/ 7 h 33"/>
                  <a:gd name="T8" fmla="*/ 667 w 705"/>
                  <a:gd name="T9" fmla="*/ 3 h 33"/>
                  <a:gd name="T10" fmla="*/ 648 w 705"/>
                  <a:gd name="T11" fmla="*/ 17 h 33"/>
                  <a:gd name="T12" fmla="*/ 667 w 705"/>
                  <a:gd name="T13" fmla="*/ 30 h 33"/>
                  <a:gd name="T14" fmla="*/ 634 w 705"/>
                  <a:gd name="T15" fmla="*/ 33 h 33"/>
                  <a:gd name="T16" fmla="*/ 613 w 705"/>
                  <a:gd name="T17" fmla="*/ 33 h 33"/>
                  <a:gd name="T18" fmla="*/ 601 w 705"/>
                  <a:gd name="T19" fmla="*/ 33 h 33"/>
                  <a:gd name="T20" fmla="*/ 601 w 705"/>
                  <a:gd name="T21" fmla="*/ 33 h 33"/>
                  <a:gd name="T22" fmla="*/ 545 w 705"/>
                  <a:gd name="T23" fmla="*/ 33 h 33"/>
                  <a:gd name="T24" fmla="*/ 532 w 705"/>
                  <a:gd name="T25" fmla="*/ 16 h 33"/>
                  <a:gd name="T26" fmla="*/ 486 w 705"/>
                  <a:gd name="T27" fmla="*/ 33 h 33"/>
                  <a:gd name="T28" fmla="*/ 468 w 705"/>
                  <a:gd name="T29" fmla="*/ 14 h 33"/>
                  <a:gd name="T30" fmla="*/ 469 w 705"/>
                  <a:gd name="T31" fmla="*/ 6 h 33"/>
                  <a:gd name="T32" fmla="*/ 469 w 705"/>
                  <a:gd name="T33" fmla="*/ 3 h 33"/>
                  <a:gd name="T34" fmla="*/ 469 w 705"/>
                  <a:gd name="T35" fmla="*/ 33 h 33"/>
                  <a:gd name="T36" fmla="*/ 423 w 705"/>
                  <a:gd name="T37" fmla="*/ 30 h 33"/>
                  <a:gd name="T38" fmla="*/ 419 w 705"/>
                  <a:gd name="T39" fmla="*/ 7 h 33"/>
                  <a:gd name="T40" fmla="*/ 435 w 705"/>
                  <a:gd name="T41" fmla="*/ 12 h 33"/>
                  <a:gd name="T42" fmla="*/ 427 w 705"/>
                  <a:gd name="T43" fmla="*/ 0 h 33"/>
                  <a:gd name="T44" fmla="*/ 416 w 705"/>
                  <a:gd name="T45" fmla="*/ 25 h 33"/>
                  <a:gd name="T46" fmla="*/ 437 w 705"/>
                  <a:gd name="T47" fmla="*/ 25 h 33"/>
                  <a:gd name="T48" fmla="*/ 390 w 705"/>
                  <a:gd name="T49" fmla="*/ 33 h 33"/>
                  <a:gd name="T50" fmla="*/ 374 w 705"/>
                  <a:gd name="T51" fmla="*/ 18 h 33"/>
                  <a:gd name="T52" fmla="*/ 358 w 705"/>
                  <a:gd name="T53" fmla="*/ 9 h 33"/>
                  <a:gd name="T54" fmla="*/ 371 w 705"/>
                  <a:gd name="T55" fmla="*/ 1 h 33"/>
                  <a:gd name="T56" fmla="*/ 370 w 705"/>
                  <a:gd name="T57" fmla="*/ 19 h 33"/>
                  <a:gd name="T58" fmla="*/ 359 w 705"/>
                  <a:gd name="T59" fmla="*/ 29 h 33"/>
                  <a:gd name="T60" fmla="*/ 376 w 705"/>
                  <a:gd name="T61" fmla="*/ 24 h 33"/>
                  <a:gd name="T62" fmla="*/ 320 w 705"/>
                  <a:gd name="T63" fmla="*/ 33 h 33"/>
                  <a:gd name="T64" fmla="*/ 304 w 705"/>
                  <a:gd name="T65" fmla="*/ 23 h 33"/>
                  <a:gd name="T66" fmla="*/ 308 w 705"/>
                  <a:gd name="T67" fmla="*/ 33 h 33"/>
                  <a:gd name="T68" fmla="*/ 267 w 705"/>
                  <a:gd name="T69" fmla="*/ 3 h 33"/>
                  <a:gd name="T70" fmla="*/ 275 w 705"/>
                  <a:gd name="T71" fmla="*/ 15 h 33"/>
                  <a:gd name="T72" fmla="*/ 258 w 705"/>
                  <a:gd name="T73" fmla="*/ 33 h 33"/>
                  <a:gd name="T74" fmla="*/ 223 w 705"/>
                  <a:gd name="T75" fmla="*/ 3 h 33"/>
                  <a:gd name="T76" fmla="*/ 195 w 705"/>
                  <a:gd name="T77" fmla="*/ 0 h 33"/>
                  <a:gd name="T78" fmla="*/ 197 w 705"/>
                  <a:gd name="T79" fmla="*/ 33 h 33"/>
                  <a:gd name="T80" fmla="*/ 143 w 705"/>
                  <a:gd name="T81" fmla="*/ 28 h 33"/>
                  <a:gd name="T82" fmla="*/ 143 w 705"/>
                  <a:gd name="T83" fmla="*/ 5 h 33"/>
                  <a:gd name="T84" fmla="*/ 158 w 705"/>
                  <a:gd name="T85" fmla="*/ 17 h 33"/>
                  <a:gd name="T86" fmla="*/ 144 w 705"/>
                  <a:gd name="T87" fmla="*/ 1 h 33"/>
                  <a:gd name="T88" fmla="*/ 139 w 705"/>
                  <a:gd name="T89" fmla="*/ 27 h 33"/>
                  <a:gd name="T90" fmla="*/ 160 w 705"/>
                  <a:gd name="T91" fmla="*/ 21 h 33"/>
                  <a:gd name="T92" fmla="*/ 109 w 705"/>
                  <a:gd name="T93" fmla="*/ 21 h 33"/>
                  <a:gd name="T94" fmla="*/ 93 w 705"/>
                  <a:gd name="T95" fmla="*/ 13 h 33"/>
                  <a:gd name="T96" fmla="*/ 108 w 705"/>
                  <a:gd name="T97" fmla="*/ 4 h 33"/>
                  <a:gd name="T98" fmla="*/ 102 w 705"/>
                  <a:gd name="T99" fmla="*/ 18 h 33"/>
                  <a:gd name="T100" fmla="*/ 94 w 705"/>
                  <a:gd name="T101" fmla="*/ 30 h 33"/>
                  <a:gd name="T102" fmla="*/ 107 w 705"/>
                  <a:gd name="T103" fmla="*/ 31 h 33"/>
                  <a:gd name="T104" fmla="*/ 70 w 705"/>
                  <a:gd name="T105" fmla="*/ 16 h 33"/>
                  <a:gd name="T106" fmla="*/ 72 w 705"/>
                  <a:gd name="T107" fmla="*/ 3 h 33"/>
                  <a:gd name="T108" fmla="*/ 60 w 705"/>
                  <a:gd name="T109" fmla="*/ 15 h 33"/>
                  <a:gd name="T110" fmla="*/ 74 w 705"/>
                  <a:gd name="T111" fmla="*/ 29 h 33"/>
                  <a:gd name="T112" fmla="*/ 61 w 705"/>
                  <a:gd name="T113" fmla="*/ 32 h 33"/>
                  <a:gd name="T114" fmla="*/ 42 w 705"/>
                  <a:gd name="T115" fmla="*/ 33 h 33"/>
                  <a:gd name="T116" fmla="*/ 0 w 705"/>
                  <a:gd name="T117" fmla="*/ 0 h 33"/>
                  <a:gd name="T118" fmla="*/ 28 w 705"/>
                  <a:gd name="T11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5" h="33">
                    <a:moveTo>
                      <a:pt x="705" y="33"/>
                    </a:moveTo>
                    <a:cubicBezTo>
                      <a:pt x="705" y="0"/>
                      <a:pt x="705" y="0"/>
                      <a:pt x="705" y="0"/>
                    </a:cubicBezTo>
                    <a:cubicBezTo>
                      <a:pt x="703" y="0"/>
                      <a:pt x="703" y="0"/>
                      <a:pt x="703" y="0"/>
                    </a:cubicBezTo>
                    <a:cubicBezTo>
                      <a:pt x="703" y="28"/>
                      <a:pt x="703" y="28"/>
                      <a:pt x="703" y="28"/>
                    </a:cubicBezTo>
                    <a:cubicBezTo>
                      <a:pt x="684" y="0"/>
                      <a:pt x="684" y="0"/>
                      <a:pt x="684" y="0"/>
                    </a:cubicBezTo>
                    <a:cubicBezTo>
                      <a:pt x="682" y="0"/>
                      <a:pt x="682" y="0"/>
                      <a:pt x="682" y="0"/>
                    </a:cubicBezTo>
                    <a:cubicBezTo>
                      <a:pt x="682" y="33"/>
                      <a:pt x="682" y="33"/>
                      <a:pt x="682" y="33"/>
                    </a:cubicBezTo>
                    <a:cubicBezTo>
                      <a:pt x="684" y="33"/>
                      <a:pt x="684" y="33"/>
                      <a:pt x="684" y="33"/>
                    </a:cubicBezTo>
                    <a:cubicBezTo>
                      <a:pt x="684" y="5"/>
                      <a:pt x="684" y="5"/>
                      <a:pt x="684" y="5"/>
                    </a:cubicBezTo>
                    <a:cubicBezTo>
                      <a:pt x="703" y="33"/>
                      <a:pt x="703" y="33"/>
                      <a:pt x="703" y="33"/>
                    </a:cubicBezTo>
                    <a:lnTo>
                      <a:pt x="705" y="33"/>
                    </a:lnTo>
                    <a:close/>
                    <a:moveTo>
                      <a:pt x="668" y="21"/>
                    </a:moveTo>
                    <a:cubicBezTo>
                      <a:pt x="668" y="22"/>
                      <a:pt x="667" y="23"/>
                      <a:pt x="667" y="24"/>
                    </a:cubicBezTo>
                    <a:cubicBezTo>
                      <a:pt x="667" y="25"/>
                      <a:pt x="667" y="26"/>
                      <a:pt x="667" y="27"/>
                    </a:cubicBezTo>
                    <a:cubicBezTo>
                      <a:pt x="666" y="27"/>
                      <a:pt x="666" y="28"/>
                      <a:pt x="665" y="28"/>
                    </a:cubicBezTo>
                    <a:cubicBezTo>
                      <a:pt x="664" y="29"/>
                      <a:pt x="663" y="30"/>
                      <a:pt x="662" y="30"/>
                    </a:cubicBezTo>
                    <a:cubicBezTo>
                      <a:pt x="661" y="31"/>
                      <a:pt x="660" y="31"/>
                      <a:pt x="659" y="31"/>
                    </a:cubicBezTo>
                    <a:cubicBezTo>
                      <a:pt x="658" y="31"/>
                      <a:pt x="657" y="31"/>
                      <a:pt x="656" y="30"/>
                    </a:cubicBezTo>
                    <a:cubicBezTo>
                      <a:pt x="655" y="30"/>
                      <a:pt x="654" y="29"/>
                      <a:pt x="653" y="28"/>
                    </a:cubicBezTo>
                    <a:cubicBezTo>
                      <a:pt x="652" y="28"/>
                      <a:pt x="652" y="27"/>
                      <a:pt x="651" y="27"/>
                    </a:cubicBezTo>
                    <a:cubicBezTo>
                      <a:pt x="651" y="26"/>
                      <a:pt x="651" y="25"/>
                      <a:pt x="651" y="24"/>
                    </a:cubicBezTo>
                    <a:cubicBezTo>
                      <a:pt x="650" y="23"/>
                      <a:pt x="650" y="22"/>
                      <a:pt x="650" y="21"/>
                    </a:cubicBezTo>
                    <a:cubicBezTo>
                      <a:pt x="650" y="20"/>
                      <a:pt x="650" y="18"/>
                      <a:pt x="650" y="17"/>
                    </a:cubicBezTo>
                    <a:cubicBezTo>
                      <a:pt x="650" y="15"/>
                      <a:pt x="650" y="13"/>
                      <a:pt x="650" y="12"/>
                    </a:cubicBezTo>
                    <a:cubicBezTo>
                      <a:pt x="650" y="11"/>
                      <a:pt x="650" y="10"/>
                      <a:pt x="651" y="9"/>
                    </a:cubicBezTo>
                    <a:cubicBezTo>
                      <a:pt x="651" y="8"/>
                      <a:pt x="651" y="7"/>
                      <a:pt x="651" y="7"/>
                    </a:cubicBezTo>
                    <a:cubicBezTo>
                      <a:pt x="652" y="6"/>
                      <a:pt x="652" y="5"/>
                      <a:pt x="653" y="5"/>
                    </a:cubicBezTo>
                    <a:cubicBezTo>
                      <a:pt x="654" y="4"/>
                      <a:pt x="655" y="3"/>
                      <a:pt x="656" y="3"/>
                    </a:cubicBezTo>
                    <a:cubicBezTo>
                      <a:pt x="657" y="2"/>
                      <a:pt x="658" y="2"/>
                      <a:pt x="659" y="2"/>
                    </a:cubicBezTo>
                    <a:cubicBezTo>
                      <a:pt x="660" y="2"/>
                      <a:pt x="661" y="2"/>
                      <a:pt x="662" y="3"/>
                    </a:cubicBezTo>
                    <a:cubicBezTo>
                      <a:pt x="663" y="3"/>
                      <a:pt x="664" y="4"/>
                      <a:pt x="665" y="5"/>
                    </a:cubicBezTo>
                    <a:cubicBezTo>
                      <a:pt x="666" y="5"/>
                      <a:pt x="666" y="6"/>
                      <a:pt x="667" y="7"/>
                    </a:cubicBezTo>
                    <a:cubicBezTo>
                      <a:pt x="667" y="7"/>
                      <a:pt x="667" y="8"/>
                      <a:pt x="667" y="9"/>
                    </a:cubicBezTo>
                    <a:cubicBezTo>
                      <a:pt x="667" y="10"/>
                      <a:pt x="668" y="11"/>
                      <a:pt x="668" y="12"/>
                    </a:cubicBezTo>
                    <a:cubicBezTo>
                      <a:pt x="668" y="13"/>
                      <a:pt x="668" y="15"/>
                      <a:pt x="668" y="17"/>
                    </a:cubicBezTo>
                    <a:cubicBezTo>
                      <a:pt x="668" y="18"/>
                      <a:pt x="668" y="20"/>
                      <a:pt x="668" y="21"/>
                    </a:cubicBezTo>
                    <a:moveTo>
                      <a:pt x="670" y="12"/>
                    </a:moveTo>
                    <a:cubicBezTo>
                      <a:pt x="670" y="11"/>
                      <a:pt x="670" y="9"/>
                      <a:pt x="670" y="8"/>
                    </a:cubicBezTo>
                    <a:cubicBezTo>
                      <a:pt x="670" y="7"/>
                      <a:pt x="669" y="6"/>
                      <a:pt x="669" y="6"/>
                    </a:cubicBezTo>
                    <a:cubicBezTo>
                      <a:pt x="668" y="5"/>
                      <a:pt x="668" y="4"/>
                      <a:pt x="667" y="3"/>
                    </a:cubicBezTo>
                    <a:cubicBezTo>
                      <a:pt x="666" y="2"/>
                      <a:pt x="665" y="1"/>
                      <a:pt x="663" y="1"/>
                    </a:cubicBezTo>
                    <a:cubicBezTo>
                      <a:pt x="662" y="0"/>
                      <a:pt x="661" y="0"/>
                      <a:pt x="659" y="0"/>
                    </a:cubicBezTo>
                    <a:cubicBezTo>
                      <a:pt x="657" y="0"/>
                      <a:pt x="656" y="0"/>
                      <a:pt x="655" y="1"/>
                    </a:cubicBezTo>
                    <a:cubicBezTo>
                      <a:pt x="653" y="1"/>
                      <a:pt x="652" y="2"/>
                      <a:pt x="651" y="3"/>
                    </a:cubicBezTo>
                    <a:cubicBezTo>
                      <a:pt x="650" y="4"/>
                      <a:pt x="650" y="5"/>
                      <a:pt x="649" y="6"/>
                    </a:cubicBezTo>
                    <a:cubicBezTo>
                      <a:pt x="649" y="6"/>
                      <a:pt x="648" y="7"/>
                      <a:pt x="648" y="8"/>
                    </a:cubicBezTo>
                    <a:cubicBezTo>
                      <a:pt x="648" y="9"/>
                      <a:pt x="648" y="11"/>
                      <a:pt x="648" y="12"/>
                    </a:cubicBezTo>
                    <a:cubicBezTo>
                      <a:pt x="648" y="13"/>
                      <a:pt x="648" y="15"/>
                      <a:pt x="648" y="17"/>
                    </a:cubicBezTo>
                    <a:cubicBezTo>
                      <a:pt x="648" y="18"/>
                      <a:pt x="648" y="20"/>
                      <a:pt x="648" y="21"/>
                    </a:cubicBezTo>
                    <a:cubicBezTo>
                      <a:pt x="648" y="23"/>
                      <a:pt x="648" y="24"/>
                      <a:pt x="648" y="25"/>
                    </a:cubicBezTo>
                    <a:cubicBezTo>
                      <a:pt x="648" y="26"/>
                      <a:pt x="649" y="27"/>
                      <a:pt x="649" y="27"/>
                    </a:cubicBezTo>
                    <a:cubicBezTo>
                      <a:pt x="650" y="28"/>
                      <a:pt x="650" y="29"/>
                      <a:pt x="651" y="30"/>
                    </a:cubicBezTo>
                    <a:cubicBezTo>
                      <a:pt x="652" y="31"/>
                      <a:pt x="653" y="32"/>
                      <a:pt x="655" y="32"/>
                    </a:cubicBezTo>
                    <a:cubicBezTo>
                      <a:pt x="656" y="33"/>
                      <a:pt x="657" y="33"/>
                      <a:pt x="659" y="33"/>
                    </a:cubicBezTo>
                    <a:cubicBezTo>
                      <a:pt x="661" y="33"/>
                      <a:pt x="662" y="33"/>
                      <a:pt x="663" y="32"/>
                    </a:cubicBezTo>
                    <a:cubicBezTo>
                      <a:pt x="665" y="32"/>
                      <a:pt x="666" y="31"/>
                      <a:pt x="667" y="30"/>
                    </a:cubicBezTo>
                    <a:cubicBezTo>
                      <a:pt x="668" y="29"/>
                      <a:pt x="668" y="28"/>
                      <a:pt x="669" y="27"/>
                    </a:cubicBezTo>
                    <a:cubicBezTo>
                      <a:pt x="669" y="27"/>
                      <a:pt x="670" y="26"/>
                      <a:pt x="670" y="25"/>
                    </a:cubicBezTo>
                    <a:cubicBezTo>
                      <a:pt x="670" y="24"/>
                      <a:pt x="670" y="23"/>
                      <a:pt x="670" y="21"/>
                    </a:cubicBezTo>
                    <a:cubicBezTo>
                      <a:pt x="670" y="20"/>
                      <a:pt x="670" y="18"/>
                      <a:pt x="670" y="17"/>
                    </a:cubicBezTo>
                    <a:cubicBezTo>
                      <a:pt x="670" y="15"/>
                      <a:pt x="670" y="13"/>
                      <a:pt x="670" y="12"/>
                    </a:cubicBezTo>
                    <a:moveTo>
                      <a:pt x="636" y="0"/>
                    </a:moveTo>
                    <a:cubicBezTo>
                      <a:pt x="634" y="0"/>
                      <a:pt x="634" y="0"/>
                      <a:pt x="634" y="0"/>
                    </a:cubicBezTo>
                    <a:cubicBezTo>
                      <a:pt x="634" y="33"/>
                      <a:pt x="634" y="33"/>
                      <a:pt x="634" y="33"/>
                    </a:cubicBezTo>
                    <a:cubicBezTo>
                      <a:pt x="636" y="33"/>
                      <a:pt x="636" y="33"/>
                      <a:pt x="636" y="33"/>
                    </a:cubicBezTo>
                    <a:lnTo>
                      <a:pt x="636" y="0"/>
                    </a:lnTo>
                    <a:close/>
                    <a:moveTo>
                      <a:pt x="625" y="3"/>
                    </a:moveTo>
                    <a:cubicBezTo>
                      <a:pt x="625" y="0"/>
                      <a:pt x="625" y="0"/>
                      <a:pt x="625" y="0"/>
                    </a:cubicBezTo>
                    <a:cubicBezTo>
                      <a:pt x="603" y="0"/>
                      <a:pt x="603" y="0"/>
                      <a:pt x="603" y="0"/>
                    </a:cubicBezTo>
                    <a:cubicBezTo>
                      <a:pt x="603" y="3"/>
                      <a:pt x="603" y="3"/>
                      <a:pt x="603" y="3"/>
                    </a:cubicBezTo>
                    <a:cubicBezTo>
                      <a:pt x="613" y="3"/>
                      <a:pt x="613" y="3"/>
                      <a:pt x="613" y="3"/>
                    </a:cubicBezTo>
                    <a:cubicBezTo>
                      <a:pt x="613" y="33"/>
                      <a:pt x="613" y="33"/>
                      <a:pt x="613" y="33"/>
                    </a:cubicBezTo>
                    <a:cubicBezTo>
                      <a:pt x="615" y="33"/>
                      <a:pt x="615" y="33"/>
                      <a:pt x="615" y="33"/>
                    </a:cubicBezTo>
                    <a:cubicBezTo>
                      <a:pt x="615" y="3"/>
                      <a:pt x="615" y="3"/>
                      <a:pt x="615" y="3"/>
                    </a:cubicBezTo>
                    <a:lnTo>
                      <a:pt x="625" y="3"/>
                    </a:lnTo>
                    <a:close/>
                    <a:moveTo>
                      <a:pt x="595" y="23"/>
                    </a:moveTo>
                    <a:cubicBezTo>
                      <a:pt x="581" y="23"/>
                      <a:pt x="581" y="23"/>
                      <a:pt x="581" y="23"/>
                    </a:cubicBezTo>
                    <a:cubicBezTo>
                      <a:pt x="588" y="4"/>
                      <a:pt x="588" y="4"/>
                      <a:pt x="588" y="4"/>
                    </a:cubicBezTo>
                    <a:lnTo>
                      <a:pt x="595" y="23"/>
                    </a:lnTo>
                    <a:close/>
                    <a:moveTo>
                      <a:pt x="601" y="33"/>
                    </a:moveTo>
                    <a:cubicBezTo>
                      <a:pt x="589" y="0"/>
                      <a:pt x="589" y="0"/>
                      <a:pt x="589" y="0"/>
                    </a:cubicBezTo>
                    <a:cubicBezTo>
                      <a:pt x="587" y="0"/>
                      <a:pt x="587" y="0"/>
                      <a:pt x="587" y="0"/>
                    </a:cubicBezTo>
                    <a:cubicBezTo>
                      <a:pt x="575" y="33"/>
                      <a:pt x="575" y="33"/>
                      <a:pt x="575" y="33"/>
                    </a:cubicBezTo>
                    <a:cubicBezTo>
                      <a:pt x="577" y="33"/>
                      <a:pt x="577" y="33"/>
                      <a:pt x="577" y="33"/>
                    </a:cubicBezTo>
                    <a:cubicBezTo>
                      <a:pt x="580" y="25"/>
                      <a:pt x="580" y="25"/>
                      <a:pt x="580" y="25"/>
                    </a:cubicBezTo>
                    <a:cubicBezTo>
                      <a:pt x="595" y="25"/>
                      <a:pt x="595" y="25"/>
                      <a:pt x="595" y="25"/>
                    </a:cubicBezTo>
                    <a:cubicBezTo>
                      <a:pt x="598" y="33"/>
                      <a:pt x="598" y="33"/>
                      <a:pt x="598" y="33"/>
                    </a:cubicBezTo>
                    <a:lnTo>
                      <a:pt x="601" y="33"/>
                    </a:lnTo>
                    <a:close/>
                    <a:moveTo>
                      <a:pt x="566" y="33"/>
                    </a:moveTo>
                    <a:cubicBezTo>
                      <a:pt x="566" y="0"/>
                      <a:pt x="566" y="0"/>
                      <a:pt x="566" y="0"/>
                    </a:cubicBezTo>
                    <a:cubicBezTo>
                      <a:pt x="564" y="0"/>
                      <a:pt x="564" y="0"/>
                      <a:pt x="564" y="0"/>
                    </a:cubicBezTo>
                    <a:cubicBezTo>
                      <a:pt x="564" y="28"/>
                      <a:pt x="564" y="28"/>
                      <a:pt x="564" y="28"/>
                    </a:cubicBezTo>
                    <a:cubicBezTo>
                      <a:pt x="545" y="0"/>
                      <a:pt x="545" y="0"/>
                      <a:pt x="545" y="0"/>
                    </a:cubicBez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33"/>
                      <a:pt x="543" y="33"/>
                      <a:pt x="543" y="33"/>
                    </a:cubicBezTo>
                    <a:cubicBezTo>
                      <a:pt x="545" y="33"/>
                      <a:pt x="545" y="33"/>
                      <a:pt x="545" y="33"/>
                    </a:cubicBezTo>
                    <a:cubicBezTo>
                      <a:pt x="545" y="5"/>
                      <a:pt x="545" y="5"/>
                      <a:pt x="545" y="5"/>
                    </a:cubicBezTo>
                    <a:cubicBezTo>
                      <a:pt x="564" y="33"/>
                      <a:pt x="564" y="33"/>
                      <a:pt x="564" y="33"/>
                    </a:cubicBezTo>
                    <a:lnTo>
                      <a:pt x="566" y="33"/>
                    </a:lnTo>
                    <a:close/>
                    <a:moveTo>
                      <a:pt x="532" y="16"/>
                    </a:moveTo>
                    <a:cubicBezTo>
                      <a:pt x="520" y="16"/>
                      <a:pt x="520" y="16"/>
                      <a:pt x="520" y="16"/>
                    </a:cubicBezTo>
                    <a:cubicBezTo>
                      <a:pt x="520" y="18"/>
                      <a:pt x="520" y="18"/>
                      <a:pt x="520" y="18"/>
                    </a:cubicBezTo>
                    <a:cubicBezTo>
                      <a:pt x="532" y="18"/>
                      <a:pt x="532" y="18"/>
                      <a:pt x="532" y="18"/>
                    </a:cubicBezTo>
                    <a:lnTo>
                      <a:pt x="532" y="16"/>
                    </a:lnTo>
                    <a:close/>
                    <a:moveTo>
                      <a:pt x="511" y="33"/>
                    </a:moveTo>
                    <a:cubicBezTo>
                      <a:pt x="511" y="0"/>
                      <a:pt x="511" y="0"/>
                      <a:pt x="511" y="0"/>
                    </a:cubicBezTo>
                    <a:cubicBezTo>
                      <a:pt x="509" y="0"/>
                      <a:pt x="509" y="0"/>
                      <a:pt x="509" y="0"/>
                    </a:cubicBezTo>
                    <a:cubicBezTo>
                      <a:pt x="498" y="25"/>
                      <a:pt x="498" y="25"/>
                      <a:pt x="498" y="25"/>
                    </a:cubicBezTo>
                    <a:cubicBezTo>
                      <a:pt x="486" y="0"/>
                      <a:pt x="486" y="0"/>
                      <a:pt x="486" y="0"/>
                    </a:cubicBezTo>
                    <a:cubicBezTo>
                      <a:pt x="484" y="0"/>
                      <a:pt x="484" y="0"/>
                      <a:pt x="484" y="0"/>
                    </a:cubicBezTo>
                    <a:cubicBezTo>
                      <a:pt x="484" y="33"/>
                      <a:pt x="484" y="33"/>
                      <a:pt x="484" y="33"/>
                    </a:cubicBezTo>
                    <a:cubicBezTo>
                      <a:pt x="486" y="33"/>
                      <a:pt x="486" y="33"/>
                      <a:pt x="486" y="33"/>
                    </a:cubicBezTo>
                    <a:cubicBezTo>
                      <a:pt x="486" y="6"/>
                      <a:pt x="486" y="6"/>
                      <a:pt x="486" y="6"/>
                    </a:cubicBezTo>
                    <a:cubicBezTo>
                      <a:pt x="496" y="28"/>
                      <a:pt x="496" y="28"/>
                      <a:pt x="496" y="28"/>
                    </a:cubicBezTo>
                    <a:cubicBezTo>
                      <a:pt x="499" y="28"/>
                      <a:pt x="499" y="28"/>
                      <a:pt x="499" y="28"/>
                    </a:cubicBezTo>
                    <a:cubicBezTo>
                      <a:pt x="509" y="6"/>
                      <a:pt x="509" y="6"/>
                      <a:pt x="509" y="6"/>
                    </a:cubicBezTo>
                    <a:cubicBezTo>
                      <a:pt x="509" y="33"/>
                      <a:pt x="509" y="33"/>
                      <a:pt x="509" y="33"/>
                    </a:cubicBezTo>
                    <a:lnTo>
                      <a:pt x="511" y="33"/>
                    </a:lnTo>
                    <a:close/>
                    <a:moveTo>
                      <a:pt x="469" y="12"/>
                    </a:moveTo>
                    <a:cubicBezTo>
                      <a:pt x="469" y="13"/>
                      <a:pt x="468" y="13"/>
                      <a:pt x="468" y="14"/>
                    </a:cubicBezTo>
                    <a:cubicBezTo>
                      <a:pt x="467" y="15"/>
                      <a:pt x="466" y="15"/>
                      <a:pt x="465" y="15"/>
                    </a:cubicBezTo>
                    <a:cubicBezTo>
                      <a:pt x="464" y="15"/>
                      <a:pt x="463" y="16"/>
                      <a:pt x="462" y="16"/>
                    </a:cubicBezTo>
                    <a:cubicBezTo>
                      <a:pt x="453" y="16"/>
                      <a:pt x="453" y="16"/>
                      <a:pt x="453" y="16"/>
                    </a:cubicBezTo>
                    <a:cubicBezTo>
                      <a:pt x="453" y="3"/>
                      <a:pt x="453" y="3"/>
                      <a:pt x="453" y="3"/>
                    </a:cubicBezTo>
                    <a:cubicBezTo>
                      <a:pt x="462" y="3"/>
                      <a:pt x="462" y="3"/>
                      <a:pt x="462" y="3"/>
                    </a:cubicBezTo>
                    <a:cubicBezTo>
                      <a:pt x="463" y="3"/>
                      <a:pt x="464" y="3"/>
                      <a:pt x="465" y="3"/>
                    </a:cubicBezTo>
                    <a:cubicBezTo>
                      <a:pt x="466" y="3"/>
                      <a:pt x="467" y="4"/>
                      <a:pt x="468" y="4"/>
                    </a:cubicBezTo>
                    <a:cubicBezTo>
                      <a:pt x="468" y="5"/>
                      <a:pt x="469" y="5"/>
                      <a:pt x="469" y="6"/>
                    </a:cubicBezTo>
                    <a:cubicBezTo>
                      <a:pt x="469" y="7"/>
                      <a:pt x="470" y="8"/>
                      <a:pt x="470" y="9"/>
                    </a:cubicBezTo>
                    <a:cubicBezTo>
                      <a:pt x="470" y="10"/>
                      <a:pt x="469" y="11"/>
                      <a:pt x="469" y="12"/>
                    </a:cubicBezTo>
                    <a:moveTo>
                      <a:pt x="472" y="33"/>
                    </a:moveTo>
                    <a:cubicBezTo>
                      <a:pt x="465" y="18"/>
                      <a:pt x="465" y="18"/>
                      <a:pt x="465" y="18"/>
                    </a:cubicBezTo>
                    <a:cubicBezTo>
                      <a:pt x="467" y="17"/>
                      <a:pt x="469" y="16"/>
                      <a:pt x="470" y="15"/>
                    </a:cubicBezTo>
                    <a:cubicBezTo>
                      <a:pt x="471" y="13"/>
                      <a:pt x="472" y="11"/>
                      <a:pt x="472" y="9"/>
                    </a:cubicBezTo>
                    <a:cubicBezTo>
                      <a:pt x="472" y="8"/>
                      <a:pt x="472" y="6"/>
                      <a:pt x="471" y="5"/>
                    </a:cubicBezTo>
                    <a:cubicBezTo>
                      <a:pt x="471" y="4"/>
                      <a:pt x="470" y="3"/>
                      <a:pt x="469" y="3"/>
                    </a:cubicBezTo>
                    <a:cubicBezTo>
                      <a:pt x="468" y="2"/>
                      <a:pt x="467" y="1"/>
                      <a:pt x="466" y="1"/>
                    </a:cubicBezTo>
                    <a:cubicBezTo>
                      <a:pt x="465" y="0"/>
                      <a:pt x="464" y="0"/>
                      <a:pt x="463" y="0"/>
                    </a:cubicBezTo>
                    <a:cubicBezTo>
                      <a:pt x="450" y="0"/>
                      <a:pt x="450" y="0"/>
                      <a:pt x="450" y="0"/>
                    </a:cubicBezTo>
                    <a:cubicBezTo>
                      <a:pt x="450" y="33"/>
                      <a:pt x="450" y="33"/>
                      <a:pt x="450" y="33"/>
                    </a:cubicBezTo>
                    <a:cubicBezTo>
                      <a:pt x="453" y="33"/>
                      <a:pt x="453" y="33"/>
                      <a:pt x="453" y="33"/>
                    </a:cubicBezTo>
                    <a:cubicBezTo>
                      <a:pt x="453" y="18"/>
                      <a:pt x="453" y="18"/>
                      <a:pt x="453" y="18"/>
                    </a:cubicBezTo>
                    <a:cubicBezTo>
                      <a:pt x="462" y="18"/>
                      <a:pt x="462" y="18"/>
                      <a:pt x="462" y="18"/>
                    </a:cubicBezTo>
                    <a:cubicBezTo>
                      <a:pt x="469" y="33"/>
                      <a:pt x="469" y="33"/>
                      <a:pt x="469" y="33"/>
                    </a:cubicBezTo>
                    <a:lnTo>
                      <a:pt x="472" y="33"/>
                    </a:lnTo>
                    <a:close/>
                    <a:moveTo>
                      <a:pt x="435" y="21"/>
                    </a:moveTo>
                    <a:cubicBezTo>
                      <a:pt x="435" y="22"/>
                      <a:pt x="435" y="23"/>
                      <a:pt x="435" y="24"/>
                    </a:cubicBezTo>
                    <a:cubicBezTo>
                      <a:pt x="435" y="25"/>
                      <a:pt x="435" y="26"/>
                      <a:pt x="434" y="27"/>
                    </a:cubicBezTo>
                    <a:cubicBezTo>
                      <a:pt x="434" y="27"/>
                      <a:pt x="433" y="28"/>
                      <a:pt x="433" y="28"/>
                    </a:cubicBezTo>
                    <a:cubicBezTo>
                      <a:pt x="432" y="29"/>
                      <a:pt x="431" y="30"/>
                      <a:pt x="430" y="30"/>
                    </a:cubicBezTo>
                    <a:cubicBezTo>
                      <a:pt x="429" y="31"/>
                      <a:pt x="428" y="31"/>
                      <a:pt x="427" y="31"/>
                    </a:cubicBezTo>
                    <a:cubicBezTo>
                      <a:pt x="426" y="31"/>
                      <a:pt x="424" y="31"/>
                      <a:pt x="423" y="30"/>
                    </a:cubicBezTo>
                    <a:cubicBezTo>
                      <a:pt x="422" y="30"/>
                      <a:pt x="421" y="29"/>
                      <a:pt x="421" y="28"/>
                    </a:cubicBezTo>
                    <a:cubicBezTo>
                      <a:pt x="420" y="28"/>
                      <a:pt x="419" y="27"/>
                      <a:pt x="419" y="27"/>
                    </a:cubicBezTo>
                    <a:cubicBezTo>
                      <a:pt x="419" y="26"/>
                      <a:pt x="419" y="25"/>
                      <a:pt x="418" y="24"/>
                    </a:cubicBezTo>
                    <a:cubicBezTo>
                      <a:pt x="418" y="23"/>
                      <a:pt x="418" y="22"/>
                      <a:pt x="418" y="21"/>
                    </a:cubicBezTo>
                    <a:cubicBezTo>
                      <a:pt x="418" y="20"/>
                      <a:pt x="418" y="18"/>
                      <a:pt x="418" y="17"/>
                    </a:cubicBezTo>
                    <a:cubicBezTo>
                      <a:pt x="418" y="15"/>
                      <a:pt x="418" y="13"/>
                      <a:pt x="418" y="12"/>
                    </a:cubicBezTo>
                    <a:cubicBezTo>
                      <a:pt x="418" y="11"/>
                      <a:pt x="418" y="10"/>
                      <a:pt x="418" y="9"/>
                    </a:cubicBezTo>
                    <a:cubicBezTo>
                      <a:pt x="419" y="8"/>
                      <a:pt x="419" y="7"/>
                      <a:pt x="419" y="7"/>
                    </a:cubicBezTo>
                    <a:cubicBezTo>
                      <a:pt x="419" y="6"/>
                      <a:pt x="420" y="5"/>
                      <a:pt x="421" y="5"/>
                    </a:cubicBezTo>
                    <a:cubicBezTo>
                      <a:pt x="421" y="4"/>
                      <a:pt x="422" y="3"/>
                      <a:pt x="423" y="3"/>
                    </a:cubicBezTo>
                    <a:cubicBezTo>
                      <a:pt x="424" y="2"/>
                      <a:pt x="426" y="2"/>
                      <a:pt x="427" y="2"/>
                    </a:cubicBezTo>
                    <a:cubicBezTo>
                      <a:pt x="428" y="2"/>
                      <a:pt x="429" y="2"/>
                      <a:pt x="430" y="3"/>
                    </a:cubicBezTo>
                    <a:cubicBezTo>
                      <a:pt x="431" y="3"/>
                      <a:pt x="432" y="4"/>
                      <a:pt x="433" y="5"/>
                    </a:cubicBezTo>
                    <a:cubicBezTo>
                      <a:pt x="433" y="5"/>
                      <a:pt x="434" y="6"/>
                      <a:pt x="434" y="7"/>
                    </a:cubicBezTo>
                    <a:cubicBezTo>
                      <a:pt x="435" y="7"/>
                      <a:pt x="435" y="8"/>
                      <a:pt x="435" y="9"/>
                    </a:cubicBezTo>
                    <a:cubicBezTo>
                      <a:pt x="435" y="10"/>
                      <a:pt x="435" y="11"/>
                      <a:pt x="435" y="12"/>
                    </a:cubicBezTo>
                    <a:cubicBezTo>
                      <a:pt x="435" y="13"/>
                      <a:pt x="435" y="15"/>
                      <a:pt x="435" y="17"/>
                    </a:cubicBezTo>
                    <a:cubicBezTo>
                      <a:pt x="435" y="18"/>
                      <a:pt x="435" y="20"/>
                      <a:pt x="435" y="21"/>
                    </a:cubicBezTo>
                    <a:moveTo>
                      <a:pt x="438" y="12"/>
                    </a:moveTo>
                    <a:cubicBezTo>
                      <a:pt x="438" y="11"/>
                      <a:pt x="438" y="9"/>
                      <a:pt x="437" y="8"/>
                    </a:cubicBezTo>
                    <a:cubicBezTo>
                      <a:pt x="437" y="7"/>
                      <a:pt x="437" y="6"/>
                      <a:pt x="437" y="6"/>
                    </a:cubicBezTo>
                    <a:cubicBezTo>
                      <a:pt x="436" y="5"/>
                      <a:pt x="436" y="4"/>
                      <a:pt x="435" y="3"/>
                    </a:cubicBezTo>
                    <a:cubicBezTo>
                      <a:pt x="434" y="2"/>
                      <a:pt x="433" y="1"/>
                      <a:pt x="431" y="1"/>
                    </a:cubicBezTo>
                    <a:cubicBezTo>
                      <a:pt x="430" y="0"/>
                      <a:pt x="428" y="0"/>
                      <a:pt x="427" y="0"/>
                    </a:cubicBezTo>
                    <a:cubicBezTo>
                      <a:pt x="425" y="0"/>
                      <a:pt x="424" y="0"/>
                      <a:pt x="422" y="1"/>
                    </a:cubicBezTo>
                    <a:cubicBezTo>
                      <a:pt x="421" y="1"/>
                      <a:pt x="420" y="2"/>
                      <a:pt x="419" y="3"/>
                    </a:cubicBezTo>
                    <a:cubicBezTo>
                      <a:pt x="418" y="4"/>
                      <a:pt x="417" y="5"/>
                      <a:pt x="417" y="6"/>
                    </a:cubicBezTo>
                    <a:cubicBezTo>
                      <a:pt x="416" y="6"/>
                      <a:pt x="416" y="7"/>
                      <a:pt x="416" y="8"/>
                    </a:cubicBezTo>
                    <a:cubicBezTo>
                      <a:pt x="416" y="9"/>
                      <a:pt x="416" y="11"/>
                      <a:pt x="416" y="12"/>
                    </a:cubicBezTo>
                    <a:cubicBezTo>
                      <a:pt x="416" y="13"/>
                      <a:pt x="416" y="15"/>
                      <a:pt x="416" y="17"/>
                    </a:cubicBezTo>
                    <a:cubicBezTo>
                      <a:pt x="416" y="18"/>
                      <a:pt x="416" y="20"/>
                      <a:pt x="416" y="21"/>
                    </a:cubicBezTo>
                    <a:cubicBezTo>
                      <a:pt x="416" y="23"/>
                      <a:pt x="416" y="24"/>
                      <a:pt x="416" y="25"/>
                    </a:cubicBezTo>
                    <a:cubicBezTo>
                      <a:pt x="416" y="26"/>
                      <a:pt x="416" y="27"/>
                      <a:pt x="417" y="27"/>
                    </a:cubicBezTo>
                    <a:cubicBezTo>
                      <a:pt x="417" y="28"/>
                      <a:pt x="418" y="29"/>
                      <a:pt x="419" y="30"/>
                    </a:cubicBezTo>
                    <a:cubicBezTo>
                      <a:pt x="420" y="31"/>
                      <a:pt x="421" y="32"/>
                      <a:pt x="422" y="32"/>
                    </a:cubicBezTo>
                    <a:cubicBezTo>
                      <a:pt x="424" y="33"/>
                      <a:pt x="425" y="33"/>
                      <a:pt x="427" y="33"/>
                    </a:cubicBezTo>
                    <a:cubicBezTo>
                      <a:pt x="428" y="33"/>
                      <a:pt x="430" y="33"/>
                      <a:pt x="431" y="32"/>
                    </a:cubicBezTo>
                    <a:cubicBezTo>
                      <a:pt x="433" y="32"/>
                      <a:pt x="434" y="31"/>
                      <a:pt x="435" y="30"/>
                    </a:cubicBezTo>
                    <a:cubicBezTo>
                      <a:pt x="436" y="29"/>
                      <a:pt x="436" y="28"/>
                      <a:pt x="437" y="27"/>
                    </a:cubicBezTo>
                    <a:cubicBezTo>
                      <a:pt x="437" y="27"/>
                      <a:pt x="437" y="26"/>
                      <a:pt x="437" y="25"/>
                    </a:cubicBezTo>
                    <a:cubicBezTo>
                      <a:pt x="438" y="24"/>
                      <a:pt x="438" y="23"/>
                      <a:pt x="438" y="21"/>
                    </a:cubicBezTo>
                    <a:cubicBezTo>
                      <a:pt x="438" y="20"/>
                      <a:pt x="438" y="18"/>
                      <a:pt x="438" y="17"/>
                    </a:cubicBezTo>
                    <a:cubicBezTo>
                      <a:pt x="438" y="15"/>
                      <a:pt x="438" y="13"/>
                      <a:pt x="438" y="12"/>
                    </a:cubicBezTo>
                    <a:moveTo>
                      <a:pt x="407" y="3"/>
                    </a:moveTo>
                    <a:cubicBezTo>
                      <a:pt x="407" y="0"/>
                      <a:pt x="407" y="0"/>
                      <a:pt x="407" y="0"/>
                    </a:cubicBezTo>
                    <a:cubicBezTo>
                      <a:pt x="388" y="0"/>
                      <a:pt x="388" y="0"/>
                      <a:pt x="388" y="0"/>
                    </a:cubicBezTo>
                    <a:cubicBezTo>
                      <a:pt x="388" y="33"/>
                      <a:pt x="388" y="33"/>
                      <a:pt x="388" y="33"/>
                    </a:cubicBezTo>
                    <a:cubicBezTo>
                      <a:pt x="390" y="33"/>
                      <a:pt x="390" y="33"/>
                      <a:pt x="390" y="33"/>
                    </a:cubicBezTo>
                    <a:cubicBezTo>
                      <a:pt x="390" y="18"/>
                      <a:pt x="390" y="18"/>
                      <a:pt x="390" y="18"/>
                    </a:cubicBezTo>
                    <a:cubicBezTo>
                      <a:pt x="405" y="18"/>
                      <a:pt x="405" y="18"/>
                      <a:pt x="405" y="18"/>
                    </a:cubicBezTo>
                    <a:cubicBezTo>
                      <a:pt x="405" y="16"/>
                      <a:pt x="405" y="16"/>
                      <a:pt x="405" y="16"/>
                    </a:cubicBezTo>
                    <a:cubicBezTo>
                      <a:pt x="390" y="16"/>
                      <a:pt x="390" y="16"/>
                      <a:pt x="390" y="16"/>
                    </a:cubicBezTo>
                    <a:cubicBezTo>
                      <a:pt x="390" y="3"/>
                      <a:pt x="390" y="3"/>
                      <a:pt x="390" y="3"/>
                    </a:cubicBezTo>
                    <a:lnTo>
                      <a:pt x="407" y="3"/>
                    </a:lnTo>
                    <a:close/>
                    <a:moveTo>
                      <a:pt x="376" y="21"/>
                    </a:moveTo>
                    <a:cubicBezTo>
                      <a:pt x="375" y="19"/>
                      <a:pt x="374" y="19"/>
                      <a:pt x="374" y="18"/>
                    </a:cubicBezTo>
                    <a:cubicBezTo>
                      <a:pt x="373" y="18"/>
                      <a:pt x="373" y="17"/>
                      <a:pt x="373" y="17"/>
                    </a:cubicBezTo>
                    <a:cubicBezTo>
                      <a:pt x="372" y="17"/>
                      <a:pt x="372" y="17"/>
                      <a:pt x="371" y="16"/>
                    </a:cubicBezTo>
                    <a:cubicBezTo>
                      <a:pt x="371" y="16"/>
                      <a:pt x="370" y="16"/>
                      <a:pt x="370" y="16"/>
                    </a:cubicBezTo>
                    <a:cubicBezTo>
                      <a:pt x="369" y="16"/>
                      <a:pt x="369" y="16"/>
                      <a:pt x="368" y="16"/>
                    </a:cubicBezTo>
                    <a:cubicBezTo>
                      <a:pt x="364" y="15"/>
                      <a:pt x="364" y="15"/>
                      <a:pt x="364" y="15"/>
                    </a:cubicBezTo>
                    <a:cubicBezTo>
                      <a:pt x="363" y="15"/>
                      <a:pt x="362" y="15"/>
                      <a:pt x="362" y="14"/>
                    </a:cubicBezTo>
                    <a:cubicBezTo>
                      <a:pt x="361" y="14"/>
                      <a:pt x="360" y="14"/>
                      <a:pt x="359" y="13"/>
                    </a:cubicBezTo>
                    <a:cubicBezTo>
                      <a:pt x="358" y="12"/>
                      <a:pt x="358" y="11"/>
                      <a:pt x="358" y="9"/>
                    </a:cubicBezTo>
                    <a:cubicBezTo>
                      <a:pt x="358" y="7"/>
                      <a:pt x="358" y="5"/>
                      <a:pt x="360" y="4"/>
                    </a:cubicBezTo>
                    <a:cubicBezTo>
                      <a:pt x="361" y="3"/>
                      <a:pt x="363" y="2"/>
                      <a:pt x="365" y="2"/>
                    </a:cubicBezTo>
                    <a:cubicBezTo>
                      <a:pt x="366" y="2"/>
                      <a:pt x="367" y="2"/>
                      <a:pt x="368" y="2"/>
                    </a:cubicBezTo>
                    <a:cubicBezTo>
                      <a:pt x="369" y="3"/>
                      <a:pt x="369" y="3"/>
                      <a:pt x="370" y="3"/>
                    </a:cubicBezTo>
                    <a:cubicBezTo>
                      <a:pt x="371" y="3"/>
                      <a:pt x="371" y="4"/>
                      <a:pt x="372" y="4"/>
                    </a:cubicBezTo>
                    <a:cubicBezTo>
                      <a:pt x="372" y="4"/>
                      <a:pt x="373" y="5"/>
                      <a:pt x="373" y="5"/>
                    </a:cubicBezTo>
                    <a:cubicBezTo>
                      <a:pt x="375" y="4"/>
                      <a:pt x="375" y="4"/>
                      <a:pt x="375" y="4"/>
                    </a:cubicBezTo>
                    <a:cubicBezTo>
                      <a:pt x="373" y="2"/>
                      <a:pt x="372" y="1"/>
                      <a:pt x="371" y="1"/>
                    </a:cubicBezTo>
                    <a:cubicBezTo>
                      <a:pt x="369" y="0"/>
                      <a:pt x="367" y="0"/>
                      <a:pt x="365" y="0"/>
                    </a:cubicBezTo>
                    <a:cubicBezTo>
                      <a:pt x="362" y="0"/>
                      <a:pt x="360" y="1"/>
                      <a:pt x="358" y="2"/>
                    </a:cubicBezTo>
                    <a:cubicBezTo>
                      <a:pt x="356" y="4"/>
                      <a:pt x="355" y="6"/>
                      <a:pt x="355" y="9"/>
                    </a:cubicBezTo>
                    <a:cubicBezTo>
                      <a:pt x="355" y="11"/>
                      <a:pt x="356" y="13"/>
                      <a:pt x="358" y="15"/>
                    </a:cubicBezTo>
                    <a:cubicBezTo>
                      <a:pt x="359" y="16"/>
                      <a:pt x="361" y="17"/>
                      <a:pt x="364" y="17"/>
                    </a:cubicBezTo>
                    <a:cubicBezTo>
                      <a:pt x="368" y="18"/>
                      <a:pt x="368" y="18"/>
                      <a:pt x="368" y="18"/>
                    </a:cubicBezTo>
                    <a:cubicBezTo>
                      <a:pt x="368" y="18"/>
                      <a:pt x="369" y="18"/>
                      <a:pt x="369" y="18"/>
                    </a:cubicBezTo>
                    <a:cubicBezTo>
                      <a:pt x="370" y="18"/>
                      <a:pt x="370" y="18"/>
                      <a:pt x="370" y="19"/>
                    </a:cubicBezTo>
                    <a:cubicBezTo>
                      <a:pt x="371" y="19"/>
                      <a:pt x="371" y="19"/>
                      <a:pt x="371" y="19"/>
                    </a:cubicBezTo>
                    <a:cubicBezTo>
                      <a:pt x="372" y="19"/>
                      <a:pt x="372" y="19"/>
                      <a:pt x="372" y="20"/>
                    </a:cubicBezTo>
                    <a:cubicBezTo>
                      <a:pt x="373" y="21"/>
                      <a:pt x="374" y="22"/>
                      <a:pt x="374" y="24"/>
                    </a:cubicBezTo>
                    <a:cubicBezTo>
                      <a:pt x="374" y="26"/>
                      <a:pt x="373" y="28"/>
                      <a:pt x="372" y="29"/>
                    </a:cubicBezTo>
                    <a:cubicBezTo>
                      <a:pt x="370" y="30"/>
                      <a:pt x="368" y="31"/>
                      <a:pt x="366" y="31"/>
                    </a:cubicBezTo>
                    <a:cubicBezTo>
                      <a:pt x="365" y="31"/>
                      <a:pt x="364" y="31"/>
                      <a:pt x="363" y="31"/>
                    </a:cubicBezTo>
                    <a:cubicBezTo>
                      <a:pt x="362" y="31"/>
                      <a:pt x="361" y="30"/>
                      <a:pt x="361" y="30"/>
                    </a:cubicBezTo>
                    <a:cubicBezTo>
                      <a:pt x="360" y="30"/>
                      <a:pt x="359" y="29"/>
                      <a:pt x="359" y="29"/>
                    </a:cubicBezTo>
                    <a:cubicBezTo>
                      <a:pt x="358" y="28"/>
                      <a:pt x="357" y="28"/>
                      <a:pt x="356" y="27"/>
                    </a:cubicBezTo>
                    <a:cubicBezTo>
                      <a:pt x="355" y="29"/>
                      <a:pt x="355" y="29"/>
                      <a:pt x="355" y="29"/>
                    </a:cubicBezTo>
                    <a:cubicBezTo>
                      <a:pt x="355" y="30"/>
                      <a:pt x="356" y="30"/>
                      <a:pt x="357" y="31"/>
                    </a:cubicBezTo>
                    <a:cubicBezTo>
                      <a:pt x="358" y="31"/>
                      <a:pt x="359" y="32"/>
                      <a:pt x="359" y="32"/>
                    </a:cubicBezTo>
                    <a:cubicBezTo>
                      <a:pt x="360" y="32"/>
                      <a:pt x="361" y="33"/>
                      <a:pt x="362" y="33"/>
                    </a:cubicBezTo>
                    <a:cubicBezTo>
                      <a:pt x="363" y="33"/>
                      <a:pt x="364" y="33"/>
                      <a:pt x="365" y="33"/>
                    </a:cubicBezTo>
                    <a:cubicBezTo>
                      <a:pt x="369" y="33"/>
                      <a:pt x="372" y="32"/>
                      <a:pt x="374" y="31"/>
                    </a:cubicBezTo>
                    <a:cubicBezTo>
                      <a:pt x="375" y="29"/>
                      <a:pt x="376" y="27"/>
                      <a:pt x="376" y="24"/>
                    </a:cubicBezTo>
                    <a:cubicBezTo>
                      <a:pt x="376" y="23"/>
                      <a:pt x="376" y="22"/>
                      <a:pt x="376" y="21"/>
                    </a:cubicBezTo>
                    <a:moveTo>
                      <a:pt x="344" y="33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341" y="0"/>
                      <a:pt x="341" y="0"/>
                      <a:pt x="341" y="0"/>
                    </a:cubicBezTo>
                    <a:cubicBezTo>
                      <a:pt x="341" y="28"/>
                      <a:pt x="341" y="28"/>
                      <a:pt x="341" y="28"/>
                    </a:cubicBezTo>
                    <a:cubicBezTo>
                      <a:pt x="322" y="0"/>
                      <a:pt x="322" y="0"/>
                      <a:pt x="322" y="0"/>
                    </a:cubicBezTo>
                    <a:cubicBezTo>
                      <a:pt x="320" y="0"/>
                      <a:pt x="320" y="0"/>
                      <a:pt x="320" y="0"/>
                    </a:cubicBezTo>
                    <a:cubicBezTo>
                      <a:pt x="320" y="33"/>
                      <a:pt x="320" y="33"/>
                      <a:pt x="320" y="33"/>
                    </a:cubicBezTo>
                    <a:cubicBezTo>
                      <a:pt x="322" y="33"/>
                      <a:pt x="322" y="33"/>
                      <a:pt x="322" y="33"/>
                    </a:cubicBezTo>
                    <a:cubicBezTo>
                      <a:pt x="322" y="5"/>
                      <a:pt x="322" y="5"/>
                      <a:pt x="322" y="5"/>
                    </a:cubicBezTo>
                    <a:cubicBezTo>
                      <a:pt x="341" y="33"/>
                      <a:pt x="341" y="33"/>
                      <a:pt x="341" y="33"/>
                    </a:cubicBezTo>
                    <a:lnTo>
                      <a:pt x="344" y="33"/>
                    </a:lnTo>
                    <a:close/>
                    <a:moveTo>
                      <a:pt x="304" y="23"/>
                    </a:moveTo>
                    <a:cubicBezTo>
                      <a:pt x="291" y="23"/>
                      <a:pt x="291" y="23"/>
                      <a:pt x="291" y="23"/>
                    </a:cubicBezTo>
                    <a:cubicBezTo>
                      <a:pt x="298" y="4"/>
                      <a:pt x="298" y="4"/>
                      <a:pt x="298" y="4"/>
                    </a:cubicBezTo>
                    <a:lnTo>
                      <a:pt x="304" y="23"/>
                    </a:lnTo>
                    <a:close/>
                    <a:moveTo>
                      <a:pt x="311" y="33"/>
                    </a:moveTo>
                    <a:cubicBezTo>
                      <a:pt x="299" y="0"/>
                      <a:pt x="299" y="0"/>
                      <a:pt x="299" y="0"/>
                    </a:cubicBezTo>
                    <a:cubicBezTo>
                      <a:pt x="296" y="0"/>
                      <a:pt x="296" y="0"/>
                      <a:pt x="296" y="0"/>
                    </a:cubicBezTo>
                    <a:cubicBezTo>
                      <a:pt x="284" y="33"/>
                      <a:pt x="284" y="33"/>
                      <a:pt x="284" y="33"/>
                    </a:cubicBezTo>
                    <a:cubicBezTo>
                      <a:pt x="287" y="33"/>
                      <a:pt x="287" y="33"/>
                      <a:pt x="287" y="33"/>
                    </a:cubicBezTo>
                    <a:cubicBezTo>
                      <a:pt x="290" y="25"/>
                      <a:pt x="290" y="25"/>
                      <a:pt x="290" y="25"/>
                    </a:cubicBezTo>
                    <a:cubicBezTo>
                      <a:pt x="305" y="25"/>
                      <a:pt x="305" y="25"/>
                      <a:pt x="305" y="25"/>
                    </a:cubicBezTo>
                    <a:cubicBezTo>
                      <a:pt x="308" y="33"/>
                      <a:pt x="308" y="33"/>
                      <a:pt x="308" y="33"/>
                    </a:cubicBezTo>
                    <a:lnTo>
                      <a:pt x="311" y="33"/>
                    </a:lnTo>
                    <a:close/>
                    <a:moveTo>
                      <a:pt x="274" y="12"/>
                    </a:moveTo>
                    <a:cubicBezTo>
                      <a:pt x="274" y="13"/>
                      <a:pt x="273" y="13"/>
                      <a:pt x="272" y="14"/>
                    </a:cubicBezTo>
                    <a:cubicBezTo>
                      <a:pt x="272" y="15"/>
                      <a:pt x="271" y="15"/>
                      <a:pt x="270" y="15"/>
                    </a:cubicBezTo>
                    <a:cubicBezTo>
                      <a:pt x="269" y="15"/>
                      <a:pt x="268" y="16"/>
                      <a:pt x="267" y="16"/>
                    </a:cubicBezTo>
                    <a:cubicBezTo>
                      <a:pt x="258" y="16"/>
                      <a:pt x="258" y="16"/>
                      <a:pt x="258" y="16"/>
                    </a:cubicBezTo>
                    <a:cubicBezTo>
                      <a:pt x="258" y="3"/>
                      <a:pt x="258" y="3"/>
                      <a:pt x="258" y="3"/>
                    </a:cubicBezTo>
                    <a:cubicBezTo>
                      <a:pt x="267" y="3"/>
                      <a:pt x="267" y="3"/>
                      <a:pt x="267" y="3"/>
                    </a:cubicBezTo>
                    <a:cubicBezTo>
                      <a:pt x="268" y="3"/>
                      <a:pt x="269" y="3"/>
                      <a:pt x="270" y="3"/>
                    </a:cubicBezTo>
                    <a:cubicBezTo>
                      <a:pt x="271" y="3"/>
                      <a:pt x="272" y="4"/>
                      <a:pt x="272" y="4"/>
                    </a:cubicBezTo>
                    <a:cubicBezTo>
                      <a:pt x="273" y="5"/>
                      <a:pt x="274" y="5"/>
                      <a:pt x="274" y="6"/>
                    </a:cubicBezTo>
                    <a:cubicBezTo>
                      <a:pt x="274" y="7"/>
                      <a:pt x="274" y="8"/>
                      <a:pt x="274" y="9"/>
                    </a:cubicBezTo>
                    <a:cubicBezTo>
                      <a:pt x="274" y="10"/>
                      <a:pt x="274" y="11"/>
                      <a:pt x="274" y="12"/>
                    </a:cubicBezTo>
                    <a:moveTo>
                      <a:pt x="277" y="33"/>
                    </a:moveTo>
                    <a:cubicBezTo>
                      <a:pt x="269" y="18"/>
                      <a:pt x="269" y="18"/>
                      <a:pt x="269" y="18"/>
                    </a:cubicBezTo>
                    <a:cubicBezTo>
                      <a:pt x="272" y="17"/>
                      <a:pt x="273" y="16"/>
                      <a:pt x="275" y="15"/>
                    </a:cubicBezTo>
                    <a:cubicBezTo>
                      <a:pt x="276" y="13"/>
                      <a:pt x="277" y="11"/>
                      <a:pt x="277" y="9"/>
                    </a:cubicBezTo>
                    <a:cubicBezTo>
                      <a:pt x="277" y="8"/>
                      <a:pt x="277" y="6"/>
                      <a:pt x="276" y="5"/>
                    </a:cubicBezTo>
                    <a:cubicBezTo>
                      <a:pt x="276" y="4"/>
                      <a:pt x="275" y="3"/>
                      <a:pt x="274" y="3"/>
                    </a:cubicBezTo>
                    <a:cubicBezTo>
                      <a:pt x="273" y="2"/>
                      <a:pt x="272" y="1"/>
                      <a:pt x="271" y="1"/>
                    </a:cubicBezTo>
                    <a:cubicBezTo>
                      <a:pt x="270" y="0"/>
                      <a:pt x="269" y="0"/>
                      <a:pt x="268" y="0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55" y="33"/>
                      <a:pt x="255" y="33"/>
                      <a:pt x="255" y="33"/>
                    </a:cubicBezTo>
                    <a:cubicBezTo>
                      <a:pt x="258" y="33"/>
                      <a:pt x="258" y="33"/>
                      <a:pt x="258" y="33"/>
                    </a:cubicBezTo>
                    <a:cubicBezTo>
                      <a:pt x="258" y="18"/>
                      <a:pt x="258" y="18"/>
                      <a:pt x="258" y="18"/>
                    </a:cubicBezTo>
                    <a:cubicBezTo>
                      <a:pt x="267" y="18"/>
                      <a:pt x="267" y="18"/>
                      <a:pt x="267" y="18"/>
                    </a:cubicBezTo>
                    <a:cubicBezTo>
                      <a:pt x="274" y="33"/>
                      <a:pt x="274" y="33"/>
                      <a:pt x="274" y="33"/>
                    </a:cubicBezTo>
                    <a:lnTo>
                      <a:pt x="277" y="33"/>
                    </a:lnTo>
                    <a:close/>
                    <a:moveTo>
                      <a:pt x="245" y="3"/>
                    </a:moveTo>
                    <a:cubicBezTo>
                      <a:pt x="245" y="0"/>
                      <a:pt x="245" y="0"/>
                      <a:pt x="245" y="0"/>
                    </a:cubicBezTo>
                    <a:cubicBezTo>
                      <a:pt x="223" y="0"/>
                      <a:pt x="223" y="0"/>
                      <a:pt x="223" y="0"/>
                    </a:cubicBezTo>
                    <a:cubicBezTo>
                      <a:pt x="223" y="3"/>
                      <a:pt x="223" y="3"/>
                      <a:pt x="223" y="3"/>
                    </a:cubicBezTo>
                    <a:cubicBezTo>
                      <a:pt x="233" y="3"/>
                      <a:pt x="233" y="3"/>
                      <a:pt x="233" y="3"/>
                    </a:cubicBezTo>
                    <a:cubicBezTo>
                      <a:pt x="233" y="33"/>
                      <a:pt x="233" y="33"/>
                      <a:pt x="233" y="33"/>
                    </a:cubicBezTo>
                    <a:cubicBezTo>
                      <a:pt x="235" y="33"/>
                      <a:pt x="235" y="33"/>
                      <a:pt x="235" y="33"/>
                    </a:cubicBezTo>
                    <a:cubicBezTo>
                      <a:pt x="235" y="3"/>
                      <a:pt x="235" y="3"/>
                      <a:pt x="235" y="3"/>
                    </a:cubicBezTo>
                    <a:lnTo>
                      <a:pt x="245" y="3"/>
                    </a:lnTo>
                    <a:close/>
                    <a:moveTo>
                      <a:pt x="197" y="33"/>
                    </a:moveTo>
                    <a:cubicBezTo>
                      <a:pt x="197" y="0"/>
                      <a:pt x="197" y="0"/>
                      <a:pt x="197" y="0"/>
                    </a:cubicBezTo>
                    <a:cubicBezTo>
                      <a:pt x="195" y="0"/>
                      <a:pt x="195" y="0"/>
                      <a:pt x="195" y="0"/>
                    </a:cubicBezTo>
                    <a:cubicBezTo>
                      <a:pt x="195" y="28"/>
                      <a:pt x="195" y="28"/>
                      <a:pt x="195" y="28"/>
                    </a:cubicBezTo>
                    <a:cubicBezTo>
                      <a:pt x="176" y="0"/>
                      <a:pt x="176" y="0"/>
                      <a:pt x="176" y="0"/>
                    </a:cubicBezTo>
                    <a:cubicBezTo>
                      <a:pt x="173" y="0"/>
                      <a:pt x="173" y="0"/>
                      <a:pt x="173" y="0"/>
                    </a:cubicBezTo>
                    <a:cubicBezTo>
                      <a:pt x="173" y="33"/>
                      <a:pt x="173" y="33"/>
                      <a:pt x="173" y="33"/>
                    </a:cubicBezTo>
                    <a:cubicBezTo>
                      <a:pt x="176" y="33"/>
                      <a:pt x="176" y="33"/>
                      <a:pt x="176" y="33"/>
                    </a:cubicBezTo>
                    <a:cubicBezTo>
                      <a:pt x="176" y="5"/>
                      <a:pt x="176" y="5"/>
                      <a:pt x="176" y="5"/>
                    </a:cubicBezTo>
                    <a:cubicBezTo>
                      <a:pt x="195" y="33"/>
                      <a:pt x="195" y="33"/>
                      <a:pt x="195" y="33"/>
                    </a:cubicBezTo>
                    <a:lnTo>
                      <a:pt x="197" y="33"/>
                    </a:lnTo>
                    <a:close/>
                    <a:moveTo>
                      <a:pt x="157" y="21"/>
                    </a:moveTo>
                    <a:cubicBezTo>
                      <a:pt x="157" y="22"/>
                      <a:pt x="157" y="23"/>
                      <a:pt x="157" y="24"/>
                    </a:cubicBezTo>
                    <a:cubicBezTo>
                      <a:pt x="157" y="25"/>
                      <a:pt x="157" y="26"/>
                      <a:pt x="156" y="27"/>
                    </a:cubicBezTo>
                    <a:cubicBezTo>
                      <a:pt x="156" y="27"/>
                      <a:pt x="156" y="28"/>
                      <a:pt x="155" y="28"/>
                    </a:cubicBezTo>
                    <a:cubicBezTo>
                      <a:pt x="154" y="29"/>
                      <a:pt x="153" y="30"/>
                      <a:pt x="152" y="30"/>
                    </a:cubicBezTo>
                    <a:cubicBezTo>
                      <a:pt x="151" y="31"/>
                      <a:pt x="150" y="31"/>
                      <a:pt x="149" y="31"/>
                    </a:cubicBezTo>
                    <a:cubicBezTo>
                      <a:pt x="148" y="31"/>
                      <a:pt x="147" y="31"/>
                      <a:pt x="145" y="30"/>
                    </a:cubicBezTo>
                    <a:cubicBezTo>
                      <a:pt x="144" y="30"/>
                      <a:pt x="143" y="29"/>
                      <a:pt x="143" y="28"/>
                    </a:cubicBezTo>
                    <a:cubicBezTo>
                      <a:pt x="142" y="28"/>
                      <a:pt x="142" y="27"/>
                      <a:pt x="141" y="27"/>
                    </a:cubicBezTo>
                    <a:cubicBezTo>
                      <a:pt x="141" y="26"/>
                      <a:pt x="141" y="25"/>
                      <a:pt x="141" y="24"/>
                    </a:cubicBezTo>
                    <a:cubicBezTo>
                      <a:pt x="140" y="23"/>
                      <a:pt x="140" y="22"/>
                      <a:pt x="140" y="21"/>
                    </a:cubicBezTo>
                    <a:cubicBezTo>
                      <a:pt x="140" y="20"/>
                      <a:pt x="140" y="18"/>
                      <a:pt x="140" y="17"/>
                    </a:cubicBezTo>
                    <a:cubicBezTo>
                      <a:pt x="140" y="15"/>
                      <a:pt x="140" y="13"/>
                      <a:pt x="140" y="12"/>
                    </a:cubicBezTo>
                    <a:cubicBezTo>
                      <a:pt x="140" y="11"/>
                      <a:pt x="140" y="10"/>
                      <a:pt x="141" y="9"/>
                    </a:cubicBezTo>
                    <a:cubicBezTo>
                      <a:pt x="141" y="8"/>
                      <a:pt x="141" y="7"/>
                      <a:pt x="141" y="7"/>
                    </a:cubicBezTo>
                    <a:cubicBezTo>
                      <a:pt x="142" y="6"/>
                      <a:pt x="142" y="5"/>
                      <a:pt x="143" y="5"/>
                    </a:cubicBezTo>
                    <a:cubicBezTo>
                      <a:pt x="143" y="4"/>
                      <a:pt x="144" y="3"/>
                      <a:pt x="145" y="3"/>
                    </a:cubicBezTo>
                    <a:cubicBezTo>
                      <a:pt x="147" y="2"/>
                      <a:pt x="148" y="2"/>
                      <a:pt x="149" y="2"/>
                    </a:cubicBezTo>
                    <a:cubicBezTo>
                      <a:pt x="150" y="2"/>
                      <a:pt x="151" y="2"/>
                      <a:pt x="152" y="3"/>
                    </a:cubicBezTo>
                    <a:cubicBezTo>
                      <a:pt x="153" y="3"/>
                      <a:pt x="154" y="4"/>
                      <a:pt x="155" y="5"/>
                    </a:cubicBezTo>
                    <a:cubicBezTo>
                      <a:pt x="156" y="5"/>
                      <a:pt x="156" y="6"/>
                      <a:pt x="156" y="7"/>
                    </a:cubicBezTo>
                    <a:cubicBezTo>
                      <a:pt x="157" y="7"/>
                      <a:pt x="157" y="8"/>
                      <a:pt x="157" y="9"/>
                    </a:cubicBezTo>
                    <a:cubicBezTo>
                      <a:pt x="157" y="10"/>
                      <a:pt x="157" y="11"/>
                      <a:pt x="157" y="12"/>
                    </a:cubicBezTo>
                    <a:cubicBezTo>
                      <a:pt x="158" y="13"/>
                      <a:pt x="158" y="15"/>
                      <a:pt x="158" y="17"/>
                    </a:cubicBezTo>
                    <a:cubicBezTo>
                      <a:pt x="158" y="18"/>
                      <a:pt x="158" y="20"/>
                      <a:pt x="157" y="21"/>
                    </a:cubicBezTo>
                    <a:moveTo>
                      <a:pt x="160" y="12"/>
                    </a:moveTo>
                    <a:cubicBezTo>
                      <a:pt x="160" y="11"/>
                      <a:pt x="160" y="9"/>
                      <a:pt x="160" y="8"/>
                    </a:cubicBezTo>
                    <a:cubicBezTo>
                      <a:pt x="159" y="7"/>
                      <a:pt x="159" y="6"/>
                      <a:pt x="159" y="6"/>
                    </a:cubicBezTo>
                    <a:cubicBezTo>
                      <a:pt x="158" y="5"/>
                      <a:pt x="158" y="4"/>
                      <a:pt x="157" y="3"/>
                    </a:cubicBezTo>
                    <a:cubicBezTo>
                      <a:pt x="156" y="2"/>
                      <a:pt x="155" y="1"/>
                      <a:pt x="153" y="1"/>
                    </a:cubicBezTo>
                    <a:cubicBezTo>
                      <a:pt x="152" y="0"/>
                      <a:pt x="150" y="0"/>
                      <a:pt x="149" y="0"/>
                    </a:cubicBezTo>
                    <a:cubicBezTo>
                      <a:pt x="147" y="0"/>
                      <a:pt x="146" y="0"/>
                      <a:pt x="144" y="1"/>
                    </a:cubicBezTo>
                    <a:cubicBezTo>
                      <a:pt x="143" y="1"/>
                      <a:pt x="142" y="2"/>
                      <a:pt x="141" y="3"/>
                    </a:cubicBezTo>
                    <a:cubicBezTo>
                      <a:pt x="140" y="4"/>
                      <a:pt x="139" y="5"/>
                      <a:pt x="139" y="6"/>
                    </a:cubicBezTo>
                    <a:cubicBezTo>
                      <a:pt x="139" y="6"/>
                      <a:pt x="138" y="7"/>
                      <a:pt x="138" y="8"/>
                    </a:cubicBezTo>
                    <a:cubicBezTo>
                      <a:pt x="138" y="9"/>
                      <a:pt x="138" y="11"/>
                      <a:pt x="138" y="12"/>
                    </a:cubicBezTo>
                    <a:cubicBezTo>
                      <a:pt x="138" y="13"/>
                      <a:pt x="138" y="15"/>
                      <a:pt x="138" y="17"/>
                    </a:cubicBezTo>
                    <a:cubicBezTo>
                      <a:pt x="138" y="18"/>
                      <a:pt x="138" y="20"/>
                      <a:pt x="138" y="21"/>
                    </a:cubicBezTo>
                    <a:cubicBezTo>
                      <a:pt x="138" y="23"/>
                      <a:pt x="138" y="24"/>
                      <a:pt x="138" y="25"/>
                    </a:cubicBezTo>
                    <a:cubicBezTo>
                      <a:pt x="138" y="26"/>
                      <a:pt x="139" y="27"/>
                      <a:pt x="139" y="27"/>
                    </a:cubicBezTo>
                    <a:cubicBezTo>
                      <a:pt x="139" y="28"/>
                      <a:pt x="140" y="29"/>
                      <a:pt x="141" y="30"/>
                    </a:cubicBezTo>
                    <a:cubicBezTo>
                      <a:pt x="142" y="31"/>
                      <a:pt x="143" y="32"/>
                      <a:pt x="144" y="32"/>
                    </a:cubicBezTo>
                    <a:cubicBezTo>
                      <a:pt x="146" y="33"/>
                      <a:pt x="147" y="33"/>
                      <a:pt x="149" y="33"/>
                    </a:cubicBezTo>
                    <a:cubicBezTo>
                      <a:pt x="150" y="33"/>
                      <a:pt x="152" y="33"/>
                      <a:pt x="153" y="32"/>
                    </a:cubicBezTo>
                    <a:cubicBezTo>
                      <a:pt x="155" y="32"/>
                      <a:pt x="156" y="31"/>
                      <a:pt x="157" y="30"/>
                    </a:cubicBezTo>
                    <a:cubicBezTo>
                      <a:pt x="158" y="29"/>
                      <a:pt x="158" y="28"/>
                      <a:pt x="159" y="27"/>
                    </a:cubicBezTo>
                    <a:cubicBezTo>
                      <a:pt x="159" y="27"/>
                      <a:pt x="159" y="26"/>
                      <a:pt x="160" y="25"/>
                    </a:cubicBezTo>
                    <a:cubicBezTo>
                      <a:pt x="160" y="24"/>
                      <a:pt x="160" y="23"/>
                      <a:pt x="160" y="21"/>
                    </a:cubicBezTo>
                    <a:cubicBezTo>
                      <a:pt x="160" y="20"/>
                      <a:pt x="160" y="18"/>
                      <a:pt x="160" y="17"/>
                    </a:cubicBezTo>
                    <a:cubicBezTo>
                      <a:pt x="160" y="15"/>
                      <a:pt x="160" y="13"/>
                      <a:pt x="160" y="12"/>
                    </a:cubicBezTo>
                    <a:moveTo>
                      <a:pt x="124" y="0"/>
                    </a:move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33"/>
                      <a:pt x="122" y="33"/>
                      <a:pt x="122" y="33"/>
                    </a:cubicBezTo>
                    <a:cubicBezTo>
                      <a:pt x="124" y="33"/>
                      <a:pt x="124" y="33"/>
                      <a:pt x="124" y="33"/>
                    </a:cubicBezTo>
                    <a:lnTo>
                      <a:pt x="124" y="0"/>
                    </a:lnTo>
                    <a:close/>
                    <a:moveTo>
                      <a:pt x="109" y="21"/>
                    </a:moveTo>
                    <a:cubicBezTo>
                      <a:pt x="108" y="19"/>
                      <a:pt x="108" y="19"/>
                      <a:pt x="107" y="18"/>
                    </a:cubicBezTo>
                    <a:cubicBezTo>
                      <a:pt x="106" y="18"/>
                      <a:pt x="106" y="17"/>
                      <a:pt x="106" y="17"/>
                    </a:cubicBezTo>
                    <a:cubicBezTo>
                      <a:pt x="105" y="17"/>
                      <a:pt x="105" y="17"/>
                      <a:pt x="105" y="16"/>
                    </a:cubicBezTo>
                    <a:cubicBezTo>
                      <a:pt x="104" y="16"/>
                      <a:pt x="104" y="16"/>
                      <a:pt x="103" y="16"/>
                    </a:cubicBezTo>
                    <a:cubicBezTo>
                      <a:pt x="102" y="16"/>
                      <a:pt x="102" y="16"/>
                      <a:pt x="101" y="16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7" y="15"/>
                      <a:pt x="96" y="15"/>
                      <a:pt x="95" y="14"/>
                    </a:cubicBezTo>
                    <a:cubicBezTo>
                      <a:pt x="94" y="14"/>
                      <a:pt x="93" y="14"/>
                      <a:pt x="93" y="13"/>
                    </a:cubicBezTo>
                    <a:cubicBezTo>
                      <a:pt x="91" y="12"/>
                      <a:pt x="91" y="11"/>
                      <a:pt x="91" y="9"/>
                    </a:cubicBezTo>
                    <a:cubicBezTo>
                      <a:pt x="91" y="7"/>
                      <a:pt x="92" y="5"/>
                      <a:pt x="93" y="4"/>
                    </a:cubicBezTo>
                    <a:cubicBezTo>
                      <a:pt x="94" y="3"/>
                      <a:pt x="96" y="2"/>
                      <a:pt x="98" y="2"/>
                    </a:cubicBezTo>
                    <a:cubicBezTo>
                      <a:pt x="99" y="2"/>
                      <a:pt x="100" y="2"/>
                      <a:pt x="101" y="2"/>
                    </a:cubicBezTo>
                    <a:cubicBezTo>
                      <a:pt x="102" y="3"/>
                      <a:pt x="103" y="3"/>
                      <a:pt x="103" y="3"/>
                    </a:cubicBezTo>
                    <a:cubicBezTo>
                      <a:pt x="104" y="3"/>
                      <a:pt x="104" y="4"/>
                      <a:pt x="105" y="4"/>
                    </a:cubicBezTo>
                    <a:cubicBezTo>
                      <a:pt x="105" y="4"/>
                      <a:pt x="106" y="5"/>
                      <a:pt x="106" y="5"/>
                    </a:cubicBezTo>
                    <a:cubicBezTo>
                      <a:pt x="108" y="4"/>
                      <a:pt x="108" y="4"/>
                      <a:pt x="108" y="4"/>
                    </a:cubicBezTo>
                    <a:cubicBezTo>
                      <a:pt x="107" y="2"/>
                      <a:pt x="105" y="1"/>
                      <a:pt x="104" y="1"/>
                    </a:cubicBezTo>
                    <a:cubicBezTo>
                      <a:pt x="102" y="0"/>
                      <a:pt x="101" y="0"/>
                      <a:pt x="99" y="0"/>
                    </a:cubicBezTo>
                    <a:cubicBezTo>
                      <a:pt x="95" y="0"/>
                      <a:pt x="93" y="1"/>
                      <a:pt x="91" y="2"/>
                    </a:cubicBezTo>
                    <a:cubicBezTo>
                      <a:pt x="89" y="4"/>
                      <a:pt x="89" y="6"/>
                      <a:pt x="89" y="9"/>
                    </a:cubicBezTo>
                    <a:cubicBezTo>
                      <a:pt x="89" y="11"/>
                      <a:pt x="89" y="13"/>
                      <a:pt x="91" y="15"/>
                    </a:cubicBezTo>
                    <a:cubicBezTo>
                      <a:pt x="92" y="16"/>
                      <a:pt x="94" y="17"/>
                      <a:pt x="97" y="17"/>
                    </a:cubicBezTo>
                    <a:cubicBezTo>
                      <a:pt x="101" y="18"/>
                      <a:pt x="101" y="18"/>
                      <a:pt x="101" y="18"/>
                    </a:cubicBezTo>
                    <a:cubicBezTo>
                      <a:pt x="101" y="18"/>
                      <a:pt x="102" y="18"/>
                      <a:pt x="102" y="18"/>
                    </a:cubicBezTo>
                    <a:cubicBezTo>
                      <a:pt x="103" y="18"/>
                      <a:pt x="103" y="18"/>
                      <a:pt x="104" y="19"/>
                    </a:cubicBezTo>
                    <a:cubicBezTo>
                      <a:pt x="104" y="19"/>
                      <a:pt x="104" y="19"/>
                      <a:pt x="105" y="19"/>
                    </a:cubicBezTo>
                    <a:cubicBezTo>
                      <a:pt x="105" y="19"/>
                      <a:pt x="105" y="19"/>
                      <a:pt x="105" y="20"/>
                    </a:cubicBezTo>
                    <a:cubicBezTo>
                      <a:pt x="107" y="21"/>
                      <a:pt x="107" y="22"/>
                      <a:pt x="107" y="24"/>
                    </a:cubicBezTo>
                    <a:cubicBezTo>
                      <a:pt x="107" y="26"/>
                      <a:pt x="106" y="28"/>
                      <a:pt x="105" y="29"/>
                    </a:cubicBezTo>
                    <a:cubicBezTo>
                      <a:pt x="103" y="30"/>
                      <a:pt x="101" y="31"/>
                      <a:pt x="99" y="31"/>
                    </a:cubicBezTo>
                    <a:cubicBezTo>
                      <a:pt x="98" y="31"/>
                      <a:pt x="97" y="31"/>
                      <a:pt x="96" y="31"/>
                    </a:cubicBezTo>
                    <a:cubicBezTo>
                      <a:pt x="95" y="31"/>
                      <a:pt x="95" y="30"/>
                      <a:pt x="94" y="30"/>
                    </a:cubicBezTo>
                    <a:cubicBezTo>
                      <a:pt x="93" y="30"/>
                      <a:pt x="92" y="29"/>
                      <a:pt x="92" y="29"/>
                    </a:cubicBezTo>
                    <a:cubicBezTo>
                      <a:pt x="91" y="28"/>
                      <a:pt x="90" y="28"/>
                      <a:pt x="90" y="27"/>
                    </a:cubicBezTo>
                    <a:cubicBezTo>
                      <a:pt x="88" y="29"/>
                      <a:pt x="88" y="29"/>
                      <a:pt x="88" y="29"/>
                    </a:cubicBezTo>
                    <a:cubicBezTo>
                      <a:pt x="89" y="30"/>
                      <a:pt x="89" y="30"/>
                      <a:pt x="90" y="31"/>
                    </a:cubicBezTo>
                    <a:cubicBezTo>
                      <a:pt x="91" y="31"/>
                      <a:pt x="92" y="32"/>
                      <a:pt x="93" y="32"/>
                    </a:cubicBezTo>
                    <a:cubicBezTo>
                      <a:pt x="93" y="32"/>
                      <a:pt x="94" y="33"/>
                      <a:pt x="95" y="33"/>
                    </a:cubicBezTo>
                    <a:cubicBezTo>
                      <a:pt x="96" y="33"/>
                      <a:pt x="97" y="33"/>
                      <a:pt x="99" y="33"/>
                    </a:cubicBezTo>
                    <a:cubicBezTo>
                      <a:pt x="102" y="33"/>
                      <a:pt x="105" y="32"/>
                      <a:pt x="107" y="31"/>
                    </a:cubicBezTo>
                    <a:cubicBezTo>
                      <a:pt x="109" y="29"/>
                      <a:pt x="110" y="27"/>
                      <a:pt x="110" y="24"/>
                    </a:cubicBezTo>
                    <a:cubicBezTo>
                      <a:pt x="110" y="23"/>
                      <a:pt x="109" y="22"/>
                      <a:pt x="109" y="21"/>
                    </a:cubicBezTo>
                    <a:moveTo>
                      <a:pt x="78" y="21"/>
                    </a:moveTo>
                    <a:cubicBezTo>
                      <a:pt x="77" y="19"/>
                      <a:pt x="77" y="19"/>
                      <a:pt x="76" y="18"/>
                    </a:cubicBezTo>
                    <a:cubicBezTo>
                      <a:pt x="75" y="18"/>
                      <a:pt x="75" y="17"/>
                      <a:pt x="75" y="17"/>
                    </a:cubicBezTo>
                    <a:cubicBezTo>
                      <a:pt x="74" y="17"/>
                      <a:pt x="74" y="17"/>
                      <a:pt x="73" y="16"/>
                    </a:cubicBezTo>
                    <a:cubicBezTo>
                      <a:pt x="73" y="16"/>
                      <a:pt x="72" y="16"/>
                      <a:pt x="72" y="16"/>
                    </a:cubicBezTo>
                    <a:cubicBezTo>
                      <a:pt x="71" y="16"/>
                      <a:pt x="71" y="16"/>
                      <a:pt x="70" y="16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5" y="15"/>
                      <a:pt x="65" y="15"/>
                      <a:pt x="64" y="14"/>
                    </a:cubicBezTo>
                    <a:cubicBezTo>
                      <a:pt x="63" y="14"/>
                      <a:pt x="62" y="14"/>
                      <a:pt x="62" y="13"/>
                    </a:cubicBezTo>
                    <a:cubicBezTo>
                      <a:pt x="60" y="12"/>
                      <a:pt x="60" y="11"/>
                      <a:pt x="60" y="9"/>
                    </a:cubicBezTo>
                    <a:cubicBezTo>
                      <a:pt x="60" y="7"/>
                      <a:pt x="61" y="5"/>
                      <a:pt x="62" y="4"/>
                    </a:cubicBezTo>
                    <a:cubicBezTo>
                      <a:pt x="63" y="3"/>
                      <a:pt x="65" y="2"/>
                      <a:pt x="67" y="2"/>
                    </a:cubicBezTo>
                    <a:cubicBezTo>
                      <a:pt x="68" y="2"/>
                      <a:pt x="69" y="2"/>
                      <a:pt x="70" y="2"/>
                    </a:cubicBezTo>
                    <a:cubicBezTo>
                      <a:pt x="71" y="3"/>
                      <a:pt x="71" y="3"/>
                      <a:pt x="72" y="3"/>
                    </a:cubicBezTo>
                    <a:cubicBezTo>
                      <a:pt x="73" y="3"/>
                      <a:pt x="73" y="4"/>
                      <a:pt x="74" y="4"/>
                    </a:cubicBezTo>
                    <a:cubicBezTo>
                      <a:pt x="74" y="4"/>
                      <a:pt x="75" y="5"/>
                      <a:pt x="75" y="5"/>
                    </a:cubicBezTo>
                    <a:cubicBezTo>
                      <a:pt x="77" y="4"/>
                      <a:pt x="77" y="4"/>
                      <a:pt x="77" y="4"/>
                    </a:cubicBezTo>
                    <a:cubicBezTo>
                      <a:pt x="75" y="2"/>
                      <a:pt x="74" y="1"/>
                      <a:pt x="73" y="1"/>
                    </a:cubicBezTo>
                    <a:cubicBezTo>
                      <a:pt x="71" y="0"/>
                      <a:pt x="70" y="0"/>
                      <a:pt x="68" y="0"/>
                    </a:cubicBezTo>
                    <a:cubicBezTo>
                      <a:pt x="64" y="0"/>
                      <a:pt x="62" y="1"/>
                      <a:pt x="60" y="2"/>
                    </a:cubicBezTo>
                    <a:cubicBezTo>
                      <a:pt x="58" y="4"/>
                      <a:pt x="57" y="6"/>
                      <a:pt x="57" y="9"/>
                    </a:cubicBezTo>
                    <a:cubicBezTo>
                      <a:pt x="57" y="11"/>
                      <a:pt x="58" y="13"/>
                      <a:pt x="60" y="15"/>
                    </a:cubicBezTo>
                    <a:cubicBezTo>
                      <a:pt x="61" y="16"/>
                      <a:pt x="63" y="17"/>
                      <a:pt x="66" y="17"/>
                    </a:cubicBezTo>
                    <a:cubicBezTo>
                      <a:pt x="70" y="18"/>
                      <a:pt x="70" y="18"/>
                      <a:pt x="70" y="18"/>
                    </a:cubicBezTo>
                    <a:cubicBezTo>
                      <a:pt x="70" y="18"/>
                      <a:pt x="71" y="18"/>
                      <a:pt x="71" y="18"/>
                    </a:cubicBezTo>
                    <a:cubicBezTo>
                      <a:pt x="72" y="18"/>
                      <a:pt x="72" y="18"/>
                      <a:pt x="73" y="19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4" y="19"/>
                      <a:pt x="74" y="19"/>
                      <a:pt x="74" y="20"/>
                    </a:cubicBezTo>
                    <a:cubicBezTo>
                      <a:pt x="76" y="21"/>
                      <a:pt x="76" y="22"/>
                      <a:pt x="76" y="24"/>
                    </a:cubicBezTo>
                    <a:cubicBezTo>
                      <a:pt x="76" y="26"/>
                      <a:pt x="75" y="28"/>
                      <a:pt x="74" y="29"/>
                    </a:cubicBezTo>
                    <a:cubicBezTo>
                      <a:pt x="72" y="30"/>
                      <a:pt x="70" y="31"/>
                      <a:pt x="68" y="31"/>
                    </a:cubicBezTo>
                    <a:cubicBezTo>
                      <a:pt x="67" y="31"/>
                      <a:pt x="66" y="31"/>
                      <a:pt x="65" y="31"/>
                    </a:cubicBezTo>
                    <a:cubicBezTo>
                      <a:pt x="64" y="31"/>
                      <a:pt x="63" y="30"/>
                      <a:pt x="63" y="30"/>
                    </a:cubicBezTo>
                    <a:cubicBezTo>
                      <a:pt x="62" y="30"/>
                      <a:pt x="61" y="29"/>
                      <a:pt x="61" y="29"/>
                    </a:cubicBezTo>
                    <a:cubicBezTo>
                      <a:pt x="60" y="28"/>
                      <a:pt x="59" y="28"/>
                      <a:pt x="58" y="27"/>
                    </a:cubicBezTo>
                    <a:cubicBezTo>
                      <a:pt x="57" y="29"/>
                      <a:pt x="57" y="29"/>
                      <a:pt x="57" y="29"/>
                    </a:cubicBezTo>
                    <a:cubicBezTo>
                      <a:pt x="57" y="30"/>
                      <a:pt x="58" y="30"/>
                      <a:pt x="59" y="31"/>
                    </a:cubicBezTo>
                    <a:cubicBezTo>
                      <a:pt x="60" y="31"/>
                      <a:pt x="61" y="32"/>
                      <a:pt x="61" y="32"/>
                    </a:cubicBezTo>
                    <a:cubicBezTo>
                      <a:pt x="62" y="32"/>
                      <a:pt x="63" y="33"/>
                      <a:pt x="64" y="33"/>
                    </a:cubicBezTo>
                    <a:cubicBezTo>
                      <a:pt x="65" y="33"/>
                      <a:pt x="66" y="33"/>
                      <a:pt x="68" y="33"/>
                    </a:cubicBezTo>
                    <a:cubicBezTo>
                      <a:pt x="71" y="33"/>
                      <a:pt x="74" y="32"/>
                      <a:pt x="76" y="31"/>
                    </a:cubicBezTo>
                    <a:cubicBezTo>
                      <a:pt x="78" y="29"/>
                      <a:pt x="79" y="27"/>
                      <a:pt x="79" y="24"/>
                    </a:cubicBezTo>
                    <a:cubicBezTo>
                      <a:pt x="79" y="23"/>
                      <a:pt x="78" y="22"/>
                      <a:pt x="78" y="21"/>
                    </a:cubicBezTo>
                    <a:moveTo>
                      <a:pt x="45" y="0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42" y="33"/>
                      <a:pt x="42" y="33"/>
                      <a:pt x="42" y="33"/>
                    </a:cubicBezTo>
                    <a:cubicBezTo>
                      <a:pt x="45" y="33"/>
                      <a:pt x="45" y="33"/>
                      <a:pt x="45" y="33"/>
                    </a:cubicBezTo>
                    <a:lnTo>
                      <a:pt x="45" y="0"/>
                    </a:lnTo>
                    <a:close/>
                    <a:moveTo>
                      <a:pt x="28" y="33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" y="33"/>
                      <a:pt x="3" y="33"/>
                      <a:pt x="3" y="33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5" y="28"/>
                      <a:pt x="15" y="28"/>
                      <a:pt x="15" y="28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5" y="33"/>
                      <a:pt x="25" y="33"/>
                      <a:pt x="25" y="33"/>
                    </a:cubicBezTo>
                    <a:lnTo>
                      <a:pt x="28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49" name="Rectangle 185"/>
              <p:cNvSpPr>
                <a:spLocks noChangeArrowheads="1"/>
              </p:cNvSpPr>
              <p:nvPr/>
            </p:nvSpPr>
            <p:spPr bwMode="auto">
              <a:xfrm>
                <a:off x="1928" y="189"/>
                <a:ext cx="37" cy="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50" name="Rectangle 186"/>
              <p:cNvSpPr>
                <a:spLocks noChangeArrowheads="1"/>
              </p:cNvSpPr>
              <p:nvPr/>
            </p:nvSpPr>
            <p:spPr bwMode="auto">
              <a:xfrm>
                <a:off x="1928" y="248"/>
                <a:ext cx="37" cy="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51" name="Rectangle 187"/>
              <p:cNvSpPr>
                <a:spLocks noChangeArrowheads="1"/>
              </p:cNvSpPr>
              <p:nvPr/>
            </p:nvSpPr>
            <p:spPr bwMode="auto">
              <a:xfrm>
                <a:off x="1928" y="294"/>
                <a:ext cx="37" cy="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8" name="Rectangle 188"/>
              <p:cNvSpPr>
                <a:spLocks noChangeArrowheads="1"/>
              </p:cNvSpPr>
              <p:nvPr/>
            </p:nvSpPr>
            <p:spPr bwMode="auto">
              <a:xfrm>
                <a:off x="1928" y="339"/>
                <a:ext cx="37" cy="37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44" name="TextBox 343"/>
          <p:cNvSpPr txBox="1"/>
          <p:nvPr/>
        </p:nvSpPr>
        <p:spPr>
          <a:xfrm>
            <a:off x="-1" y="4471280"/>
            <a:ext cx="12192001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3200" dirty="0">
                <a:solidFill>
                  <a:srgbClr val="002060"/>
                </a:solidFill>
              </a:rPr>
              <a:t>Avni Gupta</a:t>
            </a:r>
          </a:p>
          <a:p>
            <a:pPr algn="ctr"/>
            <a:r>
              <a:rPr lang="en-IN" sz="2000" dirty="0">
                <a:solidFill>
                  <a:srgbClr val="002060"/>
                </a:solidFill>
              </a:rPr>
              <a:t>Deputy Director (Smart Cities Mission)</a:t>
            </a:r>
          </a:p>
          <a:p>
            <a:pPr algn="ctr"/>
            <a:r>
              <a:rPr lang="en-IN" sz="2000" dirty="0">
                <a:solidFill>
                  <a:srgbClr val="002060"/>
                </a:solidFill>
              </a:rPr>
              <a:t>Ministry of Housing &amp; Urban Affairs</a:t>
            </a:r>
          </a:p>
          <a:p>
            <a:pPr algn="ctr"/>
            <a:r>
              <a:rPr lang="en-IN" sz="2000" dirty="0">
                <a:solidFill>
                  <a:srgbClr val="002060"/>
                </a:solidFill>
              </a:rPr>
              <a:t>Government of India</a:t>
            </a:r>
          </a:p>
        </p:txBody>
      </p:sp>
      <p:grpSp>
        <p:nvGrpSpPr>
          <p:cNvPr id="673" name="Group 672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1106" name="Rectangle 1105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67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8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9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0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1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2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3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4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5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6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7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8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9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0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1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2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3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4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5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6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7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8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9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0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1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2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3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4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5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6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7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8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9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0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1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2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3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4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5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6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7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8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9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0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1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2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3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4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5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6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7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8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9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0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1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2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3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4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5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6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7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8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9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0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1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2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3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4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5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6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7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8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9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0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1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2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3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4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5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6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7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8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9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0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1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2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3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4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5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6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7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8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9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0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1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2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3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4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5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6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7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8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9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0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1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2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3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4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5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6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7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8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9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0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1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2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3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4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5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6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7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8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9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2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5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6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7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8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9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0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1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2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3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4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5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6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7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8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9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0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1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2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3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4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5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7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1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2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3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6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7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9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0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1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2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3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4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5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0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1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3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4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6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8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9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0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8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672" name="Group 671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470" name="Group 1469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701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437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1469" name="Group 1468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1424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25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38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39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0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1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2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3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4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5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6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7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8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49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0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1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2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3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4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5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6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7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8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59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60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61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62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63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64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65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1466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467" name="Group 1466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349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50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51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2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3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4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5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6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7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8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59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0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1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2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3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4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5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6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7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6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7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8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19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7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8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09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0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1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2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3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4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5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6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7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8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19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0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1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2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3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4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5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6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7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8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29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0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1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2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3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4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5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6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7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8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39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0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1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2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3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4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5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6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7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8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49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0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1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2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3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4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5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6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7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8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59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0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1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2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3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4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5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266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2" name="TextBox 1"/>
          <p:cNvSpPr txBox="1"/>
          <p:nvPr/>
        </p:nvSpPr>
        <p:spPr>
          <a:xfrm>
            <a:off x="0" y="1700383"/>
            <a:ext cx="12192000" cy="187743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2000" i="1" dirty="0">
                <a:solidFill>
                  <a:schemeClr val="tx2">
                    <a:lumMod val="50000"/>
                  </a:schemeClr>
                </a:solidFill>
              </a:rPr>
              <a:t>Workshop on </a:t>
            </a:r>
          </a:p>
          <a:p>
            <a:pPr algn="ctr"/>
            <a:r>
              <a:rPr lang="en-IN" sz="3200" dirty="0">
                <a:solidFill>
                  <a:schemeClr val="tx2">
                    <a:lumMod val="50000"/>
                  </a:schemeClr>
                </a:solidFill>
              </a:rPr>
              <a:t>Smart and Sustainable Cities: </a:t>
            </a:r>
          </a:p>
          <a:p>
            <a:pPr algn="ctr"/>
            <a:r>
              <a:rPr lang="en-IN" sz="3200" dirty="0">
                <a:solidFill>
                  <a:schemeClr val="tx2">
                    <a:lumMod val="50000"/>
                  </a:schemeClr>
                </a:solidFill>
              </a:rPr>
              <a:t>Leveraging Technology for Smart, Safe and</a:t>
            </a:r>
          </a:p>
          <a:p>
            <a:pPr algn="ctr"/>
            <a:r>
              <a:rPr lang="en-IN" sz="3200" dirty="0">
                <a:solidFill>
                  <a:schemeClr val="tx2">
                    <a:lumMod val="50000"/>
                  </a:schemeClr>
                </a:solidFill>
              </a:rPr>
              <a:t> Sustainable Buildings and Cities.</a:t>
            </a:r>
          </a:p>
        </p:txBody>
      </p:sp>
    </p:spTree>
    <p:extLst>
      <p:ext uri="{BB962C8B-B14F-4D97-AF65-F5344CB8AC3E}">
        <p14:creationId xmlns:p14="http://schemas.microsoft.com/office/powerpoint/2010/main" val="52599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027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444" y="224445"/>
            <a:ext cx="11063112" cy="707319"/>
          </a:xfrm>
        </p:spPr>
        <p:txBody>
          <a:bodyPr/>
          <a:lstStyle/>
          <a:p>
            <a:r>
              <a:rPr lang="en-US" dirty="0"/>
              <a:t>Mission Achieves Important Milestones</a:t>
            </a:r>
            <a:endParaRPr lang="en-GB" dirty="0"/>
          </a:p>
        </p:txBody>
      </p:sp>
      <p:grpSp>
        <p:nvGrpSpPr>
          <p:cNvPr id="7" name="Group 5"/>
          <p:cNvGrpSpPr>
            <a:grpSpLocks noChangeAspect="1"/>
          </p:cNvGrpSpPr>
          <p:nvPr/>
        </p:nvGrpSpPr>
        <p:grpSpPr bwMode="auto">
          <a:xfrm>
            <a:off x="576416" y="1396811"/>
            <a:ext cx="6252087" cy="684211"/>
            <a:chOff x="2472" y="1948"/>
            <a:chExt cx="2738" cy="421"/>
          </a:xfrm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472" y="1948"/>
              <a:ext cx="2738" cy="421"/>
            </a:xfrm>
            <a:custGeom>
              <a:avLst/>
              <a:gdLst>
                <a:gd name="T0" fmla="*/ 1068 w 1156"/>
                <a:gd name="T1" fmla="*/ 175 h 175"/>
                <a:gd name="T2" fmla="*/ 87 w 1156"/>
                <a:gd name="T3" fmla="*/ 175 h 175"/>
                <a:gd name="T4" fmla="*/ 0 w 1156"/>
                <a:gd name="T5" fmla="*/ 88 h 175"/>
                <a:gd name="T6" fmla="*/ 0 w 1156"/>
                <a:gd name="T7" fmla="*/ 88 h 175"/>
                <a:gd name="T8" fmla="*/ 87 w 1156"/>
                <a:gd name="T9" fmla="*/ 0 h 175"/>
                <a:gd name="T10" fmla="*/ 1068 w 1156"/>
                <a:gd name="T11" fmla="*/ 0 h 175"/>
                <a:gd name="T12" fmla="*/ 1156 w 1156"/>
                <a:gd name="T13" fmla="*/ 88 h 175"/>
                <a:gd name="T14" fmla="*/ 1156 w 1156"/>
                <a:gd name="T15" fmla="*/ 88 h 175"/>
                <a:gd name="T16" fmla="*/ 1068 w 1156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6" h="175">
                  <a:moveTo>
                    <a:pt x="1068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068" y="0"/>
                    <a:pt x="1068" y="0"/>
                    <a:pt x="1068" y="0"/>
                  </a:cubicBezTo>
                  <a:cubicBezTo>
                    <a:pt x="1117" y="0"/>
                    <a:pt x="1156" y="39"/>
                    <a:pt x="1156" y="88"/>
                  </a:cubicBezTo>
                  <a:cubicBezTo>
                    <a:pt x="1156" y="88"/>
                    <a:pt x="1156" y="88"/>
                    <a:pt x="1156" y="88"/>
                  </a:cubicBezTo>
                  <a:cubicBezTo>
                    <a:pt x="1156" y="136"/>
                    <a:pt x="1117" y="175"/>
                    <a:pt x="1068" y="175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286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4000" dirty="0">
                  <a:solidFill>
                    <a:srgbClr val="6000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100</a:t>
              </a:r>
              <a:endParaRPr lang="en-GB" sz="4000" dirty="0">
                <a:solidFill>
                  <a:srgbClr val="600000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008" y="1948"/>
              <a:ext cx="2202" cy="421"/>
            </a:xfrm>
            <a:custGeom>
              <a:avLst/>
              <a:gdLst>
                <a:gd name="T0" fmla="*/ 840 w 928"/>
                <a:gd name="T1" fmla="*/ 175 h 175"/>
                <a:gd name="T2" fmla="*/ 87 w 928"/>
                <a:gd name="T3" fmla="*/ 175 h 175"/>
                <a:gd name="T4" fmla="*/ 0 w 928"/>
                <a:gd name="T5" fmla="*/ 88 h 175"/>
                <a:gd name="T6" fmla="*/ 0 w 928"/>
                <a:gd name="T7" fmla="*/ 88 h 175"/>
                <a:gd name="T8" fmla="*/ 87 w 928"/>
                <a:gd name="T9" fmla="*/ 0 h 175"/>
                <a:gd name="T10" fmla="*/ 840 w 928"/>
                <a:gd name="T11" fmla="*/ 0 h 175"/>
                <a:gd name="T12" fmla="*/ 928 w 928"/>
                <a:gd name="T13" fmla="*/ 88 h 175"/>
                <a:gd name="T14" fmla="*/ 928 w 928"/>
                <a:gd name="T15" fmla="*/ 88 h 175"/>
                <a:gd name="T16" fmla="*/ 840 w 928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75">
                  <a:moveTo>
                    <a:pt x="840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89" y="0"/>
                    <a:pt x="928" y="39"/>
                    <a:pt x="928" y="88"/>
                  </a:cubicBezTo>
                  <a:cubicBezTo>
                    <a:pt x="928" y="88"/>
                    <a:pt x="928" y="88"/>
                    <a:pt x="928" y="88"/>
                  </a:cubicBezTo>
                  <a:cubicBezTo>
                    <a:pt x="928" y="136"/>
                    <a:pt x="889" y="175"/>
                    <a:pt x="840" y="175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cities selected</a:t>
              </a:r>
              <a:endParaRPr lang="en-GB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endParaRPr>
            </a:p>
          </p:txBody>
        </p:sp>
      </p:grpSp>
      <p:grpSp>
        <p:nvGrpSpPr>
          <p:cNvPr id="13" name="Group 5"/>
          <p:cNvGrpSpPr>
            <a:grpSpLocks noChangeAspect="1"/>
          </p:cNvGrpSpPr>
          <p:nvPr/>
        </p:nvGrpSpPr>
        <p:grpSpPr bwMode="auto">
          <a:xfrm>
            <a:off x="576416" y="3036193"/>
            <a:ext cx="6252087" cy="684211"/>
            <a:chOff x="2472" y="1948"/>
            <a:chExt cx="2738" cy="421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2472" y="1948"/>
              <a:ext cx="2738" cy="421"/>
            </a:xfrm>
            <a:custGeom>
              <a:avLst/>
              <a:gdLst>
                <a:gd name="T0" fmla="*/ 1068 w 1156"/>
                <a:gd name="T1" fmla="*/ 175 h 175"/>
                <a:gd name="T2" fmla="*/ 87 w 1156"/>
                <a:gd name="T3" fmla="*/ 175 h 175"/>
                <a:gd name="T4" fmla="*/ 0 w 1156"/>
                <a:gd name="T5" fmla="*/ 88 h 175"/>
                <a:gd name="T6" fmla="*/ 0 w 1156"/>
                <a:gd name="T7" fmla="*/ 88 h 175"/>
                <a:gd name="T8" fmla="*/ 87 w 1156"/>
                <a:gd name="T9" fmla="*/ 0 h 175"/>
                <a:gd name="T10" fmla="*/ 1068 w 1156"/>
                <a:gd name="T11" fmla="*/ 0 h 175"/>
                <a:gd name="T12" fmla="*/ 1156 w 1156"/>
                <a:gd name="T13" fmla="*/ 88 h 175"/>
                <a:gd name="T14" fmla="*/ 1156 w 1156"/>
                <a:gd name="T15" fmla="*/ 88 h 175"/>
                <a:gd name="T16" fmla="*/ 1068 w 1156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6" h="175">
                  <a:moveTo>
                    <a:pt x="1068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068" y="0"/>
                    <a:pt x="1068" y="0"/>
                    <a:pt x="1068" y="0"/>
                  </a:cubicBezTo>
                  <a:cubicBezTo>
                    <a:pt x="1117" y="0"/>
                    <a:pt x="1156" y="39"/>
                    <a:pt x="1156" y="88"/>
                  </a:cubicBezTo>
                  <a:cubicBezTo>
                    <a:pt x="1156" y="88"/>
                    <a:pt x="1156" y="88"/>
                    <a:pt x="1156" y="88"/>
                  </a:cubicBezTo>
                  <a:cubicBezTo>
                    <a:pt x="1156" y="136"/>
                    <a:pt x="1117" y="175"/>
                    <a:pt x="1068" y="175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286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4000" dirty="0">
                  <a:solidFill>
                    <a:srgbClr val="6000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100</a:t>
              </a:r>
              <a:endParaRPr lang="en-GB" sz="4000" dirty="0">
                <a:solidFill>
                  <a:srgbClr val="600000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008" y="1948"/>
              <a:ext cx="2202" cy="421"/>
            </a:xfrm>
            <a:custGeom>
              <a:avLst/>
              <a:gdLst>
                <a:gd name="T0" fmla="*/ 840 w 928"/>
                <a:gd name="T1" fmla="*/ 175 h 175"/>
                <a:gd name="T2" fmla="*/ 87 w 928"/>
                <a:gd name="T3" fmla="*/ 175 h 175"/>
                <a:gd name="T4" fmla="*/ 0 w 928"/>
                <a:gd name="T5" fmla="*/ 88 h 175"/>
                <a:gd name="T6" fmla="*/ 0 w 928"/>
                <a:gd name="T7" fmla="*/ 88 h 175"/>
                <a:gd name="T8" fmla="*/ 87 w 928"/>
                <a:gd name="T9" fmla="*/ 0 h 175"/>
                <a:gd name="T10" fmla="*/ 840 w 928"/>
                <a:gd name="T11" fmla="*/ 0 h 175"/>
                <a:gd name="T12" fmla="*/ 928 w 928"/>
                <a:gd name="T13" fmla="*/ 88 h 175"/>
                <a:gd name="T14" fmla="*/ 928 w 928"/>
                <a:gd name="T15" fmla="*/ 88 h 175"/>
                <a:gd name="T16" fmla="*/ 840 w 928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75">
                  <a:moveTo>
                    <a:pt x="840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89" y="0"/>
                    <a:pt x="928" y="39"/>
                    <a:pt x="928" y="88"/>
                  </a:cubicBezTo>
                  <a:cubicBezTo>
                    <a:pt x="928" y="88"/>
                    <a:pt x="928" y="88"/>
                    <a:pt x="928" y="88"/>
                  </a:cubicBezTo>
                  <a:cubicBezTo>
                    <a:pt x="928" y="136"/>
                    <a:pt x="889" y="175"/>
                    <a:pt x="840" y="175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City Level Advisory  Forums (CLAFs) Constituted</a:t>
              </a:r>
            </a:p>
          </p:txBody>
        </p:sp>
      </p:grpSp>
      <p:grpSp>
        <p:nvGrpSpPr>
          <p:cNvPr id="16" name="Group 5"/>
          <p:cNvGrpSpPr>
            <a:grpSpLocks noChangeAspect="1"/>
          </p:cNvGrpSpPr>
          <p:nvPr/>
        </p:nvGrpSpPr>
        <p:grpSpPr bwMode="auto">
          <a:xfrm>
            <a:off x="576416" y="4548962"/>
            <a:ext cx="6252087" cy="684211"/>
            <a:chOff x="2472" y="1948"/>
            <a:chExt cx="2738" cy="421"/>
          </a:xfrm>
        </p:grpSpPr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2472" y="1948"/>
              <a:ext cx="2738" cy="421"/>
            </a:xfrm>
            <a:custGeom>
              <a:avLst/>
              <a:gdLst>
                <a:gd name="T0" fmla="*/ 1068 w 1156"/>
                <a:gd name="T1" fmla="*/ 175 h 175"/>
                <a:gd name="T2" fmla="*/ 87 w 1156"/>
                <a:gd name="T3" fmla="*/ 175 h 175"/>
                <a:gd name="T4" fmla="*/ 0 w 1156"/>
                <a:gd name="T5" fmla="*/ 88 h 175"/>
                <a:gd name="T6" fmla="*/ 0 w 1156"/>
                <a:gd name="T7" fmla="*/ 88 h 175"/>
                <a:gd name="T8" fmla="*/ 87 w 1156"/>
                <a:gd name="T9" fmla="*/ 0 h 175"/>
                <a:gd name="T10" fmla="*/ 1068 w 1156"/>
                <a:gd name="T11" fmla="*/ 0 h 175"/>
                <a:gd name="T12" fmla="*/ 1156 w 1156"/>
                <a:gd name="T13" fmla="*/ 88 h 175"/>
                <a:gd name="T14" fmla="*/ 1156 w 1156"/>
                <a:gd name="T15" fmla="*/ 88 h 175"/>
                <a:gd name="T16" fmla="*/ 1068 w 1156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6" h="175">
                  <a:moveTo>
                    <a:pt x="1068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068" y="0"/>
                    <a:pt x="1068" y="0"/>
                    <a:pt x="1068" y="0"/>
                  </a:cubicBezTo>
                  <a:cubicBezTo>
                    <a:pt x="1117" y="0"/>
                    <a:pt x="1156" y="39"/>
                    <a:pt x="1156" y="88"/>
                  </a:cubicBezTo>
                  <a:cubicBezTo>
                    <a:pt x="1156" y="88"/>
                    <a:pt x="1156" y="88"/>
                    <a:pt x="1156" y="88"/>
                  </a:cubicBezTo>
                  <a:cubicBezTo>
                    <a:pt x="1156" y="136"/>
                    <a:pt x="1117" y="175"/>
                    <a:pt x="1068" y="175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286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4000" dirty="0">
                  <a:solidFill>
                    <a:srgbClr val="6000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100 +</a:t>
              </a:r>
              <a:endParaRPr lang="en-GB" sz="4000" dirty="0">
                <a:solidFill>
                  <a:srgbClr val="600000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3145" y="1948"/>
              <a:ext cx="2065" cy="421"/>
            </a:xfrm>
            <a:custGeom>
              <a:avLst/>
              <a:gdLst>
                <a:gd name="T0" fmla="*/ 840 w 928"/>
                <a:gd name="T1" fmla="*/ 175 h 175"/>
                <a:gd name="T2" fmla="*/ 87 w 928"/>
                <a:gd name="T3" fmla="*/ 175 h 175"/>
                <a:gd name="T4" fmla="*/ 0 w 928"/>
                <a:gd name="T5" fmla="*/ 88 h 175"/>
                <a:gd name="T6" fmla="*/ 0 w 928"/>
                <a:gd name="T7" fmla="*/ 88 h 175"/>
                <a:gd name="T8" fmla="*/ 87 w 928"/>
                <a:gd name="T9" fmla="*/ 0 h 175"/>
                <a:gd name="T10" fmla="*/ 840 w 928"/>
                <a:gd name="T11" fmla="*/ 0 h 175"/>
                <a:gd name="T12" fmla="*/ 928 w 928"/>
                <a:gd name="T13" fmla="*/ 88 h 175"/>
                <a:gd name="T14" fmla="*/ 928 w 928"/>
                <a:gd name="T15" fmla="*/ 88 h 175"/>
                <a:gd name="T16" fmla="*/ 840 w 928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75">
                  <a:moveTo>
                    <a:pt x="840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89" y="0"/>
                    <a:pt x="928" y="39"/>
                    <a:pt x="928" y="88"/>
                  </a:cubicBezTo>
                  <a:cubicBezTo>
                    <a:pt x="928" y="88"/>
                    <a:pt x="928" y="88"/>
                    <a:pt x="928" y="88"/>
                  </a:cubicBezTo>
                  <a:cubicBezTo>
                    <a:pt x="928" y="136"/>
                    <a:pt x="889" y="175"/>
                    <a:pt x="840" y="175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Thousand Crore Rupees Worth Projects Tendered</a:t>
              </a:r>
            </a:p>
          </p:txBody>
        </p:sp>
      </p:grpSp>
      <p:grpSp>
        <p:nvGrpSpPr>
          <p:cNvPr id="19" name="Group 5"/>
          <p:cNvGrpSpPr>
            <a:grpSpLocks noChangeAspect="1"/>
          </p:cNvGrpSpPr>
          <p:nvPr/>
        </p:nvGrpSpPr>
        <p:grpSpPr bwMode="auto">
          <a:xfrm>
            <a:off x="5599471" y="2171962"/>
            <a:ext cx="6252087" cy="684211"/>
            <a:chOff x="2472" y="1948"/>
            <a:chExt cx="2738" cy="421"/>
          </a:xfrm>
        </p:grpSpPr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2472" y="1948"/>
              <a:ext cx="2738" cy="421"/>
            </a:xfrm>
            <a:custGeom>
              <a:avLst/>
              <a:gdLst>
                <a:gd name="T0" fmla="*/ 1068 w 1156"/>
                <a:gd name="T1" fmla="*/ 175 h 175"/>
                <a:gd name="T2" fmla="*/ 87 w 1156"/>
                <a:gd name="T3" fmla="*/ 175 h 175"/>
                <a:gd name="T4" fmla="*/ 0 w 1156"/>
                <a:gd name="T5" fmla="*/ 88 h 175"/>
                <a:gd name="T6" fmla="*/ 0 w 1156"/>
                <a:gd name="T7" fmla="*/ 88 h 175"/>
                <a:gd name="T8" fmla="*/ 87 w 1156"/>
                <a:gd name="T9" fmla="*/ 0 h 175"/>
                <a:gd name="T10" fmla="*/ 1068 w 1156"/>
                <a:gd name="T11" fmla="*/ 0 h 175"/>
                <a:gd name="T12" fmla="*/ 1156 w 1156"/>
                <a:gd name="T13" fmla="*/ 88 h 175"/>
                <a:gd name="T14" fmla="*/ 1156 w 1156"/>
                <a:gd name="T15" fmla="*/ 88 h 175"/>
                <a:gd name="T16" fmla="*/ 1068 w 1156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6" h="175">
                  <a:moveTo>
                    <a:pt x="1068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068" y="0"/>
                    <a:pt x="1068" y="0"/>
                    <a:pt x="1068" y="0"/>
                  </a:cubicBezTo>
                  <a:cubicBezTo>
                    <a:pt x="1117" y="0"/>
                    <a:pt x="1156" y="39"/>
                    <a:pt x="1156" y="88"/>
                  </a:cubicBezTo>
                  <a:cubicBezTo>
                    <a:pt x="1156" y="88"/>
                    <a:pt x="1156" y="88"/>
                    <a:pt x="1156" y="88"/>
                  </a:cubicBezTo>
                  <a:cubicBezTo>
                    <a:pt x="1156" y="136"/>
                    <a:pt x="1117" y="175"/>
                    <a:pt x="1068" y="175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286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4000" dirty="0">
                  <a:solidFill>
                    <a:srgbClr val="6000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100</a:t>
              </a:r>
              <a:endParaRPr lang="en-GB" sz="4000" dirty="0">
                <a:solidFill>
                  <a:srgbClr val="600000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3008" y="1948"/>
              <a:ext cx="2202" cy="421"/>
            </a:xfrm>
            <a:custGeom>
              <a:avLst/>
              <a:gdLst>
                <a:gd name="T0" fmla="*/ 840 w 928"/>
                <a:gd name="T1" fmla="*/ 175 h 175"/>
                <a:gd name="T2" fmla="*/ 87 w 928"/>
                <a:gd name="T3" fmla="*/ 175 h 175"/>
                <a:gd name="T4" fmla="*/ 0 w 928"/>
                <a:gd name="T5" fmla="*/ 88 h 175"/>
                <a:gd name="T6" fmla="*/ 0 w 928"/>
                <a:gd name="T7" fmla="*/ 88 h 175"/>
                <a:gd name="T8" fmla="*/ 87 w 928"/>
                <a:gd name="T9" fmla="*/ 0 h 175"/>
                <a:gd name="T10" fmla="*/ 840 w 928"/>
                <a:gd name="T11" fmla="*/ 0 h 175"/>
                <a:gd name="T12" fmla="*/ 928 w 928"/>
                <a:gd name="T13" fmla="*/ 88 h 175"/>
                <a:gd name="T14" fmla="*/ 928 w 928"/>
                <a:gd name="T15" fmla="*/ 88 h 175"/>
                <a:gd name="T16" fmla="*/ 840 w 928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75">
                  <a:moveTo>
                    <a:pt x="840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89" y="0"/>
                    <a:pt x="928" y="39"/>
                    <a:pt x="928" y="88"/>
                  </a:cubicBezTo>
                  <a:cubicBezTo>
                    <a:pt x="928" y="88"/>
                    <a:pt x="928" y="88"/>
                    <a:pt x="928" y="88"/>
                  </a:cubicBezTo>
                  <a:cubicBezTo>
                    <a:pt x="928" y="136"/>
                    <a:pt x="889" y="175"/>
                    <a:pt x="840" y="175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Special Purpose Vehicles (SPVs) Established</a:t>
              </a:r>
            </a:p>
          </p:txBody>
        </p:sp>
      </p:grpSp>
      <p:grpSp>
        <p:nvGrpSpPr>
          <p:cNvPr id="22" name="Group 5"/>
          <p:cNvGrpSpPr>
            <a:grpSpLocks noChangeAspect="1"/>
          </p:cNvGrpSpPr>
          <p:nvPr/>
        </p:nvGrpSpPr>
        <p:grpSpPr bwMode="auto">
          <a:xfrm>
            <a:off x="5599471" y="3787830"/>
            <a:ext cx="6252087" cy="684211"/>
            <a:chOff x="2472" y="1948"/>
            <a:chExt cx="2738" cy="421"/>
          </a:xfrm>
        </p:grpSpPr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2472" y="1948"/>
              <a:ext cx="2738" cy="421"/>
            </a:xfrm>
            <a:custGeom>
              <a:avLst/>
              <a:gdLst>
                <a:gd name="T0" fmla="*/ 1068 w 1156"/>
                <a:gd name="T1" fmla="*/ 175 h 175"/>
                <a:gd name="T2" fmla="*/ 87 w 1156"/>
                <a:gd name="T3" fmla="*/ 175 h 175"/>
                <a:gd name="T4" fmla="*/ 0 w 1156"/>
                <a:gd name="T5" fmla="*/ 88 h 175"/>
                <a:gd name="T6" fmla="*/ 0 w 1156"/>
                <a:gd name="T7" fmla="*/ 88 h 175"/>
                <a:gd name="T8" fmla="*/ 87 w 1156"/>
                <a:gd name="T9" fmla="*/ 0 h 175"/>
                <a:gd name="T10" fmla="*/ 1068 w 1156"/>
                <a:gd name="T11" fmla="*/ 0 h 175"/>
                <a:gd name="T12" fmla="*/ 1156 w 1156"/>
                <a:gd name="T13" fmla="*/ 88 h 175"/>
                <a:gd name="T14" fmla="*/ 1156 w 1156"/>
                <a:gd name="T15" fmla="*/ 88 h 175"/>
                <a:gd name="T16" fmla="*/ 1068 w 1156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6" h="175">
                  <a:moveTo>
                    <a:pt x="1068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068" y="0"/>
                    <a:pt x="1068" y="0"/>
                    <a:pt x="1068" y="0"/>
                  </a:cubicBezTo>
                  <a:cubicBezTo>
                    <a:pt x="1117" y="0"/>
                    <a:pt x="1156" y="39"/>
                    <a:pt x="1156" y="88"/>
                  </a:cubicBezTo>
                  <a:cubicBezTo>
                    <a:pt x="1156" y="88"/>
                    <a:pt x="1156" y="88"/>
                    <a:pt x="1156" y="88"/>
                  </a:cubicBezTo>
                  <a:cubicBezTo>
                    <a:pt x="1156" y="136"/>
                    <a:pt x="1117" y="175"/>
                    <a:pt x="1068" y="175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286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4000" dirty="0">
                  <a:solidFill>
                    <a:srgbClr val="6000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100</a:t>
              </a:r>
              <a:endParaRPr lang="en-GB" sz="4000" dirty="0">
                <a:solidFill>
                  <a:srgbClr val="600000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3008" y="1948"/>
              <a:ext cx="2202" cy="421"/>
            </a:xfrm>
            <a:custGeom>
              <a:avLst/>
              <a:gdLst>
                <a:gd name="T0" fmla="*/ 840 w 928"/>
                <a:gd name="T1" fmla="*/ 175 h 175"/>
                <a:gd name="T2" fmla="*/ 87 w 928"/>
                <a:gd name="T3" fmla="*/ 175 h 175"/>
                <a:gd name="T4" fmla="*/ 0 w 928"/>
                <a:gd name="T5" fmla="*/ 88 h 175"/>
                <a:gd name="T6" fmla="*/ 0 w 928"/>
                <a:gd name="T7" fmla="*/ 88 h 175"/>
                <a:gd name="T8" fmla="*/ 87 w 928"/>
                <a:gd name="T9" fmla="*/ 0 h 175"/>
                <a:gd name="T10" fmla="*/ 840 w 928"/>
                <a:gd name="T11" fmla="*/ 0 h 175"/>
                <a:gd name="T12" fmla="*/ 928 w 928"/>
                <a:gd name="T13" fmla="*/ 88 h 175"/>
                <a:gd name="T14" fmla="*/ 928 w 928"/>
                <a:gd name="T15" fmla="*/ 88 h 175"/>
                <a:gd name="T16" fmla="*/ 840 w 928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75">
                  <a:moveTo>
                    <a:pt x="840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89" y="0"/>
                    <a:pt x="928" y="39"/>
                    <a:pt x="928" y="88"/>
                  </a:cubicBezTo>
                  <a:cubicBezTo>
                    <a:pt x="928" y="88"/>
                    <a:pt x="928" y="88"/>
                    <a:pt x="928" y="88"/>
                  </a:cubicBezTo>
                  <a:cubicBezTo>
                    <a:pt x="928" y="136"/>
                    <a:pt x="889" y="175"/>
                    <a:pt x="840" y="175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Project Management Consultants (PMCs) appointed</a:t>
              </a:r>
              <a:endParaRPr lang="en-GB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endParaRPr>
            </a:p>
          </p:txBody>
        </p:sp>
      </p:grpSp>
      <p:grpSp>
        <p:nvGrpSpPr>
          <p:cNvPr id="25" name="Group 5"/>
          <p:cNvGrpSpPr>
            <a:grpSpLocks noChangeAspect="1"/>
          </p:cNvGrpSpPr>
          <p:nvPr/>
        </p:nvGrpSpPr>
        <p:grpSpPr bwMode="auto">
          <a:xfrm>
            <a:off x="5939913" y="5319688"/>
            <a:ext cx="6252087" cy="684211"/>
            <a:chOff x="2472" y="1948"/>
            <a:chExt cx="2738" cy="421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2472" y="1948"/>
              <a:ext cx="2738" cy="421"/>
            </a:xfrm>
            <a:custGeom>
              <a:avLst/>
              <a:gdLst>
                <a:gd name="T0" fmla="*/ 1068 w 1156"/>
                <a:gd name="T1" fmla="*/ 175 h 175"/>
                <a:gd name="T2" fmla="*/ 87 w 1156"/>
                <a:gd name="T3" fmla="*/ 175 h 175"/>
                <a:gd name="T4" fmla="*/ 0 w 1156"/>
                <a:gd name="T5" fmla="*/ 88 h 175"/>
                <a:gd name="T6" fmla="*/ 0 w 1156"/>
                <a:gd name="T7" fmla="*/ 88 h 175"/>
                <a:gd name="T8" fmla="*/ 87 w 1156"/>
                <a:gd name="T9" fmla="*/ 0 h 175"/>
                <a:gd name="T10" fmla="*/ 1068 w 1156"/>
                <a:gd name="T11" fmla="*/ 0 h 175"/>
                <a:gd name="T12" fmla="*/ 1156 w 1156"/>
                <a:gd name="T13" fmla="*/ 88 h 175"/>
                <a:gd name="T14" fmla="*/ 1156 w 1156"/>
                <a:gd name="T15" fmla="*/ 88 h 175"/>
                <a:gd name="T16" fmla="*/ 1068 w 1156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6" h="175">
                  <a:moveTo>
                    <a:pt x="1068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1068" y="0"/>
                    <a:pt x="1068" y="0"/>
                    <a:pt x="1068" y="0"/>
                  </a:cubicBezTo>
                  <a:cubicBezTo>
                    <a:pt x="1117" y="0"/>
                    <a:pt x="1156" y="39"/>
                    <a:pt x="1156" y="88"/>
                  </a:cubicBezTo>
                  <a:cubicBezTo>
                    <a:pt x="1156" y="88"/>
                    <a:pt x="1156" y="88"/>
                    <a:pt x="1156" y="88"/>
                  </a:cubicBezTo>
                  <a:cubicBezTo>
                    <a:pt x="1156" y="136"/>
                    <a:pt x="1117" y="175"/>
                    <a:pt x="1068" y="175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2860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sz="4000" dirty="0">
                  <a:solidFill>
                    <a:srgbClr val="6000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100</a:t>
              </a:r>
              <a:endParaRPr lang="en-GB" sz="4000" dirty="0">
                <a:solidFill>
                  <a:srgbClr val="600000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3008" y="1948"/>
              <a:ext cx="2202" cy="421"/>
            </a:xfrm>
            <a:custGeom>
              <a:avLst/>
              <a:gdLst>
                <a:gd name="T0" fmla="*/ 840 w 928"/>
                <a:gd name="T1" fmla="*/ 175 h 175"/>
                <a:gd name="T2" fmla="*/ 87 w 928"/>
                <a:gd name="T3" fmla="*/ 175 h 175"/>
                <a:gd name="T4" fmla="*/ 0 w 928"/>
                <a:gd name="T5" fmla="*/ 88 h 175"/>
                <a:gd name="T6" fmla="*/ 0 w 928"/>
                <a:gd name="T7" fmla="*/ 88 h 175"/>
                <a:gd name="T8" fmla="*/ 87 w 928"/>
                <a:gd name="T9" fmla="*/ 0 h 175"/>
                <a:gd name="T10" fmla="*/ 840 w 928"/>
                <a:gd name="T11" fmla="*/ 0 h 175"/>
                <a:gd name="T12" fmla="*/ 928 w 928"/>
                <a:gd name="T13" fmla="*/ 88 h 175"/>
                <a:gd name="T14" fmla="*/ 928 w 928"/>
                <a:gd name="T15" fmla="*/ 88 h 175"/>
                <a:gd name="T16" fmla="*/ 840 w 928"/>
                <a:gd name="T1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8" h="175">
                  <a:moveTo>
                    <a:pt x="840" y="175"/>
                  </a:moveTo>
                  <a:cubicBezTo>
                    <a:pt x="87" y="175"/>
                    <a:pt x="87" y="175"/>
                    <a:pt x="87" y="175"/>
                  </a:cubicBezTo>
                  <a:cubicBezTo>
                    <a:pt x="39" y="175"/>
                    <a:pt x="0" y="136"/>
                    <a:pt x="0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39"/>
                    <a:pt x="39" y="0"/>
                    <a:pt x="87" y="0"/>
                  </a:cubicBezTo>
                  <a:cubicBezTo>
                    <a:pt x="840" y="0"/>
                    <a:pt x="840" y="0"/>
                    <a:pt x="840" y="0"/>
                  </a:cubicBezTo>
                  <a:cubicBezTo>
                    <a:pt x="889" y="0"/>
                    <a:pt x="928" y="39"/>
                    <a:pt x="928" y="88"/>
                  </a:cubicBezTo>
                  <a:cubicBezTo>
                    <a:pt x="928" y="88"/>
                    <a:pt x="928" y="88"/>
                    <a:pt x="928" y="88"/>
                  </a:cubicBezTo>
                  <a:cubicBezTo>
                    <a:pt x="928" y="136"/>
                    <a:pt x="889" y="175"/>
                    <a:pt x="840" y="175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8288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en-US" dirty="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City Data Officers (CDOs) appointed in all SC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7207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660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9238129" y="1371599"/>
            <a:ext cx="2181711" cy="38986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/>
          <p:cNvGrpSpPr/>
          <p:nvPr/>
        </p:nvGrpSpPr>
        <p:grpSpPr>
          <a:xfrm>
            <a:off x="1484978" y="4329953"/>
            <a:ext cx="432329" cy="911257"/>
            <a:chOff x="931433" y="3860074"/>
            <a:chExt cx="516367" cy="1358280"/>
          </a:xfrm>
          <a:solidFill>
            <a:srgbClr val="FFC000">
              <a:alpha val="50000"/>
            </a:srgbClr>
          </a:solidFill>
        </p:grpSpPr>
        <p:sp>
          <p:nvSpPr>
            <p:cNvPr id="7" name="Flowchart: Magnetic Disk 6"/>
            <p:cNvSpPr/>
            <p:nvPr/>
          </p:nvSpPr>
          <p:spPr>
            <a:xfrm>
              <a:off x="931433" y="5010856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8" name="Flowchart: Magnetic Disk 7"/>
            <p:cNvSpPr/>
            <p:nvPr/>
          </p:nvSpPr>
          <p:spPr>
            <a:xfrm>
              <a:off x="931433" y="4867010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" name="Flowchart: Magnetic Disk 8"/>
            <p:cNvSpPr/>
            <p:nvPr/>
          </p:nvSpPr>
          <p:spPr>
            <a:xfrm>
              <a:off x="931433" y="4723162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" name="Flowchart: Magnetic Disk 9"/>
            <p:cNvSpPr/>
            <p:nvPr/>
          </p:nvSpPr>
          <p:spPr>
            <a:xfrm>
              <a:off x="931433" y="4579314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" name="Flowchart: Magnetic Disk 10"/>
            <p:cNvSpPr/>
            <p:nvPr/>
          </p:nvSpPr>
          <p:spPr>
            <a:xfrm>
              <a:off x="931433" y="4435466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2" name="Flowchart: Magnetic Disk 11"/>
            <p:cNvSpPr/>
            <p:nvPr/>
          </p:nvSpPr>
          <p:spPr>
            <a:xfrm>
              <a:off x="931433" y="4291618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Flowchart: Magnetic Disk 12"/>
            <p:cNvSpPr/>
            <p:nvPr/>
          </p:nvSpPr>
          <p:spPr>
            <a:xfrm>
              <a:off x="931433" y="4147770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Flowchart: Magnetic Disk 13"/>
            <p:cNvSpPr/>
            <p:nvPr/>
          </p:nvSpPr>
          <p:spPr>
            <a:xfrm>
              <a:off x="931433" y="4003922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Flowchart: Magnetic Disk 14"/>
            <p:cNvSpPr/>
            <p:nvPr/>
          </p:nvSpPr>
          <p:spPr>
            <a:xfrm>
              <a:off x="931433" y="3860074"/>
              <a:ext cx="516367" cy="207498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3662575" y="3808944"/>
            <a:ext cx="452226" cy="1415639"/>
            <a:chOff x="7381568" y="2753032"/>
            <a:chExt cx="516367" cy="2465322"/>
          </a:xfrm>
          <a:solidFill>
            <a:srgbClr val="FFC000">
              <a:alpha val="50000"/>
            </a:srgbClr>
          </a:solidFill>
        </p:grpSpPr>
        <p:sp>
          <p:nvSpPr>
            <p:cNvPr id="86" name="Flowchart: Magnetic Disk 85"/>
            <p:cNvSpPr/>
            <p:nvPr/>
          </p:nvSpPr>
          <p:spPr>
            <a:xfrm>
              <a:off x="7381568" y="4999709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87" name="Flowchart: Magnetic Disk 86"/>
            <p:cNvSpPr/>
            <p:nvPr/>
          </p:nvSpPr>
          <p:spPr>
            <a:xfrm>
              <a:off x="7381568" y="484992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88" name="Flowchart: Magnetic Disk 87"/>
            <p:cNvSpPr/>
            <p:nvPr/>
          </p:nvSpPr>
          <p:spPr>
            <a:xfrm>
              <a:off x="7381568" y="470014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89" name="Flowchart: Magnetic Disk 88"/>
            <p:cNvSpPr/>
            <p:nvPr/>
          </p:nvSpPr>
          <p:spPr>
            <a:xfrm>
              <a:off x="7381568" y="455036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0" name="Flowchart: Magnetic Disk 89"/>
            <p:cNvSpPr/>
            <p:nvPr/>
          </p:nvSpPr>
          <p:spPr>
            <a:xfrm>
              <a:off x="7381568" y="440059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1" name="Flowchart: Magnetic Disk 90"/>
            <p:cNvSpPr/>
            <p:nvPr/>
          </p:nvSpPr>
          <p:spPr>
            <a:xfrm>
              <a:off x="7381568" y="425081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2" name="Flowchart: Magnetic Disk 91"/>
            <p:cNvSpPr/>
            <p:nvPr/>
          </p:nvSpPr>
          <p:spPr>
            <a:xfrm>
              <a:off x="7381568" y="410103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3" name="Flowchart: Magnetic Disk 92"/>
            <p:cNvSpPr/>
            <p:nvPr/>
          </p:nvSpPr>
          <p:spPr>
            <a:xfrm>
              <a:off x="7381568" y="395125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4" name="Flowchart: Magnetic Disk 93"/>
            <p:cNvSpPr/>
            <p:nvPr/>
          </p:nvSpPr>
          <p:spPr>
            <a:xfrm>
              <a:off x="7381568" y="380147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5" name="Flowchart: Magnetic Disk 94"/>
            <p:cNvSpPr/>
            <p:nvPr/>
          </p:nvSpPr>
          <p:spPr>
            <a:xfrm>
              <a:off x="7381568" y="365170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6" name="Flowchart: Magnetic Disk 95"/>
            <p:cNvSpPr/>
            <p:nvPr/>
          </p:nvSpPr>
          <p:spPr>
            <a:xfrm>
              <a:off x="7381568" y="350192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7" name="Flowchart: Magnetic Disk 96"/>
            <p:cNvSpPr/>
            <p:nvPr/>
          </p:nvSpPr>
          <p:spPr>
            <a:xfrm>
              <a:off x="7381568" y="335214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8" name="Flowchart: Magnetic Disk 97"/>
            <p:cNvSpPr/>
            <p:nvPr/>
          </p:nvSpPr>
          <p:spPr>
            <a:xfrm>
              <a:off x="7381568" y="320236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99" name="Flowchart: Magnetic Disk 98"/>
            <p:cNvSpPr/>
            <p:nvPr/>
          </p:nvSpPr>
          <p:spPr>
            <a:xfrm>
              <a:off x="7381568" y="305258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0" name="Flowchart: Magnetic Disk 99"/>
            <p:cNvSpPr/>
            <p:nvPr/>
          </p:nvSpPr>
          <p:spPr>
            <a:xfrm>
              <a:off x="7381568" y="290281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1" name="Flowchart: Magnetic Disk 100"/>
            <p:cNvSpPr/>
            <p:nvPr/>
          </p:nvSpPr>
          <p:spPr>
            <a:xfrm>
              <a:off x="7381568" y="275303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5794914" y="3393788"/>
            <a:ext cx="444522" cy="1830796"/>
            <a:chOff x="8458200" y="2441022"/>
            <a:chExt cx="516367" cy="2777332"/>
          </a:xfrm>
          <a:solidFill>
            <a:srgbClr val="FFC000">
              <a:alpha val="50000"/>
            </a:srgbClr>
          </a:solidFill>
        </p:grpSpPr>
        <p:sp>
          <p:nvSpPr>
            <p:cNvPr id="104" name="Flowchart: Magnetic Disk 103"/>
            <p:cNvSpPr/>
            <p:nvPr/>
          </p:nvSpPr>
          <p:spPr>
            <a:xfrm>
              <a:off x="8458200" y="4999709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5" name="Flowchart: Magnetic Disk 104"/>
            <p:cNvSpPr/>
            <p:nvPr/>
          </p:nvSpPr>
          <p:spPr>
            <a:xfrm>
              <a:off x="8458200" y="484992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6" name="Flowchart: Magnetic Disk 105"/>
            <p:cNvSpPr/>
            <p:nvPr/>
          </p:nvSpPr>
          <p:spPr>
            <a:xfrm>
              <a:off x="8458200" y="470014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7" name="Flowchart: Magnetic Disk 106"/>
            <p:cNvSpPr/>
            <p:nvPr/>
          </p:nvSpPr>
          <p:spPr>
            <a:xfrm>
              <a:off x="8458200" y="455036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8" name="Flowchart: Magnetic Disk 107"/>
            <p:cNvSpPr/>
            <p:nvPr/>
          </p:nvSpPr>
          <p:spPr>
            <a:xfrm>
              <a:off x="8458200" y="440059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09" name="Flowchart: Magnetic Disk 108"/>
            <p:cNvSpPr/>
            <p:nvPr/>
          </p:nvSpPr>
          <p:spPr>
            <a:xfrm>
              <a:off x="8458200" y="425081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0" name="Flowchart: Magnetic Disk 109"/>
            <p:cNvSpPr/>
            <p:nvPr/>
          </p:nvSpPr>
          <p:spPr>
            <a:xfrm>
              <a:off x="8458200" y="410103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1" name="Flowchart: Magnetic Disk 110"/>
            <p:cNvSpPr/>
            <p:nvPr/>
          </p:nvSpPr>
          <p:spPr>
            <a:xfrm>
              <a:off x="8458200" y="395125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2" name="Flowchart: Magnetic Disk 111"/>
            <p:cNvSpPr/>
            <p:nvPr/>
          </p:nvSpPr>
          <p:spPr>
            <a:xfrm>
              <a:off x="8458200" y="380147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3" name="Flowchart: Magnetic Disk 112"/>
            <p:cNvSpPr/>
            <p:nvPr/>
          </p:nvSpPr>
          <p:spPr>
            <a:xfrm>
              <a:off x="8458200" y="365170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4" name="Flowchart: Magnetic Disk 113"/>
            <p:cNvSpPr/>
            <p:nvPr/>
          </p:nvSpPr>
          <p:spPr>
            <a:xfrm>
              <a:off x="8458200" y="350192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5" name="Flowchart: Magnetic Disk 114"/>
            <p:cNvSpPr/>
            <p:nvPr/>
          </p:nvSpPr>
          <p:spPr>
            <a:xfrm>
              <a:off x="8458200" y="335214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6" name="Flowchart: Magnetic Disk 115"/>
            <p:cNvSpPr/>
            <p:nvPr/>
          </p:nvSpPr>
          <p:spPr>
            <a:xfrm>
              <a:off x="8458200" y="320236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7" name="Flowchart: Magnetic Disk 116"/>
            <p:cNvSpPr/>
            <p:nvPr/>
          </p:nvSpPr>
          <p:spPr>
            <a:xfrm>
              <a:off x="8458200" y="305258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8" name="Flowchart: Magnetic Disk 117"/>
            <p:cNvSpPr/>
            <p:nvPr/>
          </p:nvSpPr>
          <p:spPr>
            <a:xfrm>
              <a:off x="8458200" y="290281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19" name="Flowchart: Magnetic Disk 118"/>
            <p:cNvSpPr/>
            <p:nvPr/>
          </p:nvSpPr>
          <p:spPr>
            <a:xfrm>
              <a:off x="8458200" y="275303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20" name="Flowchart: Magnetic Disk 119"/>
            <p:cNvSpPr/>
            <p:nvPr/>
          </p:nvSpPr>
          <p:spPr>
            <a:xfrm>
              <a:off x="8458200" y="259080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21" name="Flowchart: Magnetic Disk 120"/>
            <p:cNvSpPr/>
            <p:nvPr/>
          </p:nvSpPr>
          <p:spPr>
            <a:xfrm>
              <a:off x="8458200" y="244102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2" name="Group 271"/>
          <p:cNvGrpSpPr/>
          <p:nvPr/>
        </p:nvGrpSpPr>
        <p:grpSpPr>
          <a:xfrm>
            <a:off x="7946811" y="2958353"/>
            <a:ext cx="497942" cy="2266231"/>
            <a:chOff x="8458200" y="2441022"/>
            <a:chExt cx="516367" cy="2777332"/>
          </a:xfrm>
          <a:solidFill>
            <a:srgbClr val="FFC000">
              <a:alpha val="50000"/>
            </a:srgbClr>
          </a:solidFill>
        </p:grpSpPr>
        <p:sp>
          <p:nvSpPr>
            <p:cNvPr id="279" name="Flowchart: Magnetic Disk 278"/>
            <p:cNvSpPr/>
            <p:nvPr/>
          </p:nvSpPr>
          <p:spPr>
            <a:xfrm>
              <a:off x="8458200" y="4999709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0" name="Flowchart: Magnetic Disk 279"/>
            <p:cNvSpPr/>
            <p:nvPr/>
          </p:nvSpPr>
          <p:spPr>
            <a:xfrm>
              <a:off x="8458200" y="484992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1" name="Flowchart: Magnetic Disk 280"/>
            <p:cNvSpPr/>
            <p:nvPr/>
          </p:nvSpPr>
          <p:spPr>
            <a:xfrm>
              <a:off x="8458200" y="470014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2" name="Flowchart: Magnetic Disk 281"/>
            <p:cNvSpPr/>
            <p:nvPr/>
          </p:nvSpPr>
          <p:spPr>
            <a:xfrm>
              <a:off x="8458200" y="455036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3" name="Flowchart: Magnetic Disk 282"/>
            <p:cNvSpPr/>
            <p:nvPr/>
          </p:nvSpPr>
          <p:spPr>
            <a:xfrm>
              <a:off x="8458200" y="440059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4" name="Flowchart: Magnetic Disk 283"/>
            <p:cNvSpPr/>
            <p:nvPr/>
          </p:nvSpPr>
          <p:spPr>
            <a:xfrm>
              <a:off x="8458200" y="425081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5" name="Flowchart: Magnetic Disk 284"/>
            <p:cNvSpPr/>
            <p:nvPr/>
          </p:nvSpPr>
          <p:spPr>
            <a:xfrm>
              <a:off x="8458200" y="410103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6" name="Flowchart: Magnetic Disk 285"/>
            <p:cNvSpPr/>
            <p:nvPr/>
          </p:nvSpPr>
          <p:spPr>
            <a:xfrm>
              <a:off x="8458200" y="395125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7" name="Flowchart: Magnetic Disk 286"/>
            <p:cNvSpPr/>
            <p:nvPr/>
          </p:nvSpPr>
          <p:spPr>
            <a:xfrm>
              <a:off x="8458200" y="380147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8" name="Flowchart: Magnetic Disk 287"/>
            <p:cNvSpPr/>
            <p:nvPr/>
          </p:nvSpPr>
          <p:spPr>
            <a:xfrm>
              <a:off x="8458200" y="365170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89" name="Flowchart: Magnetic Disk 288"/>
            <p:cNvSpPr/>
            <p:nvPr/>
          </p:nvSpPr>
          <p:spPr>
            <a:xfrm>
              <a:off x="8458200" y="350192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0" name="Flowchart: Magnetic Disk 289"/>
            <p:cNvSpPr/>
            <p:nvPr/>
          </p:nvSpPr>
          <p:spPr>
            <a:xfrm>
              <a:off x="8458200" y="3352144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1" name="Flowchart: Magnetic Disk 290"/>
            <p:cNvSpPr/>
            <p:nvPr/>
          </p:nvSpPr>
          <p:spPr>
            <a:xfrm>
              <a:off x="8458200" y="3202366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2" name="Flowchart: Magnetic Disk 291"/>
            <p:cNvSpPr/>
            <p:nvPr/>
          </p:nvSpPr>
          <p:spPr>
            <a:xfrm>
              <a:off x="8458200" y="3052588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3" name="Flowchart: Magnetic Disk 292"/>
            <p:cNvSpPr/>
            <p:nvPr/>
          </p:nvSpPr>
          <p:spPr>
            <a:xfrm>
              <a:off x="8458200" y="290281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4" name="Flowchart: Magnetic Disk 293"/>
            <p:cNvSpPr/>
            <p:nvPr/>
          </p:nvSpPr>
          <p:spPr>
            <a:xfrm>
              <a:off x="8458200" y="275303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5" name="Flowchart: Magnetic Disk 294"/>
            <p:cNvSpPr/>
            <p:nvPr/>
          </p:nvSpPr>
          <p:spPr>
            <a:xfrm>
              <a:off x="8458200" y="2590800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6" name="Flowchart: Magnetic Disk 295"/>
            <p:cNvSpPr/>
            <p:nvPr/>
          </p:nvSpPr>
          <p:spPr>
            <a:xfrm>
              <a:off x="8458200" y="2441022"/>
              <a:ext cx="516367" cy="218645"/>
            </a:xfrm>
            <a:prstGeom prst="flowChartMagneticDisk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10129792" y="1980465"/>
            <a:ext cx="465515" cy="3247874"/>
            <a:chOff x="10101945" y="2235924"/>
            <a:chExt cx="347920" cy="2805783"/>
          </a:xfrm>
        </p:grpSpPr>
        <p:sp>
          <p:nvSpPr>
            <p:cNvPr id="216" name="Flowchart: Magnetic Disk 215"/>
            <p:cNvSpPr/>
            <p:nvPr/>
          </p:nvSpPr>
          <p:spPr>
            <a:xfrm>
              <a:off x="10101945" y="4892845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17" name="Flowchart: Magnetic Disk 216"/>
            <p:cNvSpPr/>
            <p:nvPr/>
          </p:nvSpPr>
          <p:spPr>
            <a:xfrm>
              <a:off x="10101945" y="4791080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18" name="Flowchart: Magnetic Disk 217"/>
            <p:cNvSpPr/>
            <p:nvPr/>
          </p:nvSpPr>
          <p:spPr>
            <a:xfrm>
              <a:off x="10101945" y="4689313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19" name="Flowchart: Magnetic Disk 218"/>
            <p:cNvSpPr/>
            <p:nvPr/>
          </p:nvSpPr>
          <p:spPr>
            <a:xfrm>
              <a:off x="10101945" y="4587545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0" name="Flowchart: Magnetic Disk 219"/>
            <p:cNvSpPr/>
            <p:nvPr/>
          </p:nvSpPr>
          <p:spPr>
            <a:xfrm>
              <a:off x="10101945" y="4485778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1" name="Flowchart: Magnetic Disk 220"/>
            <p:cNvSpPr/>
            <p:nvPr/>
          </p:nvSpPr>
          <p:spPr>
            <a:xfrm>
              <a:off x="10101945" y="4384010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2" name="Flowchart: Magnetic Disk 221"/>
            <p:cNvSpPr/>
            <p:nvPr/>
          </p:nvSpPr>
          <p:spPr>
            <a:xfrm>
              <a:off x="10101945" y="4282243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3" name="Flowchart: Magnetic Disk 222"/>
            <p:cNvSpPr/>
            <p:nvPr/>
          </p:nvSpPr>
          <p:spPr>
            <a:xfrm>
              <a:off x="10101945" y="4180475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4" name="Flowchart: Magnetic Disk 223"/>
            <p:cNvSpPr/>
            <p:nvPr/>
          </p:nvSpPr>
          <p:spPr>
            <a:xfrm>
              <a:off x="10101945" y="4078708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5" name="Flowchart: Magnetic Disk 224"/>
            <p:cNvSpPr/>
            <p:nvPr/>
          </p:nvSpPr>
          <p:spPr>
            <a:xfrm>
              <a:off x="10101945" y="3976941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6" name="Flowchart: Magnetic Disk 225"/>
            <p:cNvSpPr/>
            <p:nvPr/>
          </p:nvSpPr>
          <p:spPr>
            <a:xfrm>
              <a:off x="10101945" y="3875173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7" name="Flowchart: Magnetic Disk 226"/>
            <p:cNvSpPr/>
            <p:nvPr/>
          </p:nvSpPr>
          <p:spPr>
            <a:xfrm>
              <a:off x="10101945" y="3773406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8" name="Flowchart: Magnetic Disk 227"/>
            <p:cNvSpPr/>
            <p:nvPr/>
          </p:nvSpPr>
          <p:spPr>
            <a:xfrm>
              <a:off x="10101945" y="3671638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29" name="Flowchart: Magnetic Disk 228"/>
            <p:cNvSpPr/>
            <p:nvPr/>
          </p:nvSpPr>
          <p:spPr>
            <a:xfrm>
              <a:off x="10101945" y="3569871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0" name="Flowchart: Magnetic Disk 229"/>
            <p:cNvSpPr/>
            <p:nvPr/>
          </p:nvSpPr>
          <p:spPr>
            <a:xfrm>
              <a:off x="10101945" y="3468104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1" name="Flowchart: Magnetic Disk 230"/>
            <p:cNvSpPr/>
            <p:nvPr/>
          </p:nvSpPr>
          <p:spPr>
            <a:xfrm>
              <a:off x="10101945" y="3366336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2" name="Flowchart: Magnetic Disk 231"/>
            <p:cNvSpPr/>
            <p:nvPr/>
          </p:nvSpPr>
          <p:spPr>
            <a:xfrm>
              <a:off x="10101945" y="3264569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3" name="Flowchart: Magnetic Disk 232"/>
            <p:cNvSpPr/>
            <p:nvPr/>
          </p:nvSpPr>
          <p:spPr>
            <a:xfrm>
              <a:off x="10101945" y="3162801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4" name="Flowchart: Magnetic Disk 233"/>
            <p:cNvSpPr/>
            <p:nvPr/>
          </p:nvSpPr>
          <p:spPr>
            <a:xfrm>
              <a:off x="10101945" y="3061034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5" name="Flowchart: Magnetic Disk 234"/>
            <p:cNvSpPr/>
            <p:nvPr/>
          </p:nvSpPr>
          <p:spPr>
            <a:xfrm>
              <a:off x="10101945" y="2959266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6" name="Flowchart: Magnetic Disk 235"/>
            <p:cNvSpPr/>
            <p:nvPr/>
          </p:nvSpPr>
          <p:spPr>
            <a:xfrm>
              <a:off x="10101945" y="2857499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7" name="Flowchart: Magnetic Disk 236"/>
            <p:cNvSpPr/>
            <p:nvPr/>
          </p:nvSpPr>
          <p:spPr>
            <a:xfrm>
              <a:off x="10101945" y="2743200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8" name="Flowchart: Magnetic Disk 237"/>
            <p:cNvSpPr/>
            <p:nvPr/>
          </p:nvSpPr>
          <p:spPr>
            <a:xfrm>
              <a:off x="10101945" y="2641433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9" name="Flowchart: Magnetic Disk 238"/>
            <p:cNvSpPr/>
            <p:nvPr/>
          </p:nvSpPr>
          <p:spPr>
            <a:xfrm>
              <a:off x="10101945" y="2540167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0" name="Flowchart: Magnetic Disk 239"/>
            <p:cNvSpPr/>
            <p:nvPr/>
          </p:nvSpPr>
          <p:spPr>
            <a:xfrm>
              <a:off x="10101945" y="2438400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1" name="Flowchart: Magnetic Disk 240"/>
            <p:cNvSpPr/>
            <p:nvPr/>
          </p:nvSpPr>
          <p:spPr>
            <a:xfrm>
              <a:off x="10101945" y="2337691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2" name="Flowchart: Magnetic Disk 241"/>
            <p:cNvSpPr/>
            <p:nvPr/>
          </p:nvSpPr>
          <p:spPr>
            <a:xfrm>
              <a:off x="10101945" y="2235924"/>
              <a:ext cx="347920" cy="148862"/>
            </a:xfrm>
            <a:prstGeom prst="flowChartMagneticDisk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4444" y="378004"/>
            <a:ext cx="11063112" cy="707319"/>
          </a:xfrm>
        </p:spPr>
        <p:txBody>
          <a:bodyPr/>
          <a:lstStyle/>
          <a:p>
            <a:r>
              <a:rPr lang="en-GB" dirty="0"/>
              <a:t>Mission Project Progress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3147785"/>
              </p:ext>
            </p:extLst>
          </p:nvPr>
        </p:nvGraphicFramePr>
        <p:xfrm>
          <a:off x="409897" y="1478279"/>
          <a:ext cx="11277600" cy="4145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8" name="Flowchart: Magnetic Disk 277"/>
          <p:cNvSpPr/>
          <p:nvPr/>
        </p:nvSpPr>
        <p:spPr>
          <a:xfrm>
            <a:off x="1163981" y="1646491"/>
            <a:ext cx="259306" cy="159950"/>
          </a:xfrm>
          <a:prstGeom prst="flowChartMagneticDisk">
            <a:avLst/>
          </a:prstGeom>
          <a:solidFill>
            <a:srgbClr val="FFC000">
              <a:alpha val="5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89498" y="2120629"/>
            <a:ext cx="4095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</a:rPr>
              <a:t>All the values are in thousand Crores</a:t>
            </a:r>
            <a:endParaRPr lang="en-GB" sz="12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44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25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25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25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25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7" grpId="0" animBg="1"/>
      <p:bldGraphic spid="6" grpId="0" uiExpand="1">
        <p:bldSub>
          <a:bldChart bld="category"/>
        </p:bldSub>
      </p:bldGraphic>
      <p:bldP spid="278" grpId="0" uiExpand="1" animBg="1"/>
      <p:bldP spid="3" grpId="0" uiExpand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697848" y="2231110"/>
            <a:ext cx="5189337" cy="3615508"/>
            <a:chOff x="3192663" y="2231110"/>
            <a:chExt cx="5802635" cy="4626890"/>
          </a:xfrm>
        </p:grpSpPr>
        <p:sp>
          <p:nvSpPr>
            <p:cNvPr id="5" name="Rectangle 4"/>
            <p:cNvSpPr/>
            <p:nvPr/>
          </p:nvSpPr>
          <p:spPr>
            <a:xfrm>
              <a:off x="5839449" y="275127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5836733" y="326555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5836733" y="378186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5836733" y="430452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836733" y="482083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5836733" y="533714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836733" y="585345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836733" y="636342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797765" y="326373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797765" y="378004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797765" y="430270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797765" y="481901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88657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886571" y="378639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886571" y="429817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886571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268765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68765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268765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268765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726188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726188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726188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726188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268765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726188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268765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726188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721662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732532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197189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197189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192663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203532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203532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209876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424622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424622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7424622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424622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424622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7424622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962673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962673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962673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7962673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962673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7962673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7958147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7969016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849438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8494381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/>
            <p:cNvSpPr/>
            <p:nvPr/>
          </p:nvSpPr>
          <p:spPr>
            <a:xfrm>
              <a:off x="8489855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8500724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8500724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8496198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" name="Rectangle 60"/>
          <p:cNvSpPr/>
          <p:nvPr/>
        </p:nvSpPr>
        <p:spPr>
          <a:xfrm>
            <a:off x="9050971" y="1990167"/>
            <a:ext cx="494574" cy="4945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8534658" y="1413164"/>
            <a:ext cx="494574" cy="494574"/>
          </a:xfrm>
          <a:prstGeom prst="rect">
            <a:avLst/>
          </a:prstGeom>
          <a:solidFill>
            <a:srgbClr val="F99D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/>
          <p:cNvSpPr/>
          <p:nvPr/>
        </p:nvSpPr>
        <p:spPr>
          <a:xfrm>
            <a:off x="9578153" y="1413164"/>
            <a:ext cx="494574" cy="494574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itle 126"/>
          <p:cNvSpPr txBox="1">
            <a:spLocks/>
          </p:cNvSpPr>
          <p:nvPr/>
        </p:nvSpPr>
        <p:spPr>
          <a:xfrm>
            <a:off x="0" y="3425902"/>
            <a:ext cx="11063112" cy="7073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dirty="0">
                <a:solidFill>
                  <a:srgbClr val="516283"/>
                </a:solidFill>
              </a:rPr>
              <a:t> Impacts @ Smart Cities Mission </a:t>
            </a:r>
          </a:p>
        </p:txBody>
      </p:sp>
      <p:sp>
        <p:nvSpPr>
          <p:cNvPr id="65" name="Rectangle 64"/>
          <p:cNvSpPr/>
          <p:nvPr/>
        </p:nvSpPr>
        <p:spPr>
          <a:xfrm>
            <a:off x="1035622" y="4225206"/>
            <a:ext cx="2610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516283"/>
                </a:solidFill>
              </a:rPr>
              <a:t>Mission Transform-Nation</a:t>
            </a:r>
            <a:endParaRPr lang="en-GB" dirty="0">
              <a:solidFill>
                <a:srgbClr val="5162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49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73849" y="548374"/>
          <a:ext cx="1335" cy="1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73849" y="548374"/>
                        <a:ext cx="1335" cy="133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972514" y="547039"/>
            <a:ext cx="133425" cy="1334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98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4028"/>
            <a:ext cx="11219487" cy="1446391"/>
          </a:xfrm>
        </p:spPr>
        <p:txBody>
          <a:bodyPr vert="horz" lIns="102470" tIns="51235" rIns="102470" bIns="51235" rtlCol="0" anchor="ctr">
            <a:normAutofit/>
          </a:bodyPr>
          <a:lstStyle/>
          <a:p>
            <a:pPr defTabSz="1024677"/>
            <a:r>
              <a:rPr lang="en-US" sz="3586" dirty="0"/>
              <a:t>Integrated Command and Control Centers (ICCC)</a:t>
            </a:r>
            <a:endParaRPr lang="en-GB" sz="3586" dirty="0"/>
          </a:p>
        </p:txBody>
      </p:sp>
      <p:sp>
        <p:nvSpPr>
          <p:cNvPr id="7" name="TextBox 6"/>
          <p:cNvSpPr txBox="1"/>
          <p:nvPr/>
        </p:nvSpPr>
        <p:spPr>
          <a:xfrm flipH="1">
            <a:off x="1462904" y="5416258"/>
            <a:ext cx="5127147" cy="299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45" dirty="0">
                <a:solidFill>
                  <a:schemeClr val="bg1"/>
                </a:solidFill>
              </a:rPr>
              <a:t>Bhopal Smart City, Madhya Pradesh</a:t>
            </a:r>
            <a:endParaRPr lang="en-IN" sz="1345" dirty="0">
              <a:solidFill>
                <a:schemeClr val="bg1"/>
              </a:solidFill>
            </a:endParaRPr>
          </a:p>
        </p:txBody>
      </p:sp>
      <p:pic>
        <p:nvPicPr>
          <p:cNvPr id="52228" name="Picture 4" descr="Image result for bhopal command and control center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57"/>
          <a:stretch/>
        </p:blipFill>
        <p:spPr bwMode="auto">
          <a:xfrm>
            <a:off x="0" y="1372363"/>
            <a:ext cx="12192000" cy="4697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31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000"/>
    </mc:Choice>
    <mc:Fallback xmlns="">
      <p:transition spd="slow" advTm="4000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013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40" y="184145"/>
            <a:ext cx="11063112" cy="707319"/>
          </a:xfrm>
        </p:spPr>
        <p:txBody>
          <a:bodyPr/>
          <a:lstStyle/>
          <a:p>
            <a:r>
              <a:rPr lang="en-GB" dirty="0"/>
              <a:t>Public Bicycle Sharing</a:t>
            </a:r>
          </a:p>
        </p:txBody>
      </p:sp>
      <p:pic>
        <p:nvPicPr>
          <p:cNvPr id="6" name="Content Placeholder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45400"/>
            <a:ext cx="12168554" cy="4586478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9" name="Rectangle 8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7" name="Group 176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8" name="Group 177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8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9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300" name="Group 299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1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1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9" name="Group 178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80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7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150521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33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89" b="12560"/>
          <a:stretch/>
        </p:blipFill>
        <p:spPr>
          <a:xfrm>
            <a:off x="0" y="1418493"/>
            <a:ext cx="12192000" cy="46540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lete Streets – Encouraging Non </a:t>
            </a:r>
            <a:r>
              <a:rPr lang="en-US" dirty="0" err="1"/>
              <a:t>Motorised</a:t>
            </a:r>
            <a:r>
              <a:rPr lang="en-US" dirty="0"/>
              <a:t> Transport</a:t>
            </a:r>
            <a:endParaRPr lang="en-GB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8" name="Rectangle 7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7" name="Group 176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7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8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299" name="Group 298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0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1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8" name="Group 177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79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0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34805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102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Placemaking</a:t>
            </a:r>
            <a:endParaRPr lang="en-GB" dirty="0"/>
          </a:p>
        </p:txBody>
      </p:sp>
      <p:pic>
        <p:nvPicPr>
          <p:cNvPr id="7" name="Content Placeholder 4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97001"/>
            <a:ext cx="12192000" cy="4638040"/>
          </a:xfrm>
        </p:spPr>
      </p:pic>
      <p:grpSp>
        <p:nvGrpSpPr>
          <p:cNvPr id="6" name="Group 5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8" name="Rectangle 7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7" name="Group 176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7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8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299" name="Group 298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0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1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8" name="Group 177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79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0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46235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440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7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loating Solar Plants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66556"/>
            <a:ext cx="12192000" cy="4538003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8" name="Rectangle 7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7" name="Group 176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7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8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299" name="Group 298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0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1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8" name="Group 177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79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0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544049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429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9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t="19405" r="2195" b="24529"/>
          <a:stretch/>
        </p:blipFill>
        <p:spPr>
          <a:xfrm>
            <a:off x="30480" y="1364104"/>
            <a:ext cx="12222480" cy="46709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cubation Centers</a:t>
            </a:r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7" name="Rectangle 6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5" name="Group 174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6" name="Group 175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6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7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298" name="Group 297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299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0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1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7" name="Group 176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78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79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0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15528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50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1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ed Heritage Development</a:t>
            </a:r>
          </a:p>
        </p:txBody>
      </p:sp>
      <p:pic>
        <p:nvPicPr>
          <p:cNvPr id="331" name="Picture 330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381991"/>
            <a:ext cx="12178145" cy="4689268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8" name="Rectangle 7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7" name="Group 176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7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8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299" name="Group 298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0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1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8" name="Group 177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79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0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8657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5D438939-CACF-4E12-AAAD-83B902225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984" y="171547"/>
            <a:ext cx="8567183" cy="540544"/>
          </a:xfrm>
        </p:spPr>
        <p:txBody>
          <a:bodyPr>
            <a:normAutofit fontScale="90000"/>
          </a:bodyPr>
          <a:lstStyle/>
          <a:p>
            <a:r>
              <a:rPr lang="en-IN" dirty="0"/>
              <a:t>India’s Urban Transformation 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xmlns="" id="{8BD39864-BF89-46FD-B55B-0E01DAFBD4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7442" y="5123330"/>
            <a:ext cx="450850" cy="92333"/>
          </a:xfrm>
        </p:spPr>
        <p:txBody>
          <a:bodyPr/>
          <a:lstStyle/>
          <a:p>
            <a:fld id="{48F63A3B-78C7-47BE-AE5E-E10140E04643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xmlns="" id="{FE70CFFA-4CE7-499D-B83D-7133075CF987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14119573"/>
              </p:ext>
            </p:extLst>
          </p:nvPr>
        </p:nvGraphicFramePr>
        <p:xfrm>
          <a:off x="118224" y="1232029"/>
          <a:ext cx="6282576" cy="5142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6483729" y="1520707"/>
            <a:ext cx="5544150" cy="4250573"/>
            <a:chOff x="5217637" y="423427"/>
            <a:chExt cx="5544150" cy="4250573"/>
          </a:xfrm>
        </p:grpSpPr>
        <p:sp>
          <p:nvSpPr>
            <p:cNvPr id="10" name="Freeform 9"/>
            <p:cNvSpPr/>
            <p:nvPr/>
          </p:nvSpPr>
          <p:spPr>
            <a:xfrm>
              <a:off x="5775704" y="468850"/>
              <a:ext cx="4986081" cy="483513"/>
            </a:xfrm>
            <a:custGeom>
              <a:avLst/>
              <a:gdLst>
                <a:gd name="connsiteX0" fmla="*/ 0 w 3846741"/>
                <a:gd name="connsiteY0" fmla="*/ 0 h 483511"/>
                <a:gd name="connsiteX1" fmla="*/ 3604986 w 3846741"/>
                <a:gd name="connsiteY1" fmla="*/ 0 h 483511"/>
                <a:gd name="connsiteX2" fmla="*/ 3846741 w 3846741"/>
                <a:gd name="connsiteY2" fmla="*/ 241756 h 483511"/>
                <a:gd name="connsiteX3" fmla="*/ 3604986 w 3846741"/>
                <a:gd name="connsiteY3" fmla="*/ 483511 h 483511"/>
                <a:gd name="connsiteX4" fmla="*/ 0 w 3846741"/>
                <a:gd name="connsiteY4" fmla="*/ 483511 h 483511"/>
                <a:gd name="connsiteX5" fmla="*/ 0 w 3846741"/>
                <a:gd name="connsiteY5" fmla="*/ 0 h 48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6741" h="483511">
                  <a:moveTo>
                    <a:pt x="3846741" y="483510"/>
                  </a:moveTo>
                  <a:lnTo>
                    <a:pt x="241755" y="483510"/>
                  </a:lnTo>
                  <a:lnTo>
                    <a:pt x="0" y="241755"/>
                  </a:lnTo>
                  <a:lnTo>
                    <a:pt x="241755" y="1"/>
                  </a:lnTo>
                  <a:lnTo>
                    <a:pt x="3846741" y="1"/>
                  </a:lnTo>
                  <a:lnTo>
                    <a:pt x="3846741" y="483510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34093" tIns="45721" rIns="85344" bIns="45721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400" kern="1200" dirty="0">
                  <a:latin typeface="+mj-lt"/>
                  <a:ea typeface="Calibri" panose="020F0502020204030204" pitchFamily="34" charset="0"/>
                  <a:cs typeface="Calibri" panose="020F0502020204030204" pitchFamily="34" charset="0"/>
                </a:rPr>
                <a:t>Arguably the largest and most complex urbanization initiative on the planet</a:t>
              </a:r>
              <a:endParaRPr lang="en-IN" sz="1400" kern="1200" dirty="0">
                <a:latin typeface="+mj-lt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5217637" y="423427"/>
              <a:ext cx="483511" cy="483511"/>
            </a:xfrm>
            <a:prstGeom prst="ellipse">
              <a:avLst/>
            </a:prstGeom>
            <a:blipFill rotWithShape="1">
              <a:blip r:embed="rId7"/>
              <a:srcRect/>
              <a:stretch>
                <a:fillRect l="-8000" r="-8000"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5775702" y="1068413"/>
              <a:ext cx="4986083" cy="483513"/>
            </a:xfrm>
            <a:custGeom>
              <a:avLst/>
              <a:gdLst>
                <a:gd name="connsiteX0" fmla="*/ 0 w 3846741"/>
                <a:gd name="connsiteY0" fmla="*/ 0 h 483511"/>
                <a:gd name="connsiteX1" fmla="*/ 3604986 w 3846741"/>
                <a:gd name="connsiteY1" fmla="*/ 0 h 483511"/>
                <a:gd name="connsiteX2" fmla="*/ 3846741 w 3846741"/>
                <a:gd name="connsiteY2" fmla="*/ 241756 h 483511"/>
                <a:gd name="connsiteX3" fmla="*/ 3604986 w 3846741"/>
                <a:gd name="connsiteY3" fmla="*/ 483511 h 483511"/>
                <a:gd name="connsiteX4" fmla="*/ 0 w 3846741"/>
                <a:gd name="connsiteY4" fmla="*/ 483511 h 483511"/>
                <a:gd name="connsiteX5" fmla="*/ 0 w 3846741"/>
                <a:gd name="connsiteY5" fmla="*/ 0 h 48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6741" h="483511">
                  <a:moveTo>
                    <a:pt x="3846741" y="483510"/>
                  </a:moveTo>
                  <a:lnTo>
                    <a:pt x="241755" y="483510"/>
                  </a:lnTo>
                  <a:lnTo>
                    <a:pt x="0" y="241755"/>
                  </a:lnTo>
                  <a:lnTo>
                    <a:pt x="241755" y="1"/>
                  </a:lnTo>
                  <a:lnTo>
                    <a:pt x="3846741" y="1"/>
                  </a:lnTo>
                  <a:lnTo>
                    <a:pt x="3846741" y="483510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34093" tIns="45721" rIns="85344" bIns="45721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400" kern="1200" dirty="0">
                  <a:latin typeface="+mj-lt"/>
                </a:rPr>
                <a:t>Biggest Cleanliness Drive on the Planet covering more than 4000 cities </a:t>
              </a:r>
            </a:p>
          </p:txBody>
        </p:sp>
        <p:sp>
          <p:nvSpPr>
            <p:cNvPr id="13" name="Oval 12"/>
            <p:cNvSpPr/>
            <p:nvPr/>
          </p:nvSpPr>
          <p:spPr>
            <a:xfrm>
              <a:off x="5217637" y="1051271"/>
              <a:ext cx="483511" cy="483511"/>
            </a:xfrm>
            <a:prstGeom prst="ellipse">
              <a:avLst/>
            </a:prstGeom>
            <a:blipFill rotWithShape="1">
              <a:blip r:embed="rId8"/>
              <a:srcRect/>
              <a:stretch>
                <a:fillRect l="-10000" r="-10000"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5775704" y="1679113"/>
              <a:ext cx="4986083" cy="483513"/>
            </a:xfrm>
            <a:custGeom>
              <a:avLst/>
              <a:gdLst>
                <a:gd name="connsiteX0" fmla="*/ 0 w 3846741"/>
                <a:gd name="connsiteY0" fmla="*/ 0 h 483511"/>
                <a:gd name="connsiteX1" fmla="*/ 3604986 w 3846741"/>
                <a:gd name="connsiteY1" fmla="*/ 0 h 483511"/>
                <a:gd name="connsiteX2" fmla="*/ 3846741 w 3846741"/>
                <a:gd name="connsiteY2" fmla="*/ 241756 h 483511"/>
                <a:gd name="connsiteX3" fmla="*/ 3604986 w 3846741"/>
                <a:gd name="connsiteY3" fmla="*/ 483511 h 483511"/>
                <a:gd name="connsiteX4" fmla="*/ 0 w 3846741"/>
                <a:gd name="connsiteY4" fmla="*/ 483511 h 483511"/>
                <a:gd name="connsiteX5" fmla="*/ 0 w 3846741"/>
                <a:gd name="connsiteY5" fmla="*/ 0 h 48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6741" h="483511">
                  <a:moveTo>
                    <a:pt x="3846741" y="483510"/>
                  </a:moveTo>
                  <a:lnTo>
                    <a:pt x="241755" y="483510"/>
                  </a:lnTo>
                  <a:lnTo>
                    <a:pt x="0" y="241755"/>
                  </a:lnTo>
                  <a:lnTo>
                    <a:pt x="241755" y="1"/>
                  </a:lnTo>
                  <a:lnTo>
                    <a:pt x="3846741" y="1"/>
                  </a:lnTo>
                  <a:lnTo>
                    <a:pt x="3846741" y="483510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34093" tIns="45721" rIns="85344" bIns="45721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i="0" kern="1200" dirty="0">
                  <a:latin typeface="+mj-lt"/>
                </a:rPr>
                <a:t>Water Supply, Sewage networks and Stormwater Drainage in 500 Cities</a:t>
              </a:r>
              <a:endParaRPr lang="en-IN" sz="1400" kern="1200" dirty="0">
                <a:latin typeface="+mj-lt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5217637" y="1679114"/>
              <a:ext cx="483511" cy="483511"/>
            </a:xfrm>
            <a:prstGeom prst="ellipse">
              <a:avLst/>
            </a:prstGeom>
            <a:blipFill rotWithShape="1">
              <a:blip r:embed="rId9"/>
              <a:srcRect/>
              <a:stretch>
                <a:fillRect t="-1000" b="-1000"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5775702" y="2254315"/>
              <a:ext cx="4986083" cy="483512"/>
            </a:xfrm>
            <a:custGeom>
              <a:avLst/>
              <a:gdLst>
                <a:gd name="connsiteX0" fmla="*/ 0 w 3846741"/>
                <a:gd name="connsiteY0" fmla="*/ 0 h 483511"/>
                <a:gd name="connsiteX1" fmla="*/ 3604986 w 3846741"/>
                <a:gd name="connsiteY1" fmla="*/ 0 h 483511"/>
                <a:gd name="connsiteX2" fmla="*/ 3846741 w 3846741"/>
                <a:gd name="connsiteY2" fmla="*/ 241756 h 483511"/>
                <a:gd name="connsiteX3" fmla="*/ 3604986 w 3846741"/>
                <a:gd name="connsiteY3" fmla="*/ 483511 h 483511"/>
                <a:gd name="connsiteX4" fmla="*/ 0 w 3846741"/>
                <a:gd name="connsiteY4" fmla="*/ 483511 h 483511"/>
                <a:gd name="connsiteX5" fmla="*/ 0 w 3846741"/>
                <a:gd name="connsiteY5" fmla="*/ 0 h 48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6741" h="483511">
                  <a:moveTo>
                    <a:pt x="3846741" y="483510"/>
                  </a:moveTo>
                  <a:lnTo>
                    <a:pt x="241755" y="483510"/>
                  </a:lnTo>
                  <a:lnTo>
                    <a:pt x="0" y="241755"/>
                  </a:lnTo>
                  <a:lnTo>
                    <a:pt x="241755" y="1"/>
                  </a:lnTo>
                  <a:lnTo>
                    <a:pt x="3846741" y="1"/>
                  </a:lnTo>
                  <a:lnTo>
                    <a:pt x="3846741" y="483510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34093" tIns="45721" rIns="85344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400" kern="1200" dirty="0">
                  <a:latin typeface="+mj-lt"/>
                </a:rPr>
                <a:t>Seamless Connectivity within Cities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5217637" y="2306958"/>
              <a:ext cx="483511" cy="483511"/>
            </a:xfrm>
            <a:prstGeom prst="ellipse">
              <a:avLst/>
            </a:prstGeom>
            <a:blipFill rotWithShape="1">
              <a:blip r:embed="rId10"/>
              <a:srcRect/>
              <a:stretch>
                <a:fillRect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Freeform 17"/>
            <p:cNvSpPr/>
            <p:nvPr/>
          </p:nvSpPr>
          <p:spPr>
            <a:xfrm>
              <a:off x="5775703" y="2908061"/>
              <a:ext cx="4986083" cy="483512"/>
            </a:xfrm>
            <a:custGeom>
              <a:avLst/>
              <a:gdLst>
                <a:gd name="connsiteX0" fmla="*/ 0 w 3846741"/>
                <a:gd name="connsiteY0" fmla="*/ 0 h 483511"/>
                <a:gd name="connsiteX1" fmla="*/ 3604986 w 3846741"/>
                <a:gd name="connsiteY1" fmla="*/ 0 h 483511"/>
                <a:gd name="connsiteX2" fmla="*/ 3846741 w 3846741"/>
                <a:gd name="connsiteY2" fmla="*/ 241756 h 483511"/>
                <a:gd name="connsiteX3" fmla="*/ 3604986 w 3846741"/>
                <a:gd name="connsiteY3" fmla="*/ 483511 h 483511"/>
                <a:gd name="connsiteX4" fmla="*/ 0 w 3846741"/>
                <a:gd name="connsiteY4" fmla="*/ 483511 h 483511"/>
                <a:gd name="connsiteX5" fmla="*/ 0 w 3846741"/>
                <a:gd name="connsiteY5" fmla="*/ 0 h 48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6741" h="483511">
                  <a:moveTo>
                    <a:pt x="3846741" y="483510"/>
                  </a:moveTo>
                  <a:lnTo>
                    <a:pt x="241755" y="483510"/>
                  </a:lnTo>
                  <a:lnTo>
                    <a:pt x="0" y="241755"/>
                  </a:lnTo>
                  <a:lnTo>
                    <a:pt x="241755" y="1"/>
                  </a:lnTo>
                  <a:lnTo>
                    <a:pt x="3846741" y="1"/>
                  </a:lnTo>
                  <a:lnTo>
                    <a:pt x="3846741" y="483510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34093" tIns="41911" rIns="78232" bIns="41910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>
                  <a:solidFill>
                    <a:prstClr val="white"/>
                  </a:solidFill>
                  <a:latin typeface="+mj-lt"/>
                  <a:ea typeface="+mn-ea"/>
                  <a:cs typeface="+mn-cs"/>
                </a:rPr>
                <a:t>Development of core heritage infrastructure projects in 12 Cities</a:t>
              </a:r>
              <a:endParaRPr lang="en-IN" sz="1400" kern="1200" dirty="0">
                <a:solidFill>
                  <a:prstClr val="white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5217637" y="2934802"/>
              <a:ext cx="483511" cy="483511"/>
            </a:xfrm>
            <a:prstGeom prst="ellipse">
              <a:avLst/>
            </a:prstGeom>
            <a:blipFill rotWithShape="1">
              <a:blip r:embed="rId11"/>
              <a:srcRect/>
              <a:stretch>
                <a:fillRect t="-8000" b="-8000"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Freeform 19"/>
            <p:cNvSpPr/>
            <p:nvPr/>
          </p:nvSpPr>
          <p:spPr>
            <a:xfrm>
              <a:off x="5775702" y="3549274"/>
              <a:ext cx="4986083" cy="483512"/>
            </a:xfrm>
            <a:custGeom>
              <a:avLst/>
              <a:gdLst>
                <a:gd name="connsiteX0" fmla="*/ 0 w 3846741"/>
                <a:gd name="connsiteY0" fmla="*/ 0 h 483511"/>
                <a:gd name="connsiteX1" fmla="*/ 3604986 w 3846741"/>
                <a:gd name="connsiteY1" fmla="*/ 0 h 483511"/>
                <a:gd name="connsiteX2" fmla="*/ 3846741 w 3846741"/>
                <a:gd name="connsiteY2" fmla="*/ 241756 h 483511"/>
                <a:gd name="connsiteX3" fmla="*/ 3604986 w 3846741"/>
                <a:gd name="connsiteY3" fmla="*/ 483511 h 483511"/>
                <a:gd name="connsiteX4" fmla="*/ 0 w 3846741"/>
                <a:gd name="connsiteY4" fmla="*/ 483511 h 483511"/>
                <a:gd name="connsiteX5" fmla="*/ 0 w 3846741"/>
                <a:gd name="connsiteY5" fmla="*/ 0 h 48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6741" h="483511">
                  <a:moveTo>
                    <a:pt x="3846741" y="483510"/>
                  </a:moveTo>
                  <a:lnTo>
                    <a:pt x="241755" y="483510"/>
                  </a:lnTo>
                  <a:lnTo>
                    <a:pt x="0" y="241755"/>
                  </a:lnTo>
                  <a:lnTo>
                    <a:pt x="241755" y="1"/>
                  </a:lnTo>
                  <a:lnTo>
                    <a:pt x="3846741" y="1"/>
                  </a:lnTo>
                  <a:lnTo>
                    <a:pt x="3846741" y="483510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34093" tIns="45721" rIns="85344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i="0" kern="1200" dirty="0">
                  <a:latin typeface="+mj-lt"/>
                </a:rPr>
                <a:t>Organizing urban poor, creating opportunities for skill development leading to market-based employment</a:t>
              </a:r>
              <a:endParaRPr lang="en-IN" sz="1400" kern="1200" dirty="0">
                <a:latin typeface="+mj-lt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5217637" y="3562646"/>
              <a:ext cx="483511" cy="483511"/>
            </a:xfrm>
            <a:prstGeom prst="ellipse">
              <a:avLst/>
            </a:prstGeom>
            <a:blipFill rotWithShape="1">
              <a:blip r:embed="rId12"/>
              <a:srcRect/>
              <a:stretch>
                <a:fillRect l="-4000" r="-4000"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Freeform 21"/>
            <p:cNvSpPr/>
            <p:nvPr/>
          </p:nvSpPr>
          <p:spPr>
            <a:xfrm>
              <a:off x="5775702" y="4190488"/>
              <a:ext cx="4986083" cy="483512"/>
            </a:xfrm>
            <a:custGeom>
              <a:avLst/>
              <a:gdLst>
                <a:gd name="connsiteX0" fmla="*/ 0 w 3846741"/>
                <a:gd name="connsiteY0" fmla="*/ 0 h 483511"/>
                <a:gd name="connsiteX1" fmla="*/ 3604986 w 3846741"/>
                <a:gd name="connsiteY1" fmla="*/ 0 h 483511"/>
                <a:gd name="connsiteX2" fmla="*/ 3846741 w 3846741"/>
                <a:gd name="connsiteY2" fmla="*/ 241756 h 483511"/>
                <a:gd name="connsiteX3" fmla="*/ 3604986 w 3846741"/>
                <a:gd name="connsiteY3" fmla="*/ 483511 h 483511"/>
                <a:gd name="connsiteX4" fmla="*/ 0 w 3846741"/>
                <a:gd name="connsiteY4" fmla="*/ 483511 h 483511"/>
                <a:gd name="connsiteX5" fmla="*/ 0 w 3846741"/>
                <a:gd name="connsiteY5" fmla="*/ 0 h 483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46741" h="483511">
                  <a:moveTo>
                    <a:pt x="3846741" y="483510"/>
                  </a:moveTo>
                  <a:lnTo>
                    <a:pt x="241755" y="483510"/>
                  </a:lnTo>
                  <a:lnTo>
                    <a:pt x="0" y="241755"/>
                  </a:lnTo>
                  <a:lnTo>
                    <a:pt x="241755" y="1"/>
                  </a:lnTo>
                  <a:lnTo>
                    <a:pt x="3846741" y="1"/>
                  </a:lnTo>
                  <a:lnTo>
                    <a:pt x="3846741" y="483510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34093" tIns="45721" rIns="85344" bIns="457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400" i="0" kern="1200" dirty="0">
                  <a:latin typeface="+mj-lt"/>
                </a:rPr>
                <a:t>Affordable housing for Urban Poor with20 Million Houses by March, 2022</a:t>
              </a:r>
              <a:endParaRPr lang="en-IN" sz="1400" kern="1200" dirty="0">
                <a:latin typeface="+mj-lt"/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5217637" y="4190489"/>
              <a:ext cx="483511" cy="483511"/>
            </a:xfrm>
            <a:prstGeom prst="ellipse">
              <a:avLst/>
            </a:prstGeom>
            <a:blipFill rotWithShape="1">
              <a:blip r:embed="rId13"/>
              <a:srcRect/>
              <a:stretch>
                <a:fillRect l="-33000" r="-33000"/>
              </a:stretch>
            </a:blipFill>
            <a:scene3d>
              <a:camera prst="orthographicFront"/>
              <a:lightRig rig="flat" dir="t"/>
            </a:scene3d>
            <a:sp3d z="127000" prstMaterial="plastic">
              <a:bevelT w="88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423552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987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4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cial Equity </a:t>
            </a:r>
            <a:r>
              <a:rPr lang="en-GB" dirty="0" err="1"/>
              <a:t>Centers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t="48609" b="6237"/>
          <a:stretch/>
        </p:blipFill>
        <p:spPr>
          <a:xfrm>
            <a:off x="0" y="1457179"/>
            <a:ext cx="12100560" cy="4547381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8" name="Rectangle 7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7" name="Group 176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7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8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299" name="Group 298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0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1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8" name="Group 177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79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0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074393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2600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6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Abilities Park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9513"/>
            <a:ext cx="12161520" cy="4550979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8" name="Rectangle 7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7" name="Group 176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7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8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299" name="Group 298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0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1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8" name="Group 177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79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0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718462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6697848" y="2231110"/>
            <a:ext cx="5189337" cy="3615508"/>
            <a:chOff x="3192663" y="2231110"/>
            <a:chExt cx="5802635" cy="4626890"/>
          </a:xfrm>
        </p:grpSpPr>
        <p:sp>
          <p:nvSpPr>
            <p:cNvPr id="11" name="Rectangle 10"/>
            <p:cNvSpPr/>
            <p:nvPr/>
          </p:nvSpPr>
          <p:spPr>
            <a:xfrm>
              <a:off x="5839449" y="275127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836733" y="326555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836733" y="378186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836733" y="430452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836733" y="482083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836733" y="533714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836733" y="585345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836733" y="636342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797765" y="326373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797765" y="378004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97765" y="430270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797765" y="481901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88657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886571" y="378639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886571" y="429817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886571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268765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268765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268765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268765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726188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726188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726188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726188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268765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726188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268765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726188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721662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732532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197189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197189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192663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203532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203532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209876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424622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424622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424622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7424622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424622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7424622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7962673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7962673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962673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7962673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962673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7962673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7958147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7969016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849438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8494381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8489855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500724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8500724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8496198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7" name="Rectangle 66"/>
          <p:cNvSpPr/>
          <p:nvPr/>
        </p:nvSpPr>
        <p:spPr>
          <a:xfrm>
            <a:off x="9050971" y="1990167"/>
            <a:ext cx="494574" cy="4945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8534658" y="1413164"/>
            <a:ext cx="494574" cy="494574"/>
          </a:xfrm>
          <a:prstGeom prst="rect">
            <a:avLst/>
          </a:prstGeom>
          <a:solidFill>
            <a:srgbClr val="F99D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/>
        </p:nvSpPr>
        <p:spPr>
          <a:xfrm>
            <a:off x="9578153" y="1413164"/>
            <a:ext cx="494574" cy="494574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itle 126"/>
          <p:cNvSpPr txBox="1">
            <a:spLocks/>
          </p:cNvSpPr>
          <p:nvPr/>
        </p:nvSpPr>
        <p:spPr>
          <a:xfrm>
            <a:off x="0" y="3425902"/>
            <a:ext cx="11063112" cy="7073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dirty="0">
                <a:solidFill>
                  <a:srgbClr val="516283"/>
                </a:solidFill>
              </a:rPr>
              <a:t>Focus Areas @</a:t>
            </a:r>
          </a:p>
        </p:txBody>
      </p:sp>
      <p:sp>
        <p:nvSpPr>
          <p:cNvPr id="71" name="Rectangle 70"/>
          <p:cNvSpPr/>
          <p:nvPr/>
        </p:nvSpPr>
        <p:spPr>
          <a:xfrm>
            <a:off x="190494" y="5078790"/>
            <a:ext cx="2610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516283"/>
                </a:solidFill>
              </a:rPr>
              <a:t>Mission Transform-Nation</a:t>
            </a:r>
            <a:endParaRPr lang="en-GB" dirty="0">
              <a:solidFill>
                <a:srgbClr val="516283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-37246" y="3934892"/>
            <a:ext cx="470103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>
                <a:solidFill>
                  <a:srgbClr val="516283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rPr>
              <a:t>Smart Cities Mission </a:t>
            </a:r>
            <a:endParaRPr lang="en-IN" sz="4400" dirty="0">
              <a:solidFill>
                <a:srgbClr val="516283"/>
              </a:solidFill>
              <a:latin typeface="Roboto Black" panose="02000000000000000000" pitchFamily="2" charset="0"/>
              <a:ea typeface="Roboto Black" panose="02000000000000000000" pitchFamily="2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54901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281B13DB-871A-4CCA-86E1-88491AF2B2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0315358"/>
              </p:ext>
            </p:extLst>
          </p:nvPr>
        </p:nvGraphicFramePr>
        <p:xfrm>
          <a:off x="562707" y="1448973"/>
          <a:ext cx="11422966" cy="4378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63112" cy="707319"/>
          </a:xfrm>
        </p:spPr>
        <p:txBody>
          <a:bodyPr/>
          <a:lstStyle/>
          <a:p>
            <a:r>
              <a:rPr lang="en-US" dirty="0"/>
              <a:t>Mission Strateg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7303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29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1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34169" name="Rectangle 34168"/>
          <p:cNvSpPr/>
          <p:nvPr/>
        </p:nvSpPr>
        <p:spPr>
          <a:xfrm>
            <a:off x="10266217" y="1600199"/>
            <a:ext cx="1797627" cy="50811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ase of living Index for 2019 </a:t>
            </a:r>
            <a:endParaRPr lang="en-GB" dirty="0"/>
          </a:p>
        </p:txBody>
      </p:sp>
      <p:grpSp>
        <p:nvGrpSpPr>
          <p:cNvPr id="33960" name="Group 388"/>
          <p:cNvGrpSpPr>
            <a:grpSpLocks noChangeAspect="1"/>
          </p:cNvGrpSpPr>
          <p:nvPr/>
        </p:nvGrpSpPr>
        <p:grpSpPr bwMode="auto">
          <a:xfrm>
            <a:off x="6497845" y="4775778"/>
            <a:ext cx="3435350" cy="1822450"/>
            <a:chOff x="4665" y="3172"/>
            <a:chExt cx="2164" cy="1148"/>
          </a:xfrm>
        </p:grpSpPr>
        <p:sp>
          <p:nvSpPr>
            <p:cNvPr id="33961" name="AutoShape 387"/>
            <p:cNvSpPr>
              <a:spLocks noChangeAspect="1" noChangeArrowheads="1" noTextEdit="1"/>
            </p:cNvSpPr>
            <p:nvPr/>
          </p:nvSpPr>
          <p:spPr bwMode="auto">
            <a:xfrm>
              <a:off x="4895" y="3257"/>
              <a:ext cx="1906" cy="1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62" name="Rectangle 389"/>
            <p:cNvSpPr>
              <a:spLocks noChangeArrowheads="1"/>
            </p:cNvSpPr>
            <p:nvPr/>
          </p:nvSpPr>
          <p:spPr bwMode="auto">
            <a:xfrm>
              <a:off x="4665" y="3172"/>
              <a:ext cx="1856" cy="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Times New Roman" panose="02020603050405020304" pitchFamily="18" charset="0"/>
                </a:rPr>
                <a:t>EASE OF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endParaRPr>
            </a:p>
          </p:txBody>
        </p:sp>
        <p:sp>
          <p:nvSpPr>
            <p:cNvPr id="33963" name="Rectangle 390"/>
            <p:cNvSpPr>
              <a:spLocks noChangeArrowheads="1"/>
            </p:cNvSpPr>
            <p:nvPr/>
          </p:nvSpPr>
          <p:spPr bwMode="auto">
            <a:xfrm>
              <a:off x="4968" y="3674"/>
              <a:ext cx="1585" cy="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57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Times New Roman" panose="02020603050405020304" pitchFamily="18" charset="0"/>
                </a:rPr>
                <a:t>LIVING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endParaRPr>
            </a:p>
          </p:txBody>
        </p:sp>
        <p:sp>
          <p:nvSpPr>
            <p:cNvPr id="33964" name="Rectangle 391"/>
            <p:cNvSpPr>
              <a:spLocks noChangeArrowheads="1"/>
            </p:cNvSpPr>
            <p:nvPr/>
          </p:nvSpPr>
          <p:spPr bwMode="auto">
            <a:xfrm>
              <a:off x="6611" y="3304"/>
              <a:ext cx="190" cy="842"/>
            </a:xfrm>
            <a:prstGeom prst="rect">
              <a:avLst/>
            </a:prstGeom>
            <a:solidFill>
              <a:srgbClr val="BF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65" name="Rectangle 392"/>
            <p:cNvSpPr>
              <a:spLocks noChangeArrowheads="1"/>
            </p:cNvSpPr>
            <p:nvPr/>
          </p:nvSpPr>
          <p:spPr bwMode="auto">
            <a:xfrm rot="16200000">
              <a:off x="6330" y="3579"/>
              <a:ext cx="789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800" b="0" i="0" u="none" strike="noStrike" cap="none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latin typeface="Roboto" panose="02000000000000000000" pitchFamily="2" charset="0"/>
                </a:rPr>
                <a:t>Index 2019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pSp>
        <p:nvGrpSpPr>
          <p:cNvPr id="34167" name="Group 34166"/>
          <p:cNvGrpSpPr/>
          <p:nvPr/>
        </p:nvGrpSpPr>
        <p:grpSpPr>
          <a:xfrm>
            <a:off x="10656115" y="4872360"/>
            <a:ext cx="1059207" cy="536553"/>
            <a:chOff x="8375737" y="6233571"/>
            <a:chExt cx="806284" cy="408432"/>
          </a:xfrm>
        </p:grpSpPr>
        <p:sp>
          <p:nvSpPr>
            <p:cNvPr id="33971" name="Freeform 10451"/>
            <p:cNvSpPr>
              <a:spLocks noEditPoints="1"/>
            </p:cNvSpPr>
            <p:nvPr/>
          </p:nvSpPr>
          <p:spPr bwMode="auto">
            <a:xfrm>
              <a:off x="8375737" y="6529843"/>
              <a:ext cx="40208" cy="35976"/>
            </a:xfrm>
            <a:custGeom>
              <a:avLst/>
              <a:gdLst>
                <a:gd name="T0" fmla="*/ 0 w 8"/>
                <a:gd name="T1" fmla="*/ 7 h 7"/>
                <a:gd name="T2" fmla="*/ 0 w 8"/>
                <a:gd name="T3" fmla="*/ 7 h 7"/>
                <a:gd name="T4" fmla="*/ 0 w 8"/>
                <a:gd name="T5" fmla="*/ 7 h 7"/>
                <a:gd name="T6" fmla="*/ 1 w 8"/>
                <a:gd name="T7" fmla="*/ 7 h 7"/>
                <a:gd name="T8" fmla="*/ 1 w 8"/>
                <a:gd name="T9" fmla="*/ 6 h 7"/>
                <a:gd name="T10" fmla="*/ 3 w 8"/>
                <a:gd name="T11" fmla="*/ 2 h 7"/>
                <a:gd name="T12" fmla="*/ 5 w 8"/>
                <a:gd name="T13" fmla="*/ 0 h 7"/>
                <a:gd name="T14" fmla="*/ 6 w 8"/>
                <a:gd name="T15" fmla="*/ 0 h 7"/>
                <a:gd name="T16" fmla="*/ 6 w 8"/>
                <a:gd name="T17" fmla="*/ 2 h 7"/>
                <a:gd name="T18" fmla="*/ 7 w 8"/>
                <a:gd name="T19" fmla="*/ 6 h 7"/>
                <a:gd name="T20" fmla="*/ 7 w 8"/>
                <a:gd name="T21" fmla="*/ 7 h 7"/>
                <a:gd name="T22" fmla="*/ 7 w 8"/>
                <a:gd name="T23" fmla="*/ 7 h 7"/>
                <a:gd name="T24" fmla="*/ 8 w 8"/>
                <a:gd name="T25" fmla="*/ 7 h 7"/>
                <a:gd name="T26" fmla="*/ 8 w 8"/>
                <a:gd name="T27" fmla="*/ 7 h 7"/>
                <a:gd name="T28" fmla="*/ 6 w 8"/>
                <a:gd name="T29" fmla="*/ 7 h 7"/>
                <a:gd name="T30" fmla="*/ 4 w 8"/>
                <a:gd name="T31" fmla="*/ 7 h 7"/>
                <a:gd name="T32" fmla="*/ 4 w 8"/>
                <a:gd name="T33" fmla="*/ 7 h 7"/>
                <a:gd name="T34" fmla="*/ 5 w 8"/>
                <a:gd name="T35" fmla="*/ 7 h 7"/>
                <a:gd name="T36" fmla="*/ 5 w 8"/>
                <a:gd name="T37" fmla="*/ 7 h 7"/>
                <a:gd name="T38" fmla="*/ 5 w 8"/>
                <a:gd name="T39" fmla="*/ 6 h 7"/>
                <a:gd name="T40" fmla="*/ 5 w 8"/>
                <a:gd name="T41" fmla="*/ 4 h 7"/>
                <a:gd name="T42" fmla="*/ 5 w 8"/>
                <a:gd name="T43" fmla="*/ 4 h 7"/>
                <a:gd name="T44" fmla="*/ 3 w 8"/>
                <a:gd name="T45" fmla="*/ 4 h 7"/>
                <a:gd name="T46" fmla="*/ 2 w 8"/>
                <a:gd name="T47" fmla="*/ 6 h 7"/>
                <a:gd name="T48" fmla="*/ 2 w 8"/>
                <a:gd name="T49" fmla="*/ 7 h 7"/>
                <a:gd name="T50" fmla="*/ 2 w 8"/>
                <a:gd name="T51" fmla="*/ 7 h 7"/>
                <a:gd name="T52" fmla="*/ 2 w 8"/>
                <a:gd name="T53" fmla="*/ 7 h 7"/>
                <a:gd name="T54" fmla="*/ 3 w 8"/>
                <a:gd name="T55" fmla="*/ 7 h 7"/>
                <a:gd name="T56" fmla="*/ 2 w 8"/>
                <a:gd name="T57" fmla="*/ 7 h 7"/>
                <a:gd name="T58" fmla="*/ 1 w 8"/>
                <a:gd name="T59" fmla="*/ 7 h 7"/>
                <a:gd name="T60" fmla="*/ 0 w 8"/>
                <a:gd name="T61" fmla="*/ 7 h 7"/>
                <a:gd name="T62" fmla="*/ 3 w 8"/>
                <a:gd name="T63" fmla="*/ 4 h 7"/>
                <a:gd name="T64" fmla="*/ 3 w 8"/>
                <a:gd name="T65" fmla="*/ 4 h 7"/>
                <a:gd name="T66" fmla="*/ 5 w 8"/>
                <a:gd name="T67" fmla="*/ 4 h 7"/>
                <a:gd name="T68" fmla="*/ 5 w 8"/>
                <a:gd name="T69" fmla="*/ 1 h 7"/>
                <a:gd name="T70" fmla="*/ 3 w 8"/>
                <a:gd name="T7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7" y="4"/>
                    <a:pt x="7" y="5"/>
                    <a:pt x="7" y="6"/>
                  </a:cubicBezTo>
                  <a:cubicBezTo>
                    <a:pt x="7" y="6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lnTo>
                    <a:pt x="0" y="7"/>
                  </a:lnTo>
                  <a:close/>
                  <a:moveTo>
                    <a:pt x="3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" y="1"/>
                    <a:pt x="5" y="1"/>
                    <a:pt x="5" y="1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2" name="Freeform 10452"/>
            <p:cNvSpPr>
              <a:spLocks/>
            </p:cNvSpPr>
            <p:nvPr/>
          </p:nvSpPr>
          <p:spPr bwMode="auto">
            <a:xfrm>
              <a:off x="8422294" y="6529843"/>
              <a:ext cx="19046" cy="35976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6 h 7"/>
                <a:gd name="T4" fmla="*/ 2 w 4"/>
                <a:gd name="T5" fmla="*/ 7 h 7"/>
                <a:gd name="T6" fmla="*/ 1 w 4"/>
                <a:gd name="T7" fmla="*/ 7 h 7"/>
                <a:gd name="T8" fmla="*/ 1 w 4"/>
                <a:gd name="T9" fmla="*/ 7 h 7"/>
                <a:gd name="T10" fmla="*/ 0 w 4"/>
                <a:gd name="T11" fmla="*/ 7 h 7"/>
                <a:gd name="T12" fmla="*/ 0 w 4"/>
                <a:gd name="T13" fmla="*/ 7 h 7"/>
                <a:gd name="T14" fmla="*/ 0 w 4"/>
                <a:gd name="T15" fmla="*/ 6 h 7"/>
                <a:gd name="T16" fmla="*/ 1 w 4"/>
                <a:gd name="T17" fmla="*/ 4 h 7"/>
                <a:gd name="T18" fmla="*/ 1 w 4"/>
                <a:gd name="T19" fmla="*/ 3 h 7"/>
                <a:gd name="T20" fmla="*/ 0 w 4"/>
                <a:gd name="T21" fmla="*/ 3 h 7"/>
                <a:gd name="T22" fmla="*/ 0 w 4"/>
                <a:gd name="T23" fmla="*/ 2 h 7"/>
                <a:gd name="T24" fmla="*/ 1 w 4"/>
                <a:gd name="T25" fmla="*/ 2 h 7"/>
                <a:gd name="T26" fmla="*/ 1 w 4"/>
                <a:gd name="T27" fmla="*/ 2 h 7"/>
                <a:gd name="T28" fmla="*/ 1 w 4"/>
                <a:gd name="T29" fmla="*/ 1 h 7"/>
                <a:gd name="T30" fmla="*/ 2 w 4"/>
                <a:gd name="T31" fmla="*/ 0 h 7"/>
                <a:gd name="T32" fmla="*/ 3 w 4"/>
                <a:gd name="T33" fmla="*/ 0 h 7"/>
                <a:gd name="T34" fmla="*/ 3 w 4"/>
                <a:gd name="T35" fmla="*/ 0 h 7"/>
                <a:gd name="T36" fmla="*/ 2 w 4"/>
                <a:gd name="T37" fmla="*/ 2 h 7"/>
                <a:gd name="T38" fmla="*/ 3 w 4"/>
                <a:gd name="T39" fmla="*/ 2 h 7"/>
                <a:gd name="T40" fmla="*/ 4 w 4"/>
                <a:gd name="T41" fmla="*/ 2 h 7"/>
                <a:gd name="T42" fmla="*/ 4 w 4"/>
                <a:gd name="T43" fmla="*/ 2 h 7"/>
                <a:gd name="T44" fmla="*/ 4 w 4"/>
                <a:gd name="T45" fmla="*/ 3 h 7"/>
                <a:gd name="T46" fmla="*/ 3 w 4"/>
                <a:gd name="T47" fmla="*/ 3 h 7"/>
                <a:gd name="T48" fmla="*/ 2 w 4"/>
                <a:gd name="T49" fmla="*/ 3 h 7"/>
                <a:gd name="T50" fmla="*/ 2 w 4"/>
                <a:gd name="T51" fmla="*/ 4 h 7"/>
                <a:gd name="T52" fmla="*/ 2 w 4"/>
                <a:gd name="T53" fmla="*/ 5 h 7"/>
                <a:gd name="T54" fmla="*/ 1 w 4"/>
                <a:gd name="T55" fmla="*/ 6 h 7"/>
                <a:gd name="T56" fmla="*/ 1 w 4"/>
                <a:gd name="T57" fmla="*/ 6 h 7"/>
                <a:gd name="T58" fmla="*/ 2 w 4"/>
                <a:gd name="T59" fmla="*/ 6 h 7"/>
                <a:gd name="T60" fmla="*/ 2 w 4"/>
                <a:gd name="T61" fmla="*/ 6 h 7"/>
                <a:gd name="T62" fmla="*/ 2 w 4"/>
                <a:gd name="T63" fmla="*/ 6 h 7"/>
                <a:gd name="T64" fmla="*/ 3 w 4"/>
                <a:gd name="T6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5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3" name="Freeform 10453"/>
            <p:cNvSpPr>
              <a:spLocks noEditPoints="1"/>
            </p:cNvSpPr>
            <p:nvPr/>
          </p:nvSpPr>
          <p:spPr bwMode="auto">
            <a:xfrm>
              <a:off x="8441340" y="6538308"/>
              <a:ext cx="25395" cy="27511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4 h 5"/>
                <a:gd name="T4" fmla="*/ 3 w 5"/>
                <a:gd name="T5" fmla="*/ 5 h 5"/>
                <a:gd name="T6" fmla="*/ 3 w 5"/>
                <a:gd name="T7" fmla="*/ 5 h 5"/>
                <a:gd name="T8" fmla="*/ 3 w 5"/>
                <a:gd name="T9" fmla="*/ 5 h 5"/>
                <a:gd name="T10" fmla="*/ 3 w 5"/>
                <a:gd name="T11" fmla="*/ 4 h 5"/>
                <a:gd name="T12" fmla="*/ 3 w 5"/>
                <a:gd name="T13" fmla="*/ 3 h 5"/>
                <a:gd name="T14" fmla="*/ 3 w 5"/>
                <a:gd name="T15" fmla="*/ 4 h 5"/>
                <a:gd name="T16" fmla="*/ 2 w 5"/>
                <a:gd name="T17" fmla="*/ 5 h 5"/>
                <a:gd name="T18" fmla="*/ 1 w 5"/>
                <a:gd name="T19" fmla="*/ 5 h 5"/>
                <a:gd name="T20" fmla="*/ 1 w 5"/>
                <a:gd name="T21" fmla="*/ 5 h 5"/>
                <a:gd name="T22" fmla="*/ 0 w 5"/>
                <a:gd name="T23" fmla="*/ 5 h 5"/>
                <a:gd name="T24" fmla="*/ 0 w 5"/>
                <a:gd name="T25" fmla="*/ 4 h 5"/>
                <a:gd name="T26" fmla="*/ 0 w 5"/>
                <a:gd name="T27" fmla="*/ 3 h 5"/>
                <a:gd name="T28" fmla="*/ 1 w 5"/>
                <a:gd name="T29" fmla="*/ 1 h 5"/>
                <a:gd name="T30" fmla="*/ 2 w 5"/>
                <a:gd name="T31" fmla="*/ 1 h 5"/>
                <a:gd name="T32" fmla="*/ 2 w 5"/>
                <a:gd name="T33" fmla="*/ 0 h 5"/>
                <a:gd name="T34" fmla="*/ 3 w 5"/>
                <a:gd name="T35" fmla="*/ 0 h 5"/>
                <a:gd name="T36" fmla="*/ 4 w 5"/>
                <a:gd name="T37" fmla="*/ 0 h 5"/>
                <a:gd name="T38" fmla="*/ 4 w 5"/>
                <a:gd name="T39" fmla="*/ 0 h 5"/>
                <a:gd name="T40" fmla="*/ 5 w 5"/>
                <a:gd name="T41" fmla="*/ 0 h 5"/>
                <a:gd name="T42" fmla="*/ 5 w 5"/>
                <a:gd name="T43" fmla="*/ 0 h 5"/>
                <a:gd name="T44" fmla="*/ 5 w 5"/>
                <a:gd name="T45" fmla="*/ 1 h 5"/>
                <a:gd name="T46" fmla="*/ 4 w 5"/>
                <a:gd name="T47" fmla="*/ 4 h 5"/>
                <a:gd name="T48" fmla="*/ 4 w 5"/>
                <a:gd name="T49" fmla="*/ 4 h 5"/>
                <a:gd name="T50" fmla="*/ 4 w 5"/>
                <a:gd name="T51" fmla="*/ 4 h 5"/>
                <a:gd name="T52" fmla="*/ 4 w 5"/>
                <a:gd name="T53" fmla="*/ 4 h 5"/>
                <a:gd name="T54" fmla="*/ 5 w 5"/>
                <a:gd name="T55" fmla="*/ 4 h 5"/>
                <a:gd name="T56" fmla="*/ 5 w 5"/>
                <a:gd name="T57" fmla="*/ 4 h 5"/>
                <a:gd name="T58" fmla="*/ 4 w 5"/>
                <a:gd name="T59" fmla="*/ 1 h 5"/>
                <a:gd name="T60" fmla="*/ 3 w 5"/>
                <a:gd name="T61" fmla="*/ 1 h 5"/>
                <a:gd name="T62" fmla="*/ 3 w 5"/>
                <a:gd name="T63" fmla="*/ 1 h 5"/>
                <a:gd name="T64" fmla="*/ 2 w 5"/>
                <a:gd name="T65" fmla="*/ 1 h 5"/>
                <a:gd name="T66" fmla="*/ 2 w 5"/>
                <a:gd name="T67" fmla="*/ 2 h 5"/>
                <a:gd name="T68" fmla="*/ 1 w 5"/>
                <a:gd name="T69" fmla="*/ 4 h 5"/>
                <a:gd name="T70" fmla="*/ 1 w 5"/>
                <a:gd name="T71" fmla="*/ 4 h 5"/>
                <a:gd name="T72" fmla="*/ 1 w 5"/>
                <a:gd name="T73" fmla="*/ 4 h 5"/>
                <a:gd name="T74" fmla="*/ 2 w 5"/>
                <a:gd name="T75" fmla="*/ 4 h 5"/>
                <a:gd name="T76" fmla="*/ 3 w 5"/>
                <a:gd name="T77" fmla="*/ 3 h 5"/>
                <a:gd name="T78" fmla="*/ 3 w 5"/>
                <a:gd name="T79" fmla="*/ 2 h 5"/>
                <a:gd name="T80" fmla="*/ 4 w 5"/>
                <a:gd name="T8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moveTo>
                    <a:pt x="4" y="1"/>
                  </a:move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4" y="1"/>
                    <a:pt x="4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4" name="Freeform 10454"/>
            <p:cNvSpPr>
              <a:spLocks/>
            </p:cNvSpPr>
            <p:nvPr/>
          </p:nvSpPr>
          <p:spPr bwMode="auto">
            <a:xfrm>
              <a:off x="8470967" y="6523494"/>
              <a:ext cx="14814" cy="42325"/>
            </a:xfrm>
            <a:custGeom>
              <a:avLst/>
              <a:gdLst>
                <a:gd name="T0" fmla="*/ 3 w 3"/>
                <a:gd name="T1" fmla="*/ 7 h 8"/>
                <a:gd name="T2" fmla="*/ 3 w 3"/>
                <a:gd name="T3" fmla="*/ 7 h 8"/>
                <a:gd name="T4" fmla="*/ 2 w 3"/>
                <a:gd name="T5" fmla="*/ 8 h 8"/>
                <a:gd name="T6" fmla="*/ 1 w 3"/>
                <a:gd name="T7" fmla="*/ 8 h 8"/>
                <a:gd name="T8" fmla="*/ 1 w 3"/>
                <a:gd name="T9" fmla="*/ 8 h 8"/>
                <a:gd name="T10" fmla="*/ 1 w 3"/>
                <a:gd name="T11" fmla="*/ 8 h 8"/>
                <a:gd name="T12" fmla="*/ 0 w 3"/>
                <a:gd name="T13" fmla="*/ 8 h 8"/>
                <a:gd name="T14" fmla="*/ 1 w 3"/>
                <a:gd name="T15" fmla="*/ 7 h 8"/>
                <a:gd name="T16" fmla="*/ 1 w 3"/>
                <a:gd name="T17" fmla="*/ 6 h 8"/>
                <a:gd name="T18" fmla="*/ 2 w 3"/>
                <a:gd name="T19" fmla="*/ 2 h 8"/>
                <a:gd name="T20" fmla="*/ 2 w 3"/>
                <a:gd name="T21" fmla="*/ 2 h 8"/>
                <a:gd name="T22" fmla="*/ 2 w 3"/>
                <a:gd name="T23" fmla="*/ 1 h 8"/>
                <a:gd name="T24" fmla="*/ 2 w 3"/>
                <a:gd name="T25" fmla="*/ 1 h 8"/>
                <a:gd name="T26" fmla="*/ 2 w 3"/>
                <a:gd name="T27" fmla="*/ 1 h 8"/>
                <a:gd name="T28" fmla="*/ 2 w 3"/>
                <a:gd name="T29" fmla="*/ 1 h 8"/>
                <a:gd name="T30" fmla="*/ 1 w 3"/>
                <a:gd name="T31" fmla="*/ 1 h 8"/>
                <a:gd name="T32" fmla="*/ 1 w 3"/>
                <a:gd name="T33" fmla="*/ 1 h 8"/>
                <a:gd name="T34" fmla="*/ 3 w 3"/>
                <a:gd name="T35" fmla="*/ 0 h 8"/>
                <a:gd name="T36" fmla="*/ 3 w 3"/>
                <a:gd name="T37" fmla="*/ 0 h 8"/>
                <a:gd name="T38" fmla="*/ 3 w 3"/>
                <a:gd name="T39" fmla="*/ 3 h 8"/>
                <a:gd name="T40" fmla="*/ 2 w 3"/>
                <a:gd name="T41" fmla="*/ 6 h 8"/>
                <a:gd name="T42" fmla="*/ 2 w 3"/>
                <a:gd name="T43" fmla="*/ 7 h 8"/>
                <a:gd name="T44" fmla="*/ 2 w 3"/>
                <a:gd name="T45" fmla="*/ 7 h 8"/>
                <a:gd name="T46" fmla="*/ 2 w 3"/>
                <a:gd name="T47" fmla="*/ 7 h 8"/>
                <a:gd name="T48" fmla="*/ 2 w 3"/>
                <a:gd name="T49" fmla="*/ 7 h 8"/>
                <a:gd name="T50" fmla="*/ 2 w 3"/>
                <a:gd name="T51" fmla="*/ 7 h 8"/>
                <a:gd name="T52" fmla="*/ 3 w 3"/>
                <a:gd name="T5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" h="8"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5" name="Freeform 10455"/>
            <p:cNvSpPr>
              <a:spLocks/>
            </p:cNvSpPr>
            <p:nvPr/>
          </p:nvSpPr>
          <p:spPr bwMode="auto">
            <a:xfrm>
              <a:off x="8500594" y="6529843"/>
              <a:ext cx="55022" cy="35976"/>
            </a:xfrm>
            <a:custGeom>
              <a:avLst/>
              <a:gdLst>
                <a:gd name="T0" fmla="*/ 0 w 11"/>
                <a:gd name="T1" fmla="*/ 7 h 7"/>
                <a:gd name="T2" fmla="*/ 0 w 11"/>
                <a:gd name="T3" fmla="*/ 7 h 7"/>
                <a:gd name="T4" fmla="*/ 0 w 11"/>
                <a:gd name="T5" fmla="*/ 7 h 7"/>
                <a:gd name="T6" fmla="*/ 1 w 11"/>
                <a:gd name="T7" fmla="*/ 7 h 7"/>
                <a:gd name="T8" fmla="*/ 1 w 11"/>
                <a:gd name="T9" fmla="*/ 6 h 7"/>
                <a:gd name="T10" fmla="*/ 1 w 11"/>
                <a:gd name="T11" fmla="*/ 5 h 7"/>
                <a:gd name="T12" fmla="*/ 2 w 11"/>
                <a:gd name="T13" fmla="*/ 1 h 7"/>
                <a:gd name="T14" fmla="*/ 2 w 11"/>
                <a:gd name="T15" fmla="*/ 0 h 7"/>
                <a:gd name="T16" fmla="*/ 2 w 11"/>
                <a:gd name="T17" fmla="*/ 0 h 7"/>
                <a:gd name="T18" fmla="*/ 1 w 11"/>
                <a:gd name="T19" fmla="*/ 0 h 7"/>
                <a:gd name="T20" fmla="*/ 1 w 11"/>
                <a:gd name="T21" fmla="*/ 0 h 7"/>
                <a:gd name="T22" fmla="*/ 2 w 11"/>
                <a:gd name="T23" fmla="*/ 0 h 7"/>
                <a:gd name="T24" fmla="*/ 4 w 11"/>
                <a:gd name="T25" fmla="*/ 0 h 7"/>
                <a:gd name="T26" fmla="*/ 4 w 11"/>
                <a:gd name="T27" fmla="*/ 1 h 7"/>
                <a:gd name="T28" fmla="*/ 5 w 11"/>
                <a:gd name="T29" fmla="*/ 5 h 7"/>
                <a:gd name="T30" fmla="*/ 6 w 11"/>
                <a:gd name="T31" fmla="*/ 3 h 7"/>
                <a:gd name="T32" fmla="*/ 8 w 11"/>
                <a:gd name="T33" fmla="*/ 1 h 7"/>
                <a:gd name="T34" fmla="*/ 9 w 11"/>
                <a:gd name="T35" fmla="*/ 0 h 7"/>
                <a:gd name="T36" fmla="*/ 9 w 11"/>
                <a:gd name="T37" fmla="*/ 0 h 7"/>
                <a:gd name="T38" fmla="*/ 9 w 11"/>
                <a:gd name="T39" fmla="*/ 0 h 7"/>
                <a:gd name="T40" fmla="*/ 11 w 11"/>
                <a:gd name="T41" fmla="*/ 0 h 7"/>
                <a:gd name="T42" fmla="*/ 11 w 11"/>
                <a:gd name="T43" fmla="*/ 0 h 7"/>
                <a:gd name="T44" fmla="*/ 10 w 11"/>
                <a:gd name="T45" fmla="*/ 0 h 7"/>
                <a:gd name="T46" fmla="*/ 10 w 11"/>
                <a:gd name="T47" fmla="*/ 0 h 7"/>
                <a:gd name="T48" fmla="*/ 10 w 11"/>
                <a:gd name="T49" fmla="*/ 1 h 7"/>
                <a:gd name="T50" fmla="*/ 10 w 11"/>
                <a:gd name="T51" fmla="*/ 2 h 7"/>
                <a:gd name="T52" fmla="*/ 9 w 11"/>
                <a:gd name="T53" fmla="*/ 5 h 7"/>
                <a:gd name="T54" fmla="*/ 9 w 11"/>
                <a:gd name="T55" fmla="*/ 6 h 7"/>
                <a:gd name="T56" fmla="*/ 9 w 11"/>
                <a:gd name="T57" fmla="*/ 7 h 7"/>
                <a:gd name="T58" fmla="*/ 10 w 11"/>
                <a:gd name="T59" fmla="*/ 7 h 7"/>
                <a:gd name="T60" fmla="*/ 10 w 11"/>
                <a:gd name="T61" fmla="*/ 7 h 7"/>
                <a:gd name="T62" fmla="*/ 8 w 11"/>
                <a:gd name="T63" fmla="*/ 7 h 7"/>
                <a:gd name="T64" fmla="*/ 7 w 11"/>
                <a:gd name="T65" fmla="*/ 7 h 7"/>
                <a:gd name="T66" fmla="*/ 7 w 11"/>
                <a:gd name="T67" fmla="*/ 7 h 7"/>
                <a:gd name="T68" fmla="*/ 7 w 11"/>
                <a:gd name="T69" fmla="*/ 7 h 7"/>
                <a:gd name="T70" fmla="*/ 7 w 11"/>
                <a:gd name="T71" fmla="*/ 7 h 7"/>
                <a:gd name="T72" fmla="*/ 8 w 11"/>
                <a:gd name="T73" fmla="*/ 6 h 7"/>
                <a:gd name="T74" fmla="*/ 8 w 11"/>
                <a:gd name="T75" fmla="*/ 5 h 7"/>
                <a:gd name="T76" fmla="*/ 8 w 11"/>
                <a:gd name="T77" fmla="*/ 3 h 7"/>
                <a:gd name="T78" fmla="*/ 9 w 11"/>
                <a:gd name="T79" fmla="*/ 1 h 7"/>
                <a:gd name="T80" fmla="*/ 8 w 11"/>
                <a:gd name="T81" fmla="*/ 1 h 7"/>
                <a:gd name="T82" fmla="*/ 7 w 11"/>
                <a:gd name="T83" fmla="*/ 3 h 7"/>
                <a:gd name="T84" fmla="*/ 6 w 11"/>
                <a:gd name="T85" fmla="*/ 5 h 7"/>
                <a:gd name="T86" fmla="*/ 5 w 11"/>
                <a:gd name="T87" fmla="*/ 6 h 7"/>
                <a:gd name="T88" fmla="*/ 5 w 11"/>
                <a:gd name="T89" fmla="*/ 7 h 7"/>
                <a:gd name="T90" fmla="*/ 4 w 11"/>
                <a:gd name="T91" fmla="*/ 7 h 7"/>
                <a:gd name="T92" fmla="*/ 4 w 11"/>
                <a:gd name="T93" fmla="*/ 6 h 7"/>
                <a:gd name="T94" fmla="*/ 3 w 11"/>
                <a:gd name="T95" fmla="*/ 3 h 7"/>
                <a:gd name="T96" fmla="*/ 3 w 11"/>
                <a:gd name="T97" fmla="*/ 1 h 7"/>
                <a:gd name="T98" fmla="*/ 2 w 11"/>
                <a:gd name="T99" fmla="*/ 3 h 7"/>
                <a:gd name="T100" fmla="*/ 2 w 11"/>
                <a:gd name="T101" fmla="*/ 5 h 7"/>
                <a:gd name="T102" fmla="*/ 1 w 11"/>
                <a:gd name="T103" fmla="*/ 6 h 7"/>
                <a:gd name="T104" fmla="*/ 1 w 11"/>
                <a:gd name="T105" fmla="*/ 6 h 7"/>
                <a:gd name="T106" fmla="*/ 2 w 11"/>
                <a:gd name="T107" fmla="*/ 7 h 7"/>
                <a:gd name="T108" fmla="*/ 2 w 11"/>
                <a:gd name="T109" fmla="*/ 7 h 7"/>
                <a:gd name="T110" fmla="*/ 2 w 11"/>
                <a:gd name="T111" fmla="*/ 7 h 7"/>
                <a:gd name="T112" fmla="*/ 2 w 11"/>
                <a:gd name="T113" fmla="*/ 7 h 7"/>
                <a:gd name="T114" fmla="*/ 2 w 11"/>
                <a:gd name="T115" fmla="*/ 7 h 7"/>
                <a:gd name="T116" fmla="*/ 1 w 11"/>
                <a:gd name="T117" fmla="*/ 7 h 7"/>
                <a:gd name="T118" fmla="*/ 0 w 11"/>
                <a:gd name="T1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4"/>
                    <a:pt x="6" y="3"/>
                  </a:cubicBezTo>
                  <a:cubicBezTo>
                    <a:pt x="7" y="3"/>
                    <a:pt x="7" y="2"/>
                    <a:pt x="8" y="1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0" y="1"/>
                    <a:pt x="10" y="1"/>
                    <a:pt x="10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8" y="7"/>
                    <a:pt x="8" y="7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6"/>
                    <a:pt x="8" y="6"/>
                    <a:pt x="8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6" y="4"/>
                    <a:pt x="6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6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6" name="Freeform 10456"/>
            <p:cNvSpPr>
              <a:spLocks noEditPoints="1"/>
            </p:cNvSpPr>
            <p:nvPr/>
          </p:nvSpPr>
          <p:spPr bwMode="auto">
            <a:xfrm>
              <a:off x="8555616" y="6523494"/>
              <a:ext cx="16930" cy="42325"/>
            </a:xfrm>
            <a:custGeom>
              <a:avLst/>
              <a:gdLst>
                <a:gd name="T0" fmla="*/ 0 w 3"/>
                <a:gd name="T1" fmla="*/ 5 h 8"/>
                <a:gd name="T2" fmla="*/ 0 w 3"/>
                <a:gd name="T3" fmla="*/ 4 h 8"/>
                <a:gd name="T4" fmla="*/ 1 w 3"/>
                <a:gd name="T5" fmla="*/ 4 h 8"/>
                <a:gd name="T6" fmla="*/ 1 w 3"/>
                <a:gd name="T7" fmla="*/ 3 h 8"/>
                <a:gd name="T8" fmla="*/ 2 w 3"/>
                <a:gd name="T9" fmla="*/ 3 h 8"/>
                <a:gd name="T10" fmla="*/ 2 w 3"/>
                <a:gd name="T11" fmla="*/ 3 h 8"/>
                <a:gd name="T12" fmla="*/ 2 w 3"/>
                <a:gd name="T13" fmla="*/ 3 h 8"/>
                <a:gd name="T14" fmla="*/ 3 w 3"/>
                <a:gd name="T15" fmla="*/ 3 h 8"/>
                <a:gd name="T16" fmla="*/ 3 w 3"/>
                <a:gd name="T17" fmla="*/ 4 h 8"/>
                <a:gd name="T18" fmla="*/ 2 w 3"/>
                <a:gd name="T19" fmla="*/ 5 h 8"/>
                <a:gd name="T20" fmla="*/ 2 w 3"/>
                <a:gd name="T21" fmla="*/ 7 h 8"/>
                <a:gd name="T22" fmla="*/ 2 w 3"/>
                <a:gd name="T23" fmla="*/ 7 h 8"/>
                <a:gd name="T24" fmla="*/ 2 w 3"/>
                <a:gd name="T25" fmla="*/ 7 h 8"/>
                <a:gd name="T26" fmla="*/ 2 w 3"/>
                <a:gd name="T27" fmla="*/ 7 h 8"/>
                <a:gd name="T28" fmla="*/ 2 w 3"/>
                <a:gd name="T29" fmla="*/ 7 h 8"/>
                <a:gd name="T30" fmla="*/ 3 w 3"/>
                <a:gd name="T31" fmla="*/ 7 h 8"/>
                <a:gd name="T32" fmla="*/ 3 w 3"/>
                <a:gd name="T33" fmla="*/ 7 h 8"/>
                <a:gd name="T34" fmla="*/ 2 w 3"/>
                <a:gd name="T35" fmla="*/ 8 h 8"/>
                <a:gd name="T36" fmla="*/ 1 w 3"/>
                <a:gd name="T37" fmla="*/ 8 h 8"/>
                <a:gd name="T38" fmla="*/ 1 w 3"/>
                <a:gd name="T39" fmla="*/ 8 h 8"/>
                <a:gd name="T40" fmla="*/ 1 w 3"/>
                <a:gd name="T41" fmla="*/ 8 h 8"/>
                <a:gd name="T42" fmla="*/ 0 w 3"/>
                <a:gd name="T43" fmla="*/ 8 h 8"/>
                <a:gd name="T44" fmla="*/ 0 w 3"/>
                <a:gd name="T45" fmla="*/ 7 h 8"/>
                <a:gd name="T46" fmla="*/ 1 w 3"/>
                <a:gd name="T47" fmla="*/ 6 h 8"/>
                <a:gd name="T48" fmla="*/ 1 w 3"/>
                <a:gd name="T49" fmla="*/ 4 h 8"/>
                <a:gd name="T50" fmla="*/ 1 w 3"/>
                <a:gd name="T51" fmla="*/ 4 h 8"/>
                <a:gd name="T52" fmla="*/ 1 w 3"/>
                <a:gd name="T53" fmla="*/ 4 h 8"/>
                <a:gd name="T54" fmla="*/ 0 w 3"/>
                <a:gd name="T55" fmla="*/ 5 h 8"/>
                <a:gd name="T56" fmla="*/ 2 w 3"/>
                <a:gd name="T57" fmla="*/ 1 h 8"/>
                <a:gd name="T58" fmla="*/ 2 w 3"/>
                <a:gd name="T59" fmla="*/ 1 h 8"/>
                <a:gd name="T60" fmla="*/ 2 w 3"/>
                <a:gd name="T61" fmla="*/ 0 h 8"/>
                <a:gd name="T62" fmla="*/ 3 w 3"/>
                <a:gd name="T63" fmla="*/ 1 h 8"/>
                <a:gd name="T64" fmla="*/ 3 w 3"/>
                <a:gd name="T65" fmla="*/ 1 h 8"/>
                <a:gd name="T66" fmla="*/ 3 w 3"/>
                <a:gd name="T67" fmla="*/ 2 h 8"/>
                <a:gd name="T68" fmla="*/ 2 w 3"/>
                <a:gd name="T69" fmla="*/ 2 h 8"/>
                <a:gd name="T70" fmla="*/ 2 w 3"/>
                <a:gd name="T71" fmla="*/ 2 h 8"/>
                <a:gd name="T72" fmla="*/ 2 w 3"/>
                <a:gd name="T7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" h="8">
                  <a:moveTo>
                    <a:pt x="0" y="5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8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7"/>
                    <a:pt x="1" y="7"/>
                    <a:pt x="1" y="6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0" y="5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7" name="Freeform 10457"/>
            <p:cNvSpPr>
              <a:spLocks/>
            </p:cNvSpPr>
            <p:nvPr/>
          </p:nvSpPr>
          <p:spPr bwMode="auto">
            <a:xfrm>
              <a:off x="8576779" y="6538308"/>
              <a:ext cx="19046" cy="27511"/>
            </a:xfrm>
            <a:custGeom>
              <a:avLst/>
              <a:gdLst>
                <a:gd name="T0" fmla="*/ 0 w 4"/>
                <a:gd name="T1" fmla="*/ 4 h 5"/>
                <a:gd name="T2" fmla="*/ 0 w 4"/>
                <a:gd name="T3" fmla="*/ 4 h 5"/>
                <a:gd name="T4" fmla="*/ 0 w 4"/>
                <a:gd name="T5" fmla="*/ 4 h 5"/>
                <a:gd name="T6" fmla="*/ 1 w 4"/>
                <a:gd name="T7" fmla="*/ 4 h 5"/>
                <a:gd name="T8" fmla="*/ 2 w 4"/>
                <a:gd name="T9" fmla="*/ 5 h 5"/>
                <a:gd name="T10" fmla="*/ 2 w 4"/>
                <a:gd name="T11" fmla="*/ 5 h 5"/>
                <a:gd name="T12" fmla="*/ 2 w 4"/>
                <a:gd name="T13" fmla="*/ 4 h 5"/>
                <a:gd name="T14" fmla="*/ 3 w 4"/>
                <a:gd name="T15" fmla="*/ 4 h 5"/>
                <a:gd name="T16" fmla="*/ 2 w 4"/>
                <a:gd name="T17" fmla="*/ 3 h 5"/>
                <a:gd name="T18" fmla="*/ 2 w 4"/>
                <a:gd name="T19" fmla="*/ 3 h 5"/>
                <a:gd name="T20" fmla="*/ 2 w 4"/>
                <a:gd name="T21" fmla="*/ 3 h 5"/>
                <a:gd name="T22" fmla="*/ 1 w 4"/>
                <a:gd name="T23" fmla="*/ 3 h 5"/>
                <a:gd name="T24" fmla="*/ 0 w 4"/>
                <a:gd name="T25" fmla="*/ 2 h 5"/>
                <a:gd name="T26" fmla="*/ 0 w 4"/>
                <a:gd name="T27" fmla="*/ 2 h 5"/>
                <a:gd name="T28" fmla="*/ 0 w 4"/>
                <a:gd name="T29" fmla="*/ 1 h 5"/>
                <a:gd name="T30" fmla="*/ 0 w 4"/>
                <a:gd name="T31" fmla="*/ 1 h 5"/>
                <a:gd name="T32" fmla="*/ 1 w 4"/>
                <a:gd name="T33" fmla="*/ 0 h 5"/>
                <a:gd name="T34" fmla="*/ 2 w 4"/>
                <a:gd name="T35" fmla="*/ 0 h 5"/>
                <a:gd name="T36" fmla="*/ 2 w 4"/>
                <a:gd name="T37" fmla="*/ 0 h 5"/>
                <a:gd name="T38" fmla="*/ 3 w 4"/>
                <a:gd name="T39" fmla="*/ 0 h 5"/>
                <a:gd name="T40" fmla="*/ 4 w 4"/>
                <a:gd name="T41" fmla="*/ 0 h 5"/>
                <a:gd name="T42" fmla="*/ 4 w 4"/>
                <a:gd name="T43" fmla="*/ 1 h 5"/>
                <a:gd name="T44" fmla="*/ 3 w 4"/>
                <a:gd name="T45" fmla="*/ 1 h 5"/>
                <a:gd name="T46" fmla="*/ 3 w 4"/>
                <a:gd name="T47" fmla="*/ 1 h 5"/>
                <a:gd name="T48" fmla="*/ 3 w 4"/>
                <a:gd name="T49" fmla="*/ 1 h 5"/>
                <a:gd name="T50" fmla="*/ 2 w 4"/>
                <a:gd name="T51" fmla="*/ 0 h 5"/>
                <a:gd name="T52" fmla="*/ 1 w 4"/>
                <a:gd name="T53" fmla="*/ 1 h 5"/>
                <a:gd name="T54" fmla="*/ 1 w 4"/>
                <a:gd name="T55" fmla="*/ 1 h 5"/>
                <a:gd name="T56" fmla="*/ 1 w 4"/>
                <a:gd name="T57" fmla="*/ 1 h 5"/>
                <a:gd name="T58" fmla="*/ 1 w 4"/>
                <a:gd name="T59" fmla="*/ 2 h 5"/>
                <a:gd name="T60" fmla="*/ 2 w 4"/>
                <a:gd name="T61" fmla="*/ 2 h 5"/>
                <a:gd name="T62" fmla="*/ 3 w 4"/>
                <a:gd name="T63" fmla="*/ 2 h 5"/>
                <a:gd name="T64" fmla="*/ 3 w 4"/>
                <a:gd name="T65" fmla="*/ 2 h 5"/>
                <a:gd name="T66" fmla="*/ 4 w 4"/>
                <a:gd name="T67" fmla="*/ 3 h 5"/>
                <a:gd name="T68" fmla="*/ 4 w 4"/>
                <a:gd name="T69" fmla="*/ 3 h 5"/>
                <a:gd name="T70" fmla="*/ 3 w 4"/>
                <a:gd name="T71" fmla="*/ 4 h 5"/>
                <a:gd name="T72" fmla="*/ 3 w 4"/>
                <a:gd name="T73" fmla="*/ 5 h 5"/>
                <a:gd name="T74" fmla="*/ 2 w 4"/>
                <a:gd name="T75" fmla="*/ 5 h 5"/>
                <a:gd name="T76" fmla="*/ 1 w 4"/>
                <a:gd name="T77" fmla="*/ 5 h 5"/>
                <a:gd name="T78" fmla="*/ 0 w 4"/>
                <a:gd name="T79" fmla="*/ 5 h 5"/>
                <a:gd name="T80" fmla="*/ 0 w 4"/>
                <a:gd name="T81" fmla="*/ 5 h 5"/>
                <a:gd name="T82" fmla="*/ 0 w 4"/>
                <a:gd name="T83" fmla="*/ 4 h 5"/>
                <a:gd name="T84" fmla="*/ 0 w 4"/>
                <a:gd name="T8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" h="5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8" name="Freeform 10458"/>
            <p:cNvSpPr>
              <a:spLocks/>
            </p:cNvSpPr>
            <p:nvPr/>
          </p:nvSpPr>
          <p:spPr bwMode="auto">
            <a:xfrm>
              <a:off x="8595825" y="6538308"/>
              <a:ext cx="25395" cy="27511"/>
            </a:xfrm>
            <a:custGeom>
              <a:avLst/>
              <a:gdLst>
                <a:gd name="T0" fmla="*/ 1 w 5"/>
                <a:gd name="T1" fmla="*/ 4 h 5"/>
                <a:gd name="T2" fmla="*/ 1 w 5"/>
                <a:gd name="T3" fmla="*/ 4 h 5"/>
                <a:gd name="T4" fmla="*/ 1 w 5"/>
                <a:gd name="T5" fmla="*/ 4 h 5"/>
                <a:gd name="T6" fmla="*/ 2 w 5"/>
                <a:gd name="T7" fmla="*/ 4 h 5"/>
                <a:gd name="T8" fmla="*/ 2 w 5"/>
                <a:gd name="T9" fmla="*/ 5 h 5"/>
                <a:gd name="T10" fmla="*/ 3 w 5"/>
                <a:gd name="T11" fmla="*/ 5 h 5"/>
                <a:gd name="T12" fmla="*/ 3 w 5"/>
                <a:gd name="T13" fmla="*/ 4 h 5"/>
                <a:gd name="T14" fmla="*/ 3 w 5"/>
                <a:gd name="T15" fmla="*/ 4 h 5"/>
                <a:gd name="T16" fmla="*/ 3 w 5"/>
                <a:gd name="T17" fmla="*/ 3 h 5"/>
                <a:gd name="T18" fmla="*/ 3 w 5"/>
                <a:gd name="T19" fmla="*/ 3 h 5"/>
                <a:gd name="T20" fmla="*/ 3 w 5"/>
                <a:gd name="T21" fmla="*/ 3 h 5"/>
                <a:gd name="T22" fmla="*/ 2 w 5"/>
                <a:gd name="T23" fmla="*/ 3 h 5"/>
                <a:gd name="T24" fmla="*/ 1 w 5"/>
                <a:gd name="T25" fmla="*/ 2 h 5"/>
                <a:gd name="T26" fmla="*/ 1 w 5"/>
                <a:gd name="T27" fmla="*/ 2 h 5"/>
                <a:gd name="T28" fmla="*/ 1 w 5"/>
                <a:gd name="T29" fmla="*/ 1 h 5"/>
                <a:gd name="T30" fmla="*/ 1 w 5"/>
                <a:gd name="T31" fmla="*/ 1 h 5"/>
                <a:gd name="T32" fmla="*/ 2 w 5"/>
                <a:gd name="T33" fmla="*/ 0 h 5"/>
                <a:gd name="T34" fmla="*/ 3 w 5"/>
                <a:gd name="T35" fmla="*/ 0 h 5"/>
                <a:gd name="T36" fmla="*/ 3 w 5"/>
                <a:gd name="T37" fmla="*/ 0 h 5"/>
                <a:gd name="T38" fmla="*/ 4 w 5"/>
                <a:gd name="T39" fmla="*/ 0 h 5"/>
                <a:gd name="T40" fmla="*/ 5 w 5"/>
                <a:gd name="T41" fmla="*/ 0 h 5"/>
                <a:gd name="T42" fmla="*/ 4 w 5"/>
                <a:gd name="T43" fmla="*/ 1 h 5"/>
                <a:gd name="T44" fmla="*/ 4 w 5"/>
                <a:gd name="T45" fmla="*/ 1 h 5"/>
                <a:gd name="T46" fmla="*/ 4 w 5"/>
                <a:gd name="T47" fmla="*/ 1 h 5"/>
                <a:gd name="T48" fmla="*/ 4 w 5"/>
                <a:gd name="T49" fmla="*/ 1 h 5"/>
                <a:gd name="T50" fmla="*/ 3 w 5"/>
                <a:gd name="T51" fmla="*/ 0 h 5"/>
                <a:gd name="T52" fmla="*/ 2 w 5"/>
                <a:gd name="T53" fmla="*/ 1 h 5"/>
                <a:gd name="T54" fmla="*/ 2 w 5"/>
                <a:gd name="T55" fmla="*/ 1 h 5"/>
                <a:gd name="T56" fmla="*/ 2 w 5"/>
                <a:gd name="T57" fmla="*/ 1 h 5"/>
                <a:gd name="T58" fmla="*/ 2 w 5"/>
                <a:gd name="T59" fmla="*/ 2 h 5"/>
                <a:gd name="T60" fmla="*/ 3 w 5"/>
                <a:gd name="T61" fmla="*/ 2 h 5"/>
                <a:gd name="T62" fmla="*/ 4 w 5"/>
                <a:gd name="T63" fmla="*/ 2 h 5"/>
                <a:gd name="T64" fmla="*/ 4 w 5"/>
                <a:gd name="T65" fmla="*/ 2 h 5"/>
                <a:gd name="T66" fmla="*/ 4 w 5"/>
                <a:gd name="T67" fmla="*/ 3 h 5"/>
                <a:gd name="T68" fmla="*/ 5 w 5"/>
                <a:gd name="T69" fmla="*/ 3 h 5"/>
                <a:gd name="T70" fmla="*/ 4 w 5"/>
                <a:gd name="T71" fmla="*/ 4 h 5"/>
                <a:gd name="T72" fmla="*/ 4 w 5"/>
                <a:gd name="T73" fmla="*/ 5 h 5"/>
                <a:gd name="T74" fmla="*/ 3 w 5"/>
                <a:gd name="T75" fmla="*/ 5 h 5"/>
                <a:gd name="T76" fmla="*/ 2 w 5"/>
                <a:gd name="T77" fmla="*/ 5 h 5"/>
                <a:gd name="T78" fmla="*/ 1 w 5"/>
                <a:gd name="T79" fmla="*/ 5 h 5"/>
                <a:gd name="T80" fmla="*/ 0 w 5"/>
                <a:gd name="T81" fmla="*/ 5 h 5"/>
                <a:gd name="T82" fmla="*/ 1 w 5"/>
                <a:gd name="T83" fmla="*/ 4 h 5"/>
                <a:gd name="T84" fmla="*/ 1 w 5"/>
                <a:gd name="T8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" h="5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79" name="Freeform 10459"/>
            <p:cNvSpPr>
              <a:spLocks noEditPoints="1"/>
            </p:cNvSpPr>
            <p:nvPr/>
          </p:nvSpPr>
          <p:spPr bwMode="auto">
            <a:xfrm>
              <a:off x="8621219" y="6523494"/>
              <a:ext cx="21162" cy="42325"/>
            </a:xfrm>
            <a:custGeom>
              <a:avLst/>
              <a:gdLst>
                <a:gd name="T0" fmla="*/ 1 w 4"/>
                <a:gd name="T1" fmla="*/ 5 h 8"/>
                <a:gd name="T2" fmla="*/ 0 w 4"/>
                <a:gd name="T3" fmla="*/ 4 h 8"/>
                <a:gd name="T4" fmla="*/ 1 w 4"/>
                <a:gd name="T5" fmla="*/ 4 h 8"/>
                <a:gd name="T6" fmla="*/ 2 w 4"/>
                <a:gd name="T7" fmla="*/ 3 h 8"/>
                <a:gd name="T8" fmla="*/ 2 w 4"/>
                <a:gd name="T9" fmla="*/ 3 h 8"/>
                <a:gd name="T10" fmla="*/ 3 w 4"/>
                <a:gd name="T11" fmla="*/ 3 h 8"/>
                <a:gd name="T12" fmla="*/ 3 w 4"/>
                <a:gd name="T13" fmla="*/ 3 h 8"/>
                <a:gd name="T14" fmla="*/ 3 w 4"/>
                <a:gd name="T15" fmla="*/ 3 h 8"/>
                <a:gd name="T16" fmla="*/ 3 w 4"/>
                <a:gd name="T17" fmla="*/ 4 h 8"/>
                <a:gd name="T18" fmla="*/ 3 w 4"/>
                <a:gd name="T19" fmla="*/ 5 h 8"/>
                <a:gd name="T20" fmla="*/ 2 w 4"/>
                <a:gd name="T21" fmla="*/ 7 h 8"/>
                <a:gd name="T22" fmla="*/ 2 w 4"/>
                <a:gd name="T23" fmla="*/ 7 h 8"/>
                <a:gd name="T24" fmla="*/ 2 w 4"/>
                <a:gd name="T25" fmla="*/ 7 h 8"/>
                <a:gd name="T26" fmla="*/ 2 w 4"/>
                <a:gd name="T27" fmla="*/ 7 h 8"/>
                <a:gd name="T28" fmla="*/ 3 w 4"/>
                <a:gd name="T29" fmla="*/ 7 h 8"/>
                <a:gd name="T30" fmla="*/ 3 w 4"/>
                <a:gd name="T31" fmla="*/ 7 h 8"/>
                <a:gd name="T32" fmla="*/ 3 w 4"/>
                <a:gd name="T33" fmla="*/ 7 h 8"/>
                <a:gd name="T34" fmla="*/ 2 w 4"/>
                <a:gd name="T35" fmla="*/ 8 h 8"/>
                <a:gd name="T36" fmla="*/ 2 w 4"/>
                <a:gd name="T37" fmla="*/ 8 h 8"/>
                <a:gd name="T38" fmla="*/ 1 w 4"/>
                <a:gd name="T39" fmla="*/ 8 h 8"/>
                <a:gd name="T40" fmla="*/ 1 w 4"/>
                <a:gd name="T41" fmla="*/ 8 h 8"/>
                <a:gd name="T42" fmla="*/ 1 w 4"/>
                <a:gd name="T43" fmla="*/ 8 h 8"/>
                <a:gd name="T44" fmla="*/ 1 w 4"/>
                <a:gd name="T45" fmla="*/ 7 h 8"/>
                <a:gd name="T46" fmla="*/ 1 w 4"/>
                <a:gd name="T47" fmla="*/ 6 h 8"/>
                <a:gd name="T48" fmla="*/ 2 w 4"/>
                <a:gd name="T49" fmla="*/ 4 h 8"/>
                <a:gd name="T50" fmla="*/ 2 w 4"/>
                <a:gd name="T51" fmla="*/ 4 h 8"/>
                <a:gd name="T52" fmla="*/ 2 w 4"/>
                <a:gd name="T53" fmla="*/ 4 h 8"/>
                <a:gd name="T54" fmla="*/ 1 w 4"/>
                <a:gd name="T55" fmla="*/ 5 h 8"/>
                <a:gd name="T56" fmla="*/ 2 w 4"/>
                <a:gd name="T57" fmla="*/ 1 h 8"/>
                <a:gd name="T58" fmla="*/ 2 w 4"/>
                <a:gd name="T59" fmla="*/ 1 h 8"/>
                <a:gd name="T60" fmla="*/ 3 w 4"/>
                <a:gd name="T61" fmla="*/ 0 h 8"/>
                <a:gd name="T62" fmla="*/ 3 w 4"/>
                <a:gd name="T63" fmla="*/ 1 h 8"/>
                <a:gd name="T64" fmla="*/ 4 w 4"/>
                <a:gd name="T65" fmla="*/ 1 h 8"/>
                <a:gd name="T66" fmla="*/ 3 w 4"/>
                <a:gd name="T67" fmla="*/ 2 h 8"/>
                <a:gd name="T68" fmla="*/ 3 w 4"/>
                <a:gd name="T69" fmla="*/ 2 h 8"/>
                <a:gd name="T70" fmla="*/ 2 w 4"/>
                <a:gd name="T71" fmla="*/ 2 h 8"/>
                <a:gd name="T72" fmla="*/ 2 w 4"/>
                <a:gd name="T7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" h="8">
                  <a:moveTo>
                    <a:pt x="1" y="5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7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5"/>
                  </a:cubicBezTo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0" name="Freeform 10460"/>
            <p:cNvSpPr>
              <a:spLocks noEditPoints="1"/>
            </p:cNvSpPr>
            <p:nvPr/>
          </p:nvSpPr>
          <p:spPr bwMode="auto">
            <a:xfrm>
              <a:off x="8642382" y="6538308"/>
              <a:ext cx="25395" cy="27511"/>
            </a:xfrm>
            <a:custGeom>
              <a:avLst/>
              <a:gdLst>
                <a:gd name="T0" fmla="*/ 0 w 5"/>
                <a:gd name="T1" fmla="*/ 4 h 5"/>
                <a:gd name="T2" fmla="*/ 1 w 5"/>
                <a:gd name="T3" fmla="*/ 2 h 5"/>
                <a:gd name="T4" fmla="*/ 1 w 5"/>
                <a:gd name="T5" fmla="*/ 1 h 5"/>
                <a:gd name="T6" fmla="*/ 2 w 5"/>
                <a:gd name="T7" fmla="*/ 1 h 5"/>
                <a:gd name="T8" fmla="*/ 3 w 5"/>
                <a:gd name="T9" fmla="*/ 0 h 5"/>
                <a:gd name="T10" fmla="*/ 4 w 5"/>
                <a:gd name="T11" fmla="*/ 0 h 5"/>
                <a:gd name="T12" fmla="*/ 4 w 5"/>
                <a:gd name="T13" fmla="*/ 0 h 5"/>
                <a:gd name="T14" fmla="*/ 5 w 5"/>
                <a:gd name="T15" fmla="*/ 0 h 5"/>
                <a:gd name="T16" fmla="*/ 5 w 5"/>
                <a:gd name="T17" fmla="*/ 1 h 5"/>
                <a:gd name="T18" fmla="*/ 5 w 5"/>
                <a:gd name="T19" fmla="*/ 2 h 5"/>
                <a:gd name="T20" fmla="*/ 5 w 5"/>
                <a:gd name="T21" fmla="*/ 3 h 5"/>
                <a:gd name="T22" fmla="*/ 5 w 5"/>
                <a:gd name="T23" fmla="*/ 4 h 5"/>
                <a:gd name="T24" fmla="*/ 4 w 5"/>
                <a:gd name="T25" fmla="*/ 5 h 5"/>
                <a:gd name="T26" fmla="*/ 3 w 5"/>
                <a:gd name="T27" fmla="*/ 5 h 5"/>
                <a:gd name="T28" fmla="*/ 2 w 5"/>
                <a:gd name="T29" fmla="*/ 5 h 5"/>
                <a:gd name="T30" fmla="*/ 1 w 5"/>
                <a:gd name="T31" fmla="*/ 5 h 5"/>
                <a:gd name="T32" fmla="*/ 0 w 5"/>
                <a:gd name="T33" fmla="*/ 4 h 5"/>
                <a:gd name="T34" fmla="*/ 0 w 5"/>
                <a:gd name="T35" fmla="*/ 4 h 5"/>
                <a:gd name="T36" fmla="*/ 2 w 5"/>
                <a:gd name="T37" fmla="*/ 4 h 5"/>
                <a:gd name="T38" fmla="*/ 2 w 5"/>
                <a:gd name="T39" fmla="*/ 4 h 5"/>
                <a:gd name="T40" fmla="*/ 3 w 5"/>
                <a:gd name="T41" fmla="*/ 5 h 5"/>
                <a:gd name="T42" fmla="*/ 3 w 5"/>
                <a:gd name="T43" fmla="*/ 5 h 5"/>
                <a:gd name="T44" fmla="*/ 4 w 5"/>
                <a:gd name="T45" fmla="*/ 4 h 5"/>
                <a:gd name="T46" fmla="*/ 4 w 5"/>
                <a:gd name="T47" fmla="*/ 3 h 5"/>
                <a:gd name="T48" fmla="*/ 4 w 5"/>
                <a:gd name="T49" fmla="*/ 2 h 5"/>
                <a:gd name="T50" fmla="*/ 4 w 5"/>
                <a:gd name="T51" fmla="*/ 1 h 5"/>
                <a:gd name="T52" fmla="*/ 3 w 5"/>
                <a:gd name="T53" fmla="*/ 0 h 5"/>
                <a:gd name="T54" fmla="*/ 2 w 5"/>
                <a:gd name="T55" fmla="*/ 1 h 5"/>
                <a:gd name="T56" fmla="*/ 2 w 5"/>
                <a:gd name="T57" fmla="*/ 2 h 5"/>
                <a:gd name="T58" fmla="*/ 2 w 5"/>
                <a:gd name="T5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" h="5">
                  <a:moveTo>
                    <a:pt x="0" y="4"/>
                  </a:move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0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1" name="Freeform 10461"/>
            <p:cNvSpPr>
              <a:spLocks/>
            </p:cNvSpPr>
            <p:nvPr/>
          </p:nvSpPr>
          <p:spPr bwMode="auto">
            <a:xfrm>
              <a:off x="8672009" y="6538308"/>
              <a:ext cx="29627" cy="27511"/>
            </a:xfrm>
            <a:custGeom>
              <a:avLst/>
              <a:gdLst>
                <a:gd name="T0" fmla="*/ 0 w 6"/>
                <a:gd name="T1" fmla="*/ 5 h 5"/>
                <a:gd name="T2" fmla="*/ 0 w 6"/>
                <a:gd name="T3" fmla="*/ 5 h 5"/>
                <a:gd name="T4" fmla="*/ 1 w 6"/>
                <a:gd name="T5" fmla="*/ 4 h 5"/>
                <a:gd name="T6" fmla="*/ 1 w 6"/>
                <a:gd name="T7" fmla="*/ 3 h 5"/>
                <a:gd name="T8" fmla="*/ 1 w 6"/>
                <a:gd name="T9" fmla="*/ 2 h 5"/>
                <a:gd name="T10" fmla="*/ 1 w 6"/>
                <a:gd name="T11" fmla="*/ 1 h 5"/>
                <a:gd name="T12" fmla="*/ 1 w 6"/>
                <a:gd name="T13" fmla="*/ 1 h 5"/>
                <a:gd name="T14" fmla="*/ 1 w 6"/>
                <a:gd name="T15" fmla="*/ 1 h 5"/>
                <a:gd name="T16" fmla="*/ 0 w 6"/>
                <a:gd name="T17" fmla="*/ 1 h 5"/>
                <a:gd name="T18" fmla="*/ 0 w 6"/>
                <a:gd name="T19" fmla="*/ 1 h 5"/>
                <a:gd name="T20" fmla="*/ 2 w 6"/>
                <a:gd name="T21" fmla="*/ 0 h 5"/>
                <a:gd name="T22" fmla="*/ 2 w 6"/>
                <a:gd name="T23" fmla="*/ 0 h 5"/>
                <a:gd name="T24" fmla="*/ 2 w 6"/>
                <a:gd name="T25" fmla="*/ 0 h 5"/>
                <a:gd name="T26" fmla="*/ 3 w 6"/>
                <a:gd name="T27" fmla="*/ 0 h 5"/>
                <a:gd name="T28" fmla="*/ 2 w 6"/>
                <a:gd name="T29" fmla="*/ 1 h 5"/>
                <a:gd name="T30" fmla="*/ 2 w 6"/>
                <a:gd name="T31" fmla="*/ 3 h 5"/>
                <a:gd name="T32" fmla="*/ 3 w 6"/>
                <a:gd name="T33" fmla="*/ 1 h 5"/>
                <a:gd name="T34" fmla="*/ 4 w 6"/>
                <a:gd name="T35" fmla="*/ 0 h 5"/>
                <a:gd name="T36" fmla="*/ 5 w 6"/>
                <a:gd name="T37" fmla="*/ 0 h 5"/>
                <a:gd name="T38" fmla="*/ 5 w 6"/>
                <a:gd name="T39" fmla="*/ 0 h 5"/>
                <a:gd name="T40" fmla="*/ 6 w 6"/>
                <a:gd name="T41" fmla="*/ 0 h 5"/>
                <a:gd name="T42" fmla="*/ 5 w 6"/>
                <a:gd name="T43" fmla="*/ 1 h 5"/>
                <a:gd name="T44" fmla="*/ 5 w 6"/>
                <a:gd name="T45" fmla="*/ 3 h 5"/>
                <a:gd name="T46" fmla="*/ 5 w 6"/>
                <a:gd name="T47" fmla="*/ 4 h 5"/>
                <a:gd name="T48" fmla="*/ 5 w 6"/>
                <a:gd name="T49" fmla="*/ 4 h 5"/>
                <a:gd name="T50" fmla="*/ 5 w 6"/>
                <a:gd name="T51" fmla="*/ 4 h 5"/>
                <a:gd name="T52" fmla="*/ 5 w 6"/>
                <a:gd name="T53" fmla="*/ 4 h 5"/>
                <a:gd name="T54" fmla="*/ 5 w 6"/>
                <a:gd name="T55" fmla="*/ 4 h 5"/>
                <a:gd name="T56" fmla="*/ 6 w 6"/>
                <a:gd name="T57" fmla="*/ 4 h 5"/>
                <a:gd name="T58" fmla="*/ 6 w 6"/>
                <a:gd name="T59" fmla="*/ 4 h 5"/>
                <a:gd name="T60" fmla="*/ 4 w 6"/>
                <a:gd name="T61" fmla="*/ 5 h 5"/>
                <a:gd name="T62" fmla="*/ 4 w 6"/>
                <a:gd name="T63" fmla="*/ 5 h 5"/>
                <a:gd name="T64" fmla="*/ 3 w 6"/>
                <a:gd name="T65" fmla="*/ 5 h 5"/>
                <a:gd name="T66" fmla="*/ 3 w 6"/>
                <a:gd name="T67" fmla="*/ 5 h 5"/>
                <a:gd name="T68" fmla="*/ 4 w 6"/>
                <a:gd name="T69" fmla="*/ 3 h 5"/>
                <a:gd name="T70" fmla="*/ 4 w 6"/>
                <a:gd name="T71" fmla="*/ 1 h 5"/>
                <a:gd name="T72" fmla="*/ 4 w 6"/>
                <a:gd name="T73" fmla="*/ 1 h 5"/>
                <a:gd name="T74" fmla="*/ 4 w 6"/>
                <a:gd name="T75" fmla="*/ 1 h 5"/>
                <a:gd name="T76" fmla="*/ 4 w 6"/>
                <a:gd name="T77" fmla="*/ 1 h 5"/>
                <a:gd name="T78" fmla="*/ 3 w 6"/>
                <a:gd name="T79" fmla="*/ 2 h 5"/>
                <a:gd name="T80" fmla="*/ 2 w 6"/>
                <a:gd name="T81" fmla="*/ 3 h 5"/>
                <a:gd name="T82" fmla="*/ 2 w 6"/>
                <a:gd name="T83" fmla="*/ 4 h 5"/>
                <a:gd name="T84" fmla="*/ 2 w 6"/>
                <a:gd name="T85" fmla="*/ 5 h 5"/>
                <a:gd name="T86" fmla="*/ 0 w 6"/>
                <a:gd name="T8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" y="5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4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1" y="5"/>
                    <a:pt x="1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2" name="Freeform 10462"/>
            <p:cNvSpPr>
              <a:spLocks/>
            </p:cNvSpPr>
            <p:nvPr/>
          </p:nvSpPr>
          <p:spPr bwMode="auto">
            <a:xfrm>
              <a:off x="8712217" y="6523494"/>
              <a:ext cx="29627" cy="57138"/>
            </a:xfrm>
            <a:custGeom>
              <a:avLst/>
              <a:gdLst>
                <a:gd name="T0" fmla="*/ 1 w 6"/>
                <a:gd name="T1" fmla="*/ 4 h 11"/>
                <a:gd name="T2" fmla="*/ 1 w 6"/>
                <a:gd name="T3" fmla="*/ 3 h 11"/>
                <a:gd name="T4" fmla="*/ 2 w 6"/>
                <a:gd name="T5" fmla="*/ 3 h 11"/>
                <a:gd name="T6" fmla="*/ 3 w 6"/>
                <a:gd name="T7" fmla="*/ 3 h 11"/>
                <a:gd name="T8" fmla="*/ 3 w 6"/>
                <a:gd name="T9" fmla="*/ 3 h 11"/>
                <a:gd name="T10" fmla="*/ 3 w 6"/>
                <a:gd name="T11" fmla="*/ 2 h 11"/>
                <a:gd name="T12" fmla="*/ 3 w 6"/>
                <a:gd name="T13" fmla="*/ 2 h 11"/>
                <a:gd name="T14" fmla="*/ 4 w 6"/>
                <a:gd name="T15" fmla="*/ 1 h 11"/>
                <a:gd name="T16" fmla="*/ 5 w 6"/>
                <a:gd name="T17" fmla="*/ 0 h 11"/>
                <a:gd name="T18" fmla="*/ 6 w 6"/>
                <a:gd name="T19" fmla="*/ 0 h 11"/>
                <a:gd name="T20" fmla="*/ 6 w 6"/>
                <a:gd name="T21" fmla="*/ 0 h 11"/>
                <a:gd name="T22" fmla="*/ 6 w 6"/>
                <a:gd name="T23" fmla="*/ 2 h 11"/>
                <a:gd name="T24" fmla="*/ 6 w 6"/>
                <a:gd name="T25" fmla="*/ 2 h 11"/>
                <a:gd name="T26" fmla="*/ 5 w 6"/>
                <a:gd name="T27" fmla="*/ 1 h 11"/>
                <a:gd name="T28" fmla="*/ 5 w 6"/>
                <a:gd name="T29" fmla="*/ 1 h 11"/>
                <a:gd name="T30" fmla="*/ 4 w 6"/>
                <a:gd name="T31" fmla="*/ 1 h 11"/>
                <a:gd name="T32" fmla="*/ 4 w 6"/>
                <a:gd name="T33" fmla="*/ 1 h 11"/>
                <a:gd name="T34" fmla="*/ 4 w 6"/>
                <a:gd name="T35" fmla="*/ 2 h 11"/>
                <a:gd name="T36" fmla="*/ 4 w 6"/>
                <a:gd name="T37" fmla="*/ 3 h 11"/>
                <a:gd name="T38" fmla="*/ 4 w 6"/>
                <a:gd name="T39" fmla="*/ 3 h 11"/>
                <a:gd name="T40" fmla="*/ 5 w 6"/>
                <a:gd name="T41" fmla="*/ 3 h 11"/>
                <a:gd name="T42" fmla="*/ 5 w 6"/>
                <a:gd name="T43" fmla="*/ 3 h 11"/>
                <a:gd name="T44" fmla="*/ 5 w 6"/>
                <a:gd name="T45" fmla="*/ 3 h 11"/>
                <a:gd name="T46" fmla="*/ 5 w 6"/>
                <a:gd name="T47" fmla="*/ 4 h 11"/>
                <a:gd name="T48" fmla="*/ 4 w 6"/>
                <a:gd name="T49" fmla="*/ 4 h 11"/>
                <a:gd name="T50" fmla="*/ 4 w 6"/>
                <a:gd name="T51" fmla="*/ 4 h 11"/>
                <a:gd name="T52" fmla="*/ 3 w 6"/>
                <a:gd name="T53" fmla="*/ 6 h 11"/>
                <a:gd name="T54" fmla="*/ 2 w 6"/>
                <a:gd name="T55" fmla="*/ 9 h 11"/>
                <a:gd name="T56" fmla="*/ 2 w 6"/>
                <a:gd name="T57" fmla="*/ 10 h 11"/>
                <a:gd name="T58" fmla="*/ 1 w 6"/>
                <a:gd name="T59" fmla="*/ 11 h 11"/>
                <a:gd name="T60" fmla="*/ 0 w 6"/>
                <a:gd name="T61" fmla="*/ 11 h 11"/>
                <a:gd name="T62" fmla="*/ 0 w 6"/>
                <a:gd name="T63" fmla="*/ 11 h 11"/>
                <a:gd name="T64" fmla="*/ 0 w 6"/>
                <a:gd name="T65" fmla="*/ 10 h 11"/>
                <a:gd name="T66" fmla="*/ 0 w 6"/>
                <a:gd name="T67" fmla="*/ 10 h 11"/>
                <a:gd name="T68" fmla="*/ 0 w 6"/>
                <a:gd name="T69" fmla="*/ 10 h 11"/>
                <a:gd name="T70" fmla="*/ 0 w 6"/>
                <a:gd name="T71" fmla="*/ 10 h 11"/>
                <a:gd name="T72" fmla="*/ 1 w 6"/>
                <a:gd name="T73" fmla="*/ 10 h 11"/>
                <a:gd name="T74" fmla="*/ 1 w 6"/>
                <a:gd name="T75" fmla="*/ 10 h 11"/>
                <a:gd name="T76" fmla="*/ 1 w 6"/>
                <a:gd name="T77" fmla="*/ 10 h 11"/>
                <a:gd name="T78" fmla="*/ 2 w 6"/>
                <a:gd name="T79" fmla="*/ 8 h 11"/>
                <a:gd name="T80" fmla="*/ 2 w 6"/>
                <a:gd name="T81" fmla="*/ 4 h 11"/>
                <a:gd name="T82" fmla="*/ 2 w 6"/>
                <a:gd name="T83" fmla="*/ 4 h 11"/>
                <a:gd name="T84" fmla="*/ 1 w 6"/>
                <a:gd name="T85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" h="11">
                  <a:moveTo>
                    <a:pt x="1" y="4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8"/>
                    <a:pt x="2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1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3" name="Freeform 10463"/>
            <p:cNvSpPr>
              <a:spLocks noEditPoints="1"/>
            </p:cNvSpPr>
            <p:nvPr/>
          </p:nvSpPr>
          <p:spPr bwMode="auto">
            <a:xfrm>
              <a:off x="8737612" y="6538308"/>
              <a:ext cx="23279" cy="27511"/>
            </a:xfrm>
            <a:custGeom>
              <a:avLst/>
              <a:gdLst>
                <a:gd name="T0" fmla="*/ 0 w 5"/>
                <a:gd name="T1" fmla="*/ 4 h 5"/>
                <a:gd name="T2" fmla="*/ 0 w 5"/>
                <a:gd name="T3" fmla="*/ 2 h 5"/>
                <a:gd name="T4" fmla="*/ 1 w 5"/>
                <a:gd name="T5" fmla="*/ 1 h 5"/>
                <a:gd name="T6" fmla="*/ 1 w 5"/>
                <a:gd name="T7" fmla="*/ 1 h 5"/>
                <a:gd name="T8" fmla="*/ 2 w 5"/>
                <a:gd name="T9" fmla="*/ 0 h 5"/>
                <a:gd name="T10" fmla="*/ 3 w 5"/>
                <a:gd name="T11" fmla="*/ 0 h 5"/>
                <a:gd name="T12" fmla="*/ 4 w 5"/>
                <a:gd name="T13" fmla="*/ 0 h 5"/>
                <a:gd name="T14" fmla="*/ 5 w 5"/>
                <a:gd name="T15" fmla="*/ 0 h 5"/>
                <a:gd name="T16" fmla="*/ 5 w 5"/>
                <a:gd name="T17" fmla="*/ 1 h 5"/>
                <a:gd name="T18" fmla="*/ 5 w 5"/>
                <a:gd name="T19" fmla="*/ 2 h 5"/>
                <a:gd name="T20" fmla="*/ 5 w 5"/>
                <a:gd name="T21" fmla="*/ 3 h 5"/>
                <a:gd name="T22" fmla="*/ 4 w 5"/>
                <a:gd name="T23" fmla="*/ 4 h 5"/>
                <a:gd name="T24" fmla="*/ 4 w 5"/>
                <a:gd name="T25" fmla="*/ 5 h 5"/>
                <a:gd name="T26" fmla="*/ 3 w 5"/>
                <a:gd name="T27" fmla="*/ 5 h 5"/>
                <a:gd name="T28" fmla="*/ 2 w 5"/>
                <a:gd name="T29" fmla="*/ 5 h 5"/>
                <a:gd name="T30" fmla="*/ 1 w 5"/>
                <a:gd name="T31" fmla="*/ 5 h 5"/>
                <a:gd name="T32" fmla="*/ 0 w 5"/>
                <a:gd name="T33" fmla="*/ 4 h 5"/>
                <a:gd name="T34" fmla="*/ 0 w 5"/>
                <a:gd name="T35" fmla="*/ 4 h 5"/>
                <a:gd name="T36" fmla="*/ 1 w 5"/>
                <a:gd name="T37" fmla="*/ 4 h 5"/>
                <a:gd name="T38" fmla="*/ 2 w 5"/>
                <a:gd name="T39" fmla="*/ 4 h 5"/>
                <a:gd name="T40" fmla="*/ 2 w 5"/>
                <a:gd name="T41" fmla="*/ 5 h 5"/>
                <a:gd name="T42" fmla="*/ 3 w 5"/>
                <a:gd name="T43" fmla="*/ 5 h 5"/>
                <a:gd name="T44" fmla="*/ 3 w 5"/>
                <a:gd name="T45" fmla="*/ 4 h 5"/>
                <a:gd name="T46" fmla="*/ 4 w 5"/>
                <a:gd name="T47" fmla="*/ 3 h 5"/>
                <a:gd name="T48" fmla="*/ 4 w 5"/>
                <a:gd name="T49" fmla="*/ 2 h 5"/>
                <a:gd name="T50" fmla="*/ 4 w 5"/>
                <a:gd name="T51" fmla="*/ 1 h 5"/>
                <a:gd name="T52" fmla="*/ 3 w 5"/>
                <a:gd name="T53" fmla="*/ 0 h 5"/>
                <a:gd name="T54" fmla="*/ 2 w 5"/>
                <a:gd name="T55" fmla="*/ 1 h 5"/>
                <a:gd name="T56" fmla="*/ 2 w 5"/>
                <a:gd name="T57" fmla="*/ 2 h 5"/>
                <a:gd name="T58" fmla="*/ 1 w 5"/>
                <a:gd name="T5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" h="5">
                  <a:moveTo>
                    <a:pt x="0" y="4"/>
                  </a:move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3"/>
                    <a:pt x="5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1" y="4"/>
                  </a:moveTo>
                  <a:cubicBezTo>
                    <a:pt x="1" y="4"/>
                    <a:pt x="1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4" y="4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3"/>
                    <a:pt x="1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4" name="Freeform 10464"/>
            <p:cNvSpPr>
              <a:spLocks/>
            </p:cNvSpPr>
            <p:nvPr/>
          </p:nvSpPr>
          <p:spPr bwMode="auto">
            <a:xfrm>
              <a:off x="8767239" y="6538308"/>
              <a:ext cx="19046" cy="27511"/>
            </a:xfrm>
            <a:custGeom>
              <a:avLst/>
              <a:gdLst>
                <a:gd name="T0" fmla="*/ 0 w 4"/>
                <a:gd name="T1" fmla="*/ 5 h 5"/>
                <a:gd name="T2" fmla="*/ 0 w 4"/>
                <a:gd name="T3" fmla="*/ 5 h 5"/>
                <a:gd name="T4" fmla="*/ 1 w 4"/>
                <a:gd name="T5" fmla="*/ 4 h 5"/>
                <a:gd name="T6" fmla="*/ 1 w 4"/>
                <a:gd name="T7" fmla="*/ 3 h 5"/>
                <a:gd name="T8" fmla="*/ 1 w 4"/>
                <a:gd name="T9" fmla="*/ 2 h 5"/>
                <a:gd name="T10" fmla="*/ 1 w 4"/>
                <a:gd name="T11" fmla="*/ 1 h 5"/>
                <a:gd name="T12" fmla="*/ 1 w 4"/>
                <a:gd name="T13" fmla="*/ 1 h 5"/>
                <a:gd name="T14" fmla="*/ 1 w 4"/>
                <a:gd name="T15" fmla="*/ 1 h 5"/>
                <a:gd name="T16" fmla="*/ 0 w 4"/>
                <a:gd name="T17" fmla="*/ 1 h 5"/>
                <a:gd name="T18" fmla="*/ 0 w 4"/>
                <a:gd name="T19" fmla="*/ 1 h 5"/>
                <a:gd name="T20" fmla="*/ 1 w 4"/>
                <a:gd name="T21" fmla="*/ 0 h 5"/>
                <a:gd name="T22" fmla="*/ 2 w 4"/>
                <a:gd name="T23" fmla="*/ 0 h 5"/>
                <a:gd name="T24" fmla="*/ 2 w 4"/>
                <a:gd name="T25" fmla="*/ 0 h 5"/>
                <a:gd name="T26" fmla="*/ 2 w 4"/>
                <a:gd name="T27" fmla="*/ 0 h 5"/>
                <a:gd name="T28" fmla="*/ 2 w 4"/>
                <a:gd name="T29" fmla="*/ 0 h 5"/>
                <a:gd name="T30" fmla="*/ 2 w 4"/>
                <a:gd name="T31" fmla="*/ 1 h 5"/>
                <a:gd name="T32" fmla="*/ 2 w 4"/>
                <a:gd name="T33" fmla="*/ 2 h 5"/>
                <a:gd name="T34" fmla="*/ 2 w 4"/>
                <a:gd name="T35" fmla="*/ 2 h 5"/>
                <a:gd name="T36" fmla="*/ 3 w 4"/>
                <a:gd name="T37" fmla="*/ 1 h 5"/>
                <a:gd name="T38" fmla="*/ 3 w 4"/>
                <a:gd name="T39" fmla="*/ 0 h 5"/>
                <a:gd name="T40" fmla="*/ 4 w 4"/>
                <a:gd name="T41" fmla="*/ 0 h 5"/>
                <a:gd name="T42" fmla="*/ 4 w 4"/>
                <a:gd name="T43" fmla="*/ 0 h 5"/>
                <a:gd name="T44" fmla="*/ 4 w 4"/>
                <a:gd name="T45" fmla="*/ 1 h 5"/>
                <a:gd name="T46" fmla="*/ 4 w 4"/>
                <a:gd name="T47" fmla="*/ 1 h 5"/>
                <a:gd name="T48" fmla="*/ 4 w 4"/>
                <a:gd name="T49" fmla="*/ 2 h 5"/>
                <a:gd name="T50" fmla="*/ 3 w 4"/>
                <a:gd name="T51" fmla="*/ 1 h 5"/>
                <a:gd name="T52" fmla="*/ 3 w 4"/>
                <a:gd name="T53" fmla="*/ 1 h 5"/>
                <a:gd name="T54" fmla="*/ 2 w 4"/>
                <a:gd name="T55" fmla="*/ 3 h 5"/>
                <a:gd name="T56" fmla="*/ 2 w 4"/>
                <a:gd name="T57" fmla="*/ 5 h 5"/>
                <a:gd name="T58" fmla="*/ 1 w 4"/>
                <a:gd name="T59" fmla="*/ 5 h 5"/>
                <a:gd name="T60" fmla="*/ 0 w 4"/>
                <a:gd name="T6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3"/>
                    <a:pt x="2" y="4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5" name="Freeform 10465"/>
            <p:cNvSpPr>
              <a:spLocks/>
            </p:cNvSpPr>
            <p:nvPr/>
          </p:nvSpPr>
          <p:spPr bwMode="auto">
            <a:xfrm>
              <a:off x="8801099" y="6529843"/>
              <a:ext cx="40208" cy="35976"/>
            </a:xfrm>
            <a:custGeom>
              <a:avLst/>
              <a:gdLst>
                <a:gd name="T0" fmla="*/ 0 w 8"/>
                <a:gd name="T1" fmla="*/ 7 h 7"/>
                <a:gd name="T2" fmla="*/ 0 w 8"/>
                <a:gd name="T3" fmla="*/ 7 h 7"/>
                <a:gd name="T4" fmla="*/ 0 w 8"/>
                <a:gd name="T5" fmla="*/ 7 h 7"/>
                <a:gd name="T6" fmla="*/ 1 w 8"/>
                <a:gd name="T7" fmla="*/ 7 h 7"/>
                <a:gd name="T8" fmla="*/ 1 w 8"/>
                <a:gd name="T9" fmla="*/ 7 h 7"/>
                <a:gd name="T10" fmla="*/ 1 w 8"/>
                <a:gd name="T11" fmla="*/ 6 h 7"/>
                <a:gd name="T12" fmla="*/ 1 w 8"/>
                <a:gd name="T13" fmla="*/ 4 h 7"/>
                <a:gd name="T14" fmla="*/ 2 w 8"/>
                <a:gd name="T15" fmla="*/ 2 h 7"/>
                <a:gd name="T16" fmla="*/ 2 w 8"/>
                <a:gd name="T17" fmla="*/ 0 h 7"/>
                <a:gd name="T18" fmla="*/ 2 w 8"/>
                <a:gd name="T19" fmla="*/ 0 h 7"/>
                <a:gd name="T20" fmla="*/ 2 w 8"/>
                <a:gd name="T21" fmla="*/ 0 h 7"/>
                <a:gd name="T22" fmla="*/ 1 w 8"/>
                <a:gd name="T23" fmla="*/ 0 h 7"/>
                <a:gd name="T24" fmla="*/ 1 w 8"/>
                <a:gd name="T25" fmla="*/ 0 h 7"/>
                <a:gd name="T26" fmla="*/ 2 w 8"/>
                <a:gd name="T27" fmla="*/ 0 h 7"/>
                <a:gd name="T28" fmla="*/ 3 w 8"/>
                <a:gd name="T29" fmla="*/ 0 h 7"/>
                <a:gd name="T30" fmla="*/ 4 w 8"/>
                <a:gd name="T31" fmla="*/ 0 h 7"/>
                <a:gd name="T32" fmla="*/ 5 w 8"/>
                <a:gd name="T33" fmla="*/ 0 h 7"/>
                <a:gd name="T34" fmla="*/ 6 w 8"/>
                <a:gd name="T35" fmla="*/ 0 h 7"/>
                <a:gd name="T36" fmla="*/ 7 w 8"/>
                <a:gd name="T37" fmla="*/ 0 h 7"/>
                <a:gd name="T38" fmla="*/ 7 w 8"/>
                <a:gd name="T39" fmla="*/ 1 h 7"/>
                <a:gd name="T40" fmla="*/ 7 w 8"/>
                <a:gd name="T41" fmla="*/ 2 h 7"/>
                <a:gd name="T42" fmla="*/ 5 w 8"/>
                <a:gd name="T43" fmla="*/ 3 h 7"/>
                <a:gd name="T44" fmla="*/ 6 w 8"/>
                <a:gd name="T45" fmla="*/ 5 h 7"/>
                <a:gd name="T46" fmla="*/ 7 w 8"/>
                <a:gd name="T47" fmla="*/ 7 h 7"/>
                <a:gd name="T48" fmla="*/ 7 w 8"/>
                <a:gd name="T49" fmla="*/ 7 h 7"/>
                <a:gd name="T50" fmla="*/ 8 w 8"/>
                <a:gd name="T51" fmla="*/ 7 h 7"/>
                <a:gd name="T52" fmla="*/ 7 w 8"/>
                <a:gd name="T53" fmla="*/ 7 h 7"/>
                <a:gd name="T54" fmla="*/ 6 w 8"/>
                <a:gd name="T55" fmla="*/ 7 h 7"/>
                <a:gd name="T56" fmla="*/ 6 w 8"/>
                <a:gd name="T57" fmla="*/ 7 h 7"/>
                <a:gd name="T58" fmla="*/ 5 w 8"/>
                <a:gd name="T59" fmla="*/ 7 h 7"/>
                <a:gd name="T60" fmla="*/ 5 w 8"/>
                <a:gd name="T61" fmla="*/ 6 h 7"/>
                <a:gd name="T62" fmla="*/ 4 w 8"/>
                <a:gd name="T63" fmla="*/ 4 h 7"/>
                <a:gd name="T64" fmla="*/ 4 w 8"/>
                <a:gd name="T65" fmla="*/ 4 h 7"/>
                <a:gd name="T66" fmla="*/ 3 w 8"/>
                <a:gd name="T67" fmla="*/ 3 h 7"/>
                <a:gd name="T68" fmla="*/ 3 w 8"/>
                <a:gd name="T69" fmla="*/ 3 h 7"/>
                <a:gd name="T70" fmla="*/ 4 w 8"/>
                <a:gd name="T71" fmla="*/ 3 h 7"/>
                <a:gd name="T72" fmla="*/ 5 w 8"/>
                <a:gd name="T73" fmla="*/ 3 h 7"/>
                <a:gd name="T74" fmla="*/ 5 w 8"/>
                <a:gd name="T75" fmla="*/ 2 h 7"/>
                <a:gd name="T76" fmla="*/ 6 w 8"/>
                <a:gd name="T77" fmla="*/ 1 h 7"/>
                <a:gd name="T78" fmla="*/ 5 w 8"/>
                <a:gd name="T79" fmla="*/ 0 h 7"/>
                <a:gd name="T80" fmla="*/ 4 w 8"/>
                <a:gd name="T81" fmla="*/ 0 h 7"/>
                <a:gd name="T82" fmla="*/ 3 w 8"/>
                <a:gd name="T83" fmla="*/ 0 h 7"/>
                <a:gd name="T84" fmla="*/ 3 w 8"/>
                <a:gd name="T85" fmla="*/ 3 h 7"/>
                <a:gd name="T86" fmla="*/ 2 w 8"/>
                <a:gd name="T87" fmla="*/ 5 h 7"/>
                <a:gd name="T88" fmla="*/ 2 w 8"/>
                <a:gd name="T89" fmla="*/ 6 h 7"/>
                <a:gd name="T90" fmla="*/ 2 w 8"/>
                <a:gd name="T91" fmla="*/ 6 h 7"/>
                <a:gd name="T92" fmla="*/ 2 w 8"/>
                <a:gd name="T93" fmla="*/ 7 h 7"/>
                <a:gd name="T94" fmla="*/ 3 w 8"/>
                <a:gd name="T95" fmla="*/ 7 h 7"/>
                <a:gd name="T96" fmla="*/ 3 w 8"/>
                <a:gd name="T97" fmla="*/ 7 h 7"/>
                <a:gd name="T98" fmla="*/ 3 w 8"/>
                <a:gd name="T99" fmla="*/ 7 h 7"/>
                <a:gd name="T100" fmla="*/ 1 w 8"/>
                <a:gd name="T101" fmla="*/ 7 h 7"/>
                <a:gd name="T102" fmla="*/ 0 w 8"/>
                <a:gd name="T10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" h="7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3"/>
                    <a:pt x="5" y="4"/>
                    <a:pt x="6" y="5"/>
                  </a:cubicBezTo>
                  <a:cubicBezTo>
                    <a:pt x="6" y="6"/>
                    <a:pt x="7" y="6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6" y="1"/>
                    <a:pt x="6" y="1"/>
                    <a:pt x="5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1"/>
                    <a:pt x="3" y="2"/>
                    <a:pt x="3" y="3"/>
                  </a:cubicBezTo>
                  <a:cubicBezTo>
                    <a:pt x="3" y="4"/>
                    <a:pt x="3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0" y="7"/>
                  </a:cubicBezTo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6" name="Freeform 10466"/>
            <p:cNvSpPr>
              <a:spLocks noEditPoints="1"/>
            </p:cNvSpPr>
            <p:nvPr/>
          </p:nvSpPr>
          <p:spPr bwMode="auto">
            <a:xfrm>
              <a:off x="8841308" y="6538308"/>
              <a:ext cx="21162" cy="27511"/>
            </a:xfrm>
            <a:custGeom>
              <a:avLst/>
              <a:gdLst>
                <a:gd name="T0" fmla="*/ 4 w 4"/>
                <a:gd name="T1" fmla="*/ 4 h 5"/>
                <a:gd name="T2" fmla="*/ 4 w 4"/>
                <a:gd name="T3" fmla="*/ 4 h 5"/>
                <a:gd name="T4" fmla="*/ 3 w 4"/>
                <a:gd name="T5" fmla="*/ 5 h 5"/>
                <a:gd name="T6" fmla="*/ 2 w 4"/>
                <a:gd name="T7" fmla="*/ 5 h 5"/>
                <a:gd name="T8" fmla="*/ 2 w 4"/>
                <a:gd name="T9" fmla="*/ 5 h 5"/>
                <a:gd name="T10" fmla="*/ 1 w 4"/>
                <a:gd name="T11" fmla="*/ 5 h 5"/>
                <a:gd name="T12" fmla="*/ 0 w 4"/>
                <a:gd name="T13" fmla="*/ 5 h 5"/>
                <a:gd name="T14" fmla="*/ 0 w 4"/>
                <a:gd name="T15" fmla="*/ 4 h 5"/>
                <a:gd name="T16" fmla="*/ 0 w 4"/>
                <a:gd name="T17" fmla="*/ 2 h 5"/>
                <a:gd name="T18" fmla="*/ 1 w 4"/>
                <a:gd name="T19" fmla="*/ 1 h 5"/>
                <a:gd name="T20" fmla="*/ 1 w 4"/>
                <a:gd name="T21" fmla="*/ 1 h 5"/>
                <a:gd name="T22" fmla="*/ 3 w 4"/>
                <a:gd name="T23" fmla="*/ 0 h 5"/>
                <a:gd name="T24" fmla="*/ 3 w 4"/>
                <a:gd name="T25" fmla="*/ 0 h 5"/>
                <a:gd name="T26" fmla="*/ 4 w 4"/>
                <a:gd name="T27" fmla="*/ 0 h 5"/>
                <a:gd name="T28" fmla="*/ 4 w 4"/>
                <a:gd name="T29" fmla="*/ 1 h 5"/>
                <a:gd name="T30" fmla="*/ 4 w 4"/>
                <a:gd name="T31" fmla="*/ 2 h 5"/>
                <a:gd name="T32" fmla="*/ 3 w 4"/>
                <a:gd name="T33" fmla="*/ 3 h 5"/>
                <a:gd name="T34" fmla="*/ 1 w 4"/>
                <a:gd name="T35" fmla="*/ 3 h 5"/>
                <a:gd name="T36" fmla="*/ 1 w 4"/>
                <a:gd name="T37" fmla="*/ 4 h 5"/>
                <a:gd name="T38" fmla="*/ 2 w 4"/>
                <a:gd name="T39" fmla="*/ 4 h 5"/>
                <a:gd name="T40" fmla="*/ 2 w 4"/>
                <a:gd name="T41" fmla="*/ 5 h 5"/>
                <a:gd name="T42" fmla="*/ 3 w 4"/>
                <a:gd name="T43" fmla="*/ 4 h 5"/>
                <a:gd name="T44" fmla="*/ 4 w 4"/>
                <a:gd name="T45" fmla="*/ 4 h 5"/>
                <a:gd name="T46" fmla="*/ 1 w 4"/>
                <a:gd name="T47" fmla="*/ 3 h 5"/>
                <a:gd name="T48" fmla="*/ 2 w 4"/>
                <a:gd name="T49" fmla="*/ 2 h 5"/>
                <a:gd name="T50" fmla="*/ 3 w 4"/>
                <a:gd name="T51" fmla="*/ 2 h 5"/>
                <a:gd name="T52" fmla="*/ 3 w 4"/>
                <a:gd name="T53" fmla="*/ 2 h 5"/>
                <a:gd name="T54" fmla="*/ 3 w 4"/>
                <a:gd name="T55" fmla="*/ 1 h 5"/>
                <a:gd name="T56" fmla="*/ 3 w 4"/>
                <a:gd name="T57" fmla="*/ 1 h 5"/>
                <a:gd name="T58" fmla="*/ 3 w 4"/>
                <a:gd name="T59" fmla="*/ 0 h 5"/>
                <a:gd name="T60" fmla="*/ 2 w 4"/>
                <a:gd name="T61" fmla="*/ 1 h 5"/>
                <a:gd name="T62" fmla="*/ 2 w 4"/>
                <a:gd name="T63" fmla="*/ 1 h 5"/>
                <a:gd name="T64" fmla="*/ 1 w 4"/>
                <a:gd name="T6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3" y="5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moveTo>
                    <a:pt x="1" y="3"/>
                  </a:moveTo>
                  <a:cubicBezTo>
                    <a:pt x="2" y="3"/>
                    <a:pt x="2" y="3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1" y="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7" name="Freeform 10467"/>
            <p:cNvSpPr>
              <a:spLocks noEditPoints="1"/>
            </p:cNvSpPr>
            <p:nvPr/>
          </p:nvSpPr>
          <p:spPr bwMode="auto">
            <a:xfrm>
              <a:off x="8862470" y="6523494"/>
              <a:ext cx="19046" cy="57138"/>
            </a:xfrm>
            <a:custGeom>
              <a:avLst/>
              <a:gdLst>
                <a:gd name="T0" fmla="*/ 0 w 4"/>
                <a:gd name="T1" fmla="*/ 11 h 11"/>
                <a:gd name="T2" fmla="*/ 0 w 4"/>
                <a:gd name="T3" fmla="*/ 10 h 11"/>
                <a:gd name="T4" fmla="*/ 0 w 4"/>
                <a:gd name="T5" fmla="*/ 10 h 11"/>
                <a:gd name="T6" fmla="*/ 1 w 4"/>
                <a:gd name="T7" fmla="*/ 11 h 11"/>
                <a:gd name="T8" fmla="*/ 1 w 4"/>
                <a:gd name="T9" fmla="*/ 11 h 11"/>
                <a:gd name="T10" fmla="*/ 1 w 4"/>
                <a:gd name="T11" fmla="*/ 11 h 11"/>
                <a:gd name="T12" fmla="*/ 1 w 4"/>
                <a:gd name="T13" fmla="*/ 10 h 11"/>
                <a:gd name="T14" fmla="*/ 1 w 4"/>
                <a:gd name="T15" fmla="*/ 9 h 11"/>
                <a:gd name="T16" fmla="*/ 2 w 4"/>
                <a:gd name="T17" fmla="*/ 7 h 11"/>
                <a:gd name="T18" fmla="*/ 2 w 4"/>
                <a:gd name="T19" fmla="*/ 6 h 11"/>
                <a:gd name="T20" fmla="*/ 3 w 4"/>
                <a:gd name="T21" fmla="*/ 4 h 11"/>
                <a:gd name="T22" fmla="*/ 2 w 4"/>
                <a:gd name="T23" fmla="*/ 4 h 11"/>
                <a:gd name="T24" fmla="*/ 2 w 4"/>
                <a:gd name="T25" fmla="*/ 4 h 11"/>
                <a:gd name="T26" fmla="*/ 2 w 4"/>
                <a:gd name="T27" fmla="*/ 4 h 11"/>
                <a:gd name="T28" fmla="*/ 1 w 4"/>
                <a:gd name="T29" fmla="*/ 5 h 11"/>
                <a:gd name="T30" fmla="*/ 1 w 4"/>
                <a:gd name="T31" fmla="*/ 4 h 11"/>
                <a:gd name="T32" fmla="*/ 2 w 4"/>
                <a:gd name="T33" fmla="*/ 4 h 11"/>
                <a:gd name="T34" fmla="*/ 3 w 4"/>
                <a:gd name="T35" fmla="*/ 3 h 11"/>
                <a:gd name="T36" fmla="*/ 3 w 4"/>
                <a:gd name="T37" fmla="*/ 3 h 11"/>
                <a:gd name="T38" fmla="*/ 4 w 4"/>
                <a:gd name="T39" fmla="*/ 3 h 11"/>
                <a:gd name="T40" fmla="*/ 4 w 4"/>
                <a:gd name="T41" fmla="*/ 3 h 11"/>
                <a:gd name="T42" fmla="*/ 4 w 4"/>
                <a:gd name="T43" fmla="*/ 3 h 11"/>
                <a:gd name="T44" fmla="*/ 4 w 4"/>
                <a:gd name="T45" fmla="*/ 5 h 11"/>
                <a:gd name="T46" fmla="*/ 3 w 4"/>
                <a:gd name="T47" fmla="*/ 8 h 11"/>
                <a:gd name="T48" fmla="*/ 2 w 4"/>
                <a:gd name="T49" fmla="*/ 10 h 11"/>
                <a:gd name="T50" fmla="*/ 2 w 4"/>
                <a:gd name="T51" fmla="*/ 11 h 11"/>
                <a:gd name="T52" fmla="*/ 1 w 4"/>
                <a:gd name="T53" fmla="*/ 11 h 11"/>
                <a:gd name="T54" fmla="*/ 0 w 4"/>
                <a:gd name="T55" fmla="*/ 11 h 11"/>
                <a:gd name="T56" fmla="*/ 0 w 4"/>
                <a:gd name="T57" fmla="*/ 11 h 11"/>
                <a:gd name="T58" fmla="*/ 3 w 4"/>
                <a:gd name="T59" fmla="*/ 1 h 11"/>
                <a:gd name="T60" fmla="*/ 3 w 4"/>
                <a:gd name="T61" fmla="*/ 1 h 11"/>
                <a:gd name="T62" fmla="*/ 4 w 4"/>
                <a:gd name="T63" fmla="*/ 0 h 11"/>
                <a:gd name="T64" fmla="*/ 4 w 4"/>
                <a:gd name="T65" fmla="*/ 1 h 11"/>
                <a:gd name="T66" fmla="*/ 4 w 4"/>
                <a:gd name="T67" fmla="*/ 1 h 11"/>
                <a:gd name="T68" fmla="*/ 4 w 4"/>
                <a:gd name="T69" fmla="*/ 2 h 11"/>
                <a:gd name="T70" fmla="*/ 4 w 4"/>
                <a:gd name="T71" fmla="*/ 2 h 11"/>
                <a:gd name="T72" fmla="*/ 3 w 4"/>
                <a:gd name="T73" fmla="*/ 2 h 11"/>
                <a:gd name="T74" fmla="*/ 3 w 4"/>
                <a:gd name="T7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" h="11">
                  <a:moveTo>
                    <a:pt x="0" y="11"/>
                  </a:moveTo>
                  <a:cubicBezTo>
                    <a:pt x="0" y="11"/>
                    <a:pt x="0" y="11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0"/>
                    <a:pt x="1" y="10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5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3" y="7"/>
                    <a:pt x="3" y="8"/>
                    <a:pt x="3" y="8"/>
                  </a:cubicBezTo>
                  <a:cubicBezTo>
                    <a:pt x="3" y="9"/>
                    <a:pt x="2" y="9"/>
                    <a:pt x="2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8" name="Freeform 10468"/>
            <p:cNvSpPr>
              <a:spLocks/>
            </p:cNvSpPr>
            <p:nvPr/>
          </p:nvSpPr>
          <p:spPr bwMode="auto">
            <a:xfrm>
              <a:off x="8887865" y="6538308"/>
              <a:ext cx="23279" cy="27511"/>
            </a:xfrm>
            <a:custGeom>
              <a:avLst/>
              <a:gdLst>
                <a:gd name="T0" fmla="*/ 0 w 5"/>
                <a:gd name="T1" fmla="*/ 1 h 5"/>
                <a:gd name="T2" fmla="*/ 0 w 5"/>
                <a:gd name="T3" fmla="*/ 1 h 5"/>
                <a:gd name="T4" fmla="*/ 1 w 5"/>
                <a:gd name="T5" fmla="*/ 0 h 5"/>
                <a:gd name="T6" fmla="*/ 2 w 5"/>
                <a:gd name="T7" fmla="*/ 0 h 5"/>
                <a:gd name="T8" fmla="*/ 2 w 5"/>
                <a:gd name="T9" fmla="*/ 0 h 5"/>
                <a:gd name="T10" fmla="*/ 2 w 5"/>
                <a:gd name="T11" fmla="*/ 0 h 5"/>
                <a:gd name="T12" fmla="*/ 2 w 5"/>
                <a:gd name="T13" fmla="*/ 1 h 5"/>
                <a:gd name="T14" fmla="*/ 2 w 5"/>
                <a:gd name="T15" fmla="*/ 2 h 5"/>
                <a:gd name="T16" fmla="*/ 1 w 5"/>
                <a:gd name="T17" fmla="*/ 4 h 5"/>
                <a:gd name="T18" fmla="*/ 1 w 5"/>
                <a:gd name="T19" fmla="*/ 4 h 5"/>
                <a:gd name="T20" fmla="*/ 1 w 5"/>
                <a:gd name="T21" fmla="*/ 4 h 5"/>
                <a:gd name="T22" fmla="*/ 1 w 5"/>
                <a:gd name="T23" fmla="*/ 4 h 5"/>
                <a:gd name="T24" fmla="*/ 2 w 5"/>
                <a:gd name="T25" fmla="*/ 4 h 5"/>
                <a:gd name="T26" fmla="*/ 2 w 5"/>
                <a:gd name="T27" fmla="*/ 4 h 5"/>
                <a:gd name="T28" fmla="*/ 3 w 5"/>
                <a:gd name="T29" fmla="*/ 3 h 5"/>
                <a:gd name="T30" fmla="*/ 4 w 5"/>
                <a:gd name="T31" fmla="*/ 1 h 5"/>
                <a:gd name="T32" fmla="*/ 4 w 5"/>
                <a:gd name="T33" fmla="*/ 0 h 5"/>
                <a:gd name="T34" fmla="*/ 5 w 5"/>
                <a:gd name="T35" fmla="*/ 0 h 5"/>
                <a:gd name="T36" fmla="*/ 5 w 5"/>
                <a:gd name="T37" fmla="*/ 0 h 5"/>
                <a:gd name="T38" fmla="*/ 5 w 5"/>
                <a:gd name="T39" fmla="*/ 2 h 5"/>
                <a:gd name="T40" fmla="*/ 4 w 5"/>
                <a:gd name="T41" fmla="*/ 4 h 5"/>
                <a:gd name="T42" fmla="*/ 4 w 5"/>
                <a:gd name="T43" fmla="*/ 4 h 5"/>
                <a:gd name="T44" fmla="*/ 4 w 5"/>
                <a:gd name="T45" fmla="*/ 4 h 5"/>
                <a:gd name="T46" fmla="*/ 4 w 5"/>
                <a:gd name="T47" fmla="*/ 4 h 5"/>
                <a:gd name="T48" fmla="*/ 4 w 5"/>
                <a:gd name="T49" fmla="*/ 4 h 5"/>
                <a:gd name="T50" fmla="*/ 5 w 5"/>
                <a:gd name="T51" fmla="*/ 4 h 5"/>
                <a:gd name="T52" fmla="*/ 5 w 5"/>
                <a:gd name="T53" fmla="*/ 4 h 5"/>
                <a:gd name="T54" fmla="*/ 5 w 5"/>
                <a:gd name="T55" fmla="*/ 5 h 5"/>
                <a:gd name="T56" fmla="*/ 4 w 5"/>
                <a:gd name="T57" fmla="*/ 5 h 5"/>
                <a:gd name="T58" fmla="*/ 3 w 5"/>
                <a:gd name="T59" fmla="*/ 5 h 5"/>
                <a:gd name="T60" fmla="*/ 3 w 5"/>
                <a:gd name="T61" fmla="*/ 5 h 5"/>
                <a:gd name="T62" fmla="*/ 3 w 5"/>
                <a:gd name="T63" fmla="*/ 5 h 5"/>
                <a:gd name="T64" fmla="*/ 3 w 5"/>
                <a:gd name="T65" fmla="*/ 5 h 5"/>
                <a:gd name="T66" fmla="*/ 3 w 5"/>
                <a:gd name="T67" fmla="*/ 5 h 5"/>
                <a:gd name="T68" fmla="*/ 3 w 5"/>
                <a:gd name="T69" fmla="*/ 4 h 5"/>
                <a:gd name="T70" fmla="*/ 3 w 5"/>
                <a:gd name="T71" fmla="*/ 3 h 5"/>
                <a:gd name="T72" fmla="*/ 3 w 5"/>
                <a:gd name="T73" fmla="*/ 3 h 5"/>
                <a:gd name="T74" fmla="*/ 2 w 5"/>
                <a:gd name="T75" fmla="*/ 5 h 5"/>
                <a:gd name="T76" fmla="*/ 1 w 5"/>
                <a:gd name="T77" fmla="*/ 5 h 5"/>
                <a:gd name="T78" fmla="*/ 1 w 5"/>
                <a:gd name="T79" fmla="*/ 5 h 5"/>
                <a:gd name="T80" fmla="*/ 0 w 5"/>
                <a:gd name="T81" fmla="*/ 5 h 5"/>
                <a:gd name="T82" fmla="*/ 0 w 5"/>
                <a:gd name="T83" fmla="*/ 5 h 5"/>
                <a:gd name="T84" fmla="*/ 0 w 5"/>
                <a:gd name="T85" fmla="*/ 4 h 5"/>
                <a:gd name="T86" fmla="*/ 0 w 5"/>
                <a:gd name="T87" fmla="*/ 3 h 5"/>
                <a:gd name="T88" fmla="*/ 1 w 5"/>
                <a:gd name="T89" fmla="*/ 2 h 5"/>
                <a:gd name="T90" fmla="*/ 1 w 5"/>
                <a:gd name="T91" fmla="*/ 1 h 5"/>
                <a:gd name="T92" fmla="*/ 1 w 5"/>
                <a:gd name="T93" fmla="*/ 1 h 5"/>
                <a:gd name="T94" fmla="*/ 1 w 5"/>
                <a:gd name="T95" fmla="*/ 1 h 5"/>
                <a:gd name="T96" fmla="*/ 0 w 5"/>
                <a:gd name="T9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2" y="4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89" name="Freeform 10469"/>
            <p:cNvSpPr>
              <a:spLocks/>
            </p:cNvSpPr>
            <p:nvPr/>
          </p:nvSpPr>
          <p:spPr bwMode="auto">
            <a:xfrm>
              <a:off x="8917492" y="6538308"/>
              <a:ext cx="25395" cy="27511"/>
            </a:xfrm>
            <a:custGeom>
              <a:avLst/>
              <a:gdLst>
                <a:gd name="T0" fmla="*/ 0 w 5"/>
                <a:gd name="T1" fmla="*/ 1 h 5"/>
                <a:gd name="T2" fmla="*/ 0 w 5"/>
                <a:gd name="T3" fmla="*/ 0 h 5"/>
                <a:gd name="T4" fmla="*/ 1 w 5"/>
                <a:gd name="T5" fmla="*/ 0 h 5"/>
                <a:gd name="T6" fmla="*/ 2 w 5"/>
                <a:gd name="T7" fmla="*/ 0 h 5"/>
                <a:gd name="T8" fmla="*/ 2 w 5"/>
                <a:gd name="T9" fmla="*/ 0 h 5"/>
                <a:gd name="T10" fmla="*/ 3 w 5"/>
                <a:gd name="T11" fmla="*/ 0 h 5"/>
                <a:gd name="T12" fmla="*/ 3 w 5"/>
                <a:gd name="T13" fmla="*/ 0 h 5"/>
                <a:gd name="T14" fmla="*/ 3 w 5"/>
                <a:gd name="T15" fmla="*/ 0 h 5"/>
                <a:gd name="T16" fmla="*/ 3 w 5"/>
                <a:gd name="T17" fmla="*/ 1 h 5"/>
                <a:gd name="T18" fmla="*/ 2 w 5"/>
                <a:gd name="T19" fmla="*/ 2 h 5"/>
                <a:gd name="T20" fmla="*/ 2 w 5"/>
                <a:gd name="T21" fmla="*/ 4 h 5"/>
                <a:gd name="T22" fmla="*/ 2 w 5"/>
                <a:gd name="T23" fmla="*/ 4 h 5"/>
                <a:gd name="T24" fmla="*/ 3 w 5"/>
                <a:gd name="T25" fmla="*/ 5 h 5"/>
                <a:gd name="T26" fmla="*/ 3 w 5"/>
                <a:gd name="T27" fmla="*/ 4 h 5"/>
                <a:gd name="T28" fmla="*/ 4 w 5"/>
                <a:gd name="T29" fmla="*/ 4 h 5"/>
                <a:gd name="T30" fmla="*/ 4 w 5"/>
                <a:gd name="T31" fmla="*/ 3 h 5"/>
                <a:gd name="T32" fmla="*/ 4 w 5"/>
                <a:gd name="T33" fmla="*/ 1 h 5"/>
                <a:gd name="T34" fmla="*/ 4 w 5"/>
                <a:gd name="T35" fmla="*/ 1 h 5"/>
                <a:gd name="T36" fmla="*/ 4 w 5"/>
                <a:gd name="T37" fmla="*/ 1 h 5"/>
                <a:gd name="T38" fmla="*/ 4 w 5"/>
                <a:gd name="T39" fmla="*/ 1 h 5"/>
                <a:gd name="T40" fmla="*/ 4 w 5"/>
                <a:gd name="T41" fmla="*/ 1 h 5"/>
                <a:gd name="T42" fmla="*/ 4 w 5"/>
                <a:gd name="T43" fmla="*/ 0 h 5"/>
                <a:gd name="T44" fmla="*/ 4 w 5"/>
                <a:gd name="T45" fmla="*/ 0 h 5"/>
                <a:gd name="T46" fmla="*/ 4 w 5"/>
                <a:gd name="T47" fmla="*/ 0 h 5"/>
                <a:gd name="T48" fmla="*/ 5 w 5"/>
                <a:gd name="T49" fmla="*/ 0 h 5"/>
                <a:gd name="T50" fmla="*/ 5 w 5"/>
                <a:gd name="T51" fmla="*/ 0 h 5"/>
                <a:gd name="T52" fmla="*/ 5 w 5"/>
                <a:gd name="T53" fmla="*/ 0 h 5"/>
                <a:gd name="T54" fmla="*/ 5 w 5"/>
                <a:gd name="T55" fmla="*/ 1 h 5"/>
                <a:gd name="T56" fmla="*/ 5 w 5"/>
                <a:gd name="T57" fmla="*/ 2 h 5"/>
                <a:gd name="T58" fmla="*/ 5 w 5"/>
                <a:gd name="T59" fmla="*/ 3 h 5"/>
                <a:gd name="T60" fmla="*/ 4 w 5"/>
                <a:gd name="T61" fmla="*/ 4 h 5"/>
                <a:gd name="T62" fmla="*/ 3 w 5"/>
                <a:gd name="T63" fmla="*/ 5 h 5"/>
                <a:gd name="T64" fmla="*/ 2 w 5"/>
                <a:gd name="T65" fmla="*/ 5 h 5"/>
                <a:gd name="T66" fmla="*/ 1 w 5"/>
                <a:gd name="T67" fmla="*/ 5 h 5"/>
                <a:gd name="T68" fmla="*/ 1 w 5"/>
                <a:gd name="T69" fmla="*/ 4 h 5"/>
                <a:gd name="T70" fmla="*/ 1 w 5"/>
                <a:gd name="T71" fmla="*/ 3 h 5"/>
                <a:gd name="T72" fmla="*/ 1 w 5"/>
                <a:gd name="T73" fmla="*/ 2 h 5"/>
                <a:gd name="T74" fmla="*/ 2 w 5"/>
                <a:gd name="T75" fmla="*/ 1 h 5"/>
                <a:gd name="T76" fmla="*/ 2 w 5"/>
                <a:gd name="T77" fmla="*/ 1 h 5"/>
                <a:gd name="T78" fmla="*/ 1 w 5"/>
                <a:gd name="T79" fmla="*/ 1 h 5"/>
                <a:gd name="T80" fmla="*/ 1 w 5"/>
                <a:gd name="T81" fmla="*/ 1 h 5"/>
                <a:gd name="T82" fmla="*/ 1 w 5"/>
                <a:gd name="T83" fmla="*/ 1 h 5"/>
                <a:gd name="T84" fmla="*/ 0 w 5"/>
                <a:gd name="T85" fmla="*/ 1 h 5"/>
                <a:gd name="T86" fmla="*/ 0 w 5"/>
                <a:gd name="T8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0" name="Freeform 10470"/>
            <p:cNvSpPr>
              <a:spLocks noEditPoints="1"/>
            </p:cNvSpPr>
            <p:nvPr/>
          </p:nvSpPr>
          <p:spPr bwMode="auto">
            <a:xfrm>
              <a:off x="8947119" y="6538308"/>
              <a:ext cx="19046" cy="27511"/>
            </a:xfrm>
            <a:custGeom>
              <a:avLst/>
              <a:gdLst>
                <a:gd name="T0" fmla="*/ 4 w 4"/>
                <a:gd name="T1" fmla="*/ 4 h 5"/>
                <a:gd name="T2" fmla="*/ 4 w 4"/>
                <a:gd name="T3" fmla="*/ 4 h 5"/>
                <a:gd name="T4" fmla="*/ 3 w 4"/>
                <a:gd name="T5" fmla="*/ 5 h 5"/>
                <a:gd name="T6" fmla="*/ 2 w 4"/>
                <a:gd name="T7" fmla="*/ 5 h 5"/>
                <a:gd name="T8" fmla="*/ 1 w 4"/>
                <a:gd name="T9" fmla="*/ 5 h 5"/>
                <a:gd name="T10" fmla="*/ 1 w 4"/>
                <a:gd name="T11" fmla="*/ 5 h 5"/>
                <a:gd name="T12" fmla="*/ 0 w 4"/>
                <a:gd name="T13" fmla="*/ 5 h 5"/>
                <a:gd name="T14" fmla="*/ 0 w 4"/>
                <a:gd name="T15" fmla="*/ 4 h 5"/>
                <a:gd name="T16" fmla="*/ 0 w 4"/>
                <a:gd name="T17" fmla="*/ 2 h 5"/>
                <a:gd name="T18" fmla="*/ 1 w 4"/>
                <a:gd name="T19" fmla="*/ 1 h 5"/>
                <a:gd name="T20" fmla="*/ 1 w 4"/>
                <a:gd name="T21" fmla="*/ 1 h 5"/>
                <a:gd name="T22" fmla="*/ 3 w 4"/>
                <a:gd name="T23" fmla="*/ 0 h 5"/>
                <a:gd name="T24" fmla="*/ 3 w 4"/>
                <a:gd name="T25" fmla="*/ 0 h 5"/>
                <a:gd name="T26" fmla="*/ 4 w 4"/>
                <a:gd name="T27" fmla="*/ 0 h 5"/>
                <a:gd name="T28" fmla="*/ 4 w 4"/>
                <a:gd name="T29" fmla="*/ 1 h 5"/>
                <a:gd name="T30" fmla="*/ 4 w 4"/>
                <a:gd name="T31" fmla="*/ 2 h 5"/>
                <a:gd name="T32" fmla="*/ 3 w 4"/>
                <a:gd name="T33" fmla="*/ 3 h 5"/>
                <a:gd name="T34" fmla="*/ 1 w 4"/>
                <a:gd name="T35" fmla="*/ 3 h 5"/>
                <a:gd name="T36" fmla="*/ 1 w 4"/>
                <a:gd name="T37" fmla="*/ 4 h 5"/>
                <a:gd name="T38" fmla="*/ 2 w 4"/>
                <a:gd name="T39" fmla="*/ 4 h 5"/>
                <a:gd name="T40" fmla="*/ 2 w 4"/>
                <a:gd name="T41" fmla="*/ 5 h 5"/>
                <a:gd name="T42" fmla="*/ 3 w 4"/>
                <a:gd name="T43" fmla="*/ 4 h 5"/>
                <a:gd name="T44" fmla="*/ 4 w 4"/>
                <a:gd name="T45" fmla="*/ 4 h 5"/>
                <a:gd name="T46" fmla="*/ 1 w 4"/>
                <a:gd name="T47" fmla="*/ 3 h 5"/>
                <a:gd name="T48" fmla="*/ 2 w 4"/>
                <a:gd name="T49" fmla="*/ 2 h 5"/>
                <a:gd name="T50" fmla="*/ 3 w 4"/>
                <a:gd name="T51" fmla="*/ 2 h 5"/>
                <a:gd name="T52" fmla="*/ 3 w 4"/>
                <a:gd name="T53" fmla="*/ 2 h 5"/>
                <a:gd name="T54" fmla="*/ 3 w 4"/>
                <a:gd name="T55" fmla="*/ 1 h 5"/>
                <a:gd name="T56" fmla="*/ 3 w 4"/>
                <a:gd name="T57" fmla="*/ 1 h 5"/>
                <a:gd name="T58" fmla="*/ 3 w 4"/>
                <a:gd name="T59" fmla="*/ 0 h 5"/>
                <a:gd name="T60" fmla="*/ 2 w 4"/>
                <a:gd name="T61" fmla="*/ 1 h 5"/>
                <a:gd name="T62" fmla="*/ 2 w 4"/>
                <a:gd name="T63" fmla="*/ 1 h 5"/>
                <a:gd name="T64" fmla="*/ 1 w 4"/>
                <a:gd name="T6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3" y="5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moveTo>
                    <a:pt x="1" y="3"/>
                  </a:move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1" y="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1" name="Freeform 10471"/>
            <p:cNvSpPr>
              <a:spLocks/>
            </p:cNvSpPr>
            <p:nvPr/>
          </p:nvSpPr>
          <p:spPr bwMode="auto">
            <a:xfrm>
              <a:off x="8972514" y="6538308"/>
              <a:ext cx="25395" cy="27511"/>
            </a:xfrm>
            <a:custGeom>
              <a:avLst/>
              <a:gdLst>
                <a:gd name="T0" fmla="*/ 0 w 5"/>
                <a:gd name="T1" fmla="*/ 5 h 5"/>
                <a:gd name="T2" fmla="*/ 0 w 5"/>
                <a:gd name="T3" fmla="*/ 5 h 5"/>
                <a:gd name="T4" fmla="*/ 0 w 5"/>
                <a:gd name="T5" fmla="*/ 4 h 5"/>
                <a:gd name="T6" fmla="*/ 1 w 5"/>
                <a:gd name="T7" fmla="*/ 3 h 5"/>
                <a:gd name="T8" fmla="*/ 1 w 5"/>
                <a:gd name="T9" fmla="*/ 2 h 5"/>
                <a:gd name="T10" fmla="*/ 1 w 5"/>
                <a:gd name="T11" fmla="*/ 1 h 5"/>
                <a:gd name="T12" fmla="*/ 1 w 5"/>
                <a:gd name="T13" fmla="*/ 1 h 5"/>
                <a:gd name="T14" fmla="*/ 1 w 5"/>
                <a:gd name="T15" fmla="*/ 1 h 5"/>
                <a:gd name="T16" fmla="*/ 0 w 5"/>
                <a:gd name="T17" fmla="*/ 1 h 5"/>
                <a:gd name="T18" fmla="*/ 0 w 5"/>
                <a:gd name="T19" fmla="*/ 1 h 5"/>
                <a:gd name="T20" fmla="*/ 1 w 5"/>
                <a:gd name="T21" fmla="*/ 0 h 5"/>
                <a:gd name="T22" fmla="*/ 2 w 5"/>
                <a:gd name="T23" fmla="*/ 0 h 5"/>
                <a:gd name="T24" fmla="*/ 2 w 5"/>
                <a:gd name="T25" fmla="*/ 0 h 5"/>
                <a:gd name="T26" fmla="*/ 2 w 5"/>
                <a:gd name="T27" fmla="*/ 0 h 5"/>
                <a:gd name="T28" fmla="*/ 2 w 5"/>
                <a:gd name="T29" fmla="*/ 1 h 5"/>
                <a:gd name="T30" fmla="*/ 2 w 5"/>
                <a:gd name="T31" fmla="*/ 3 h 5"/>
                <a:gd name="T32" fmla="*/ 3 w 5"/>
                <a:gd name="T33" fmla="*/ 1 h 5"/>
                <a:gd name="T34" fmla="*/ 4 w 5"/>
                <a:gd name="T35" fmla="*/ 0 h 5"/>
                <a:gd name="T36" fmla="*/ 5 w 5"/>
                <a:gd name="T37" fmla="*/ 0 h 5"/>
                <a:gd name="T38" fmla="*/ 5 w 5"/>
                <a:gd name="T39" fmla="*/ 0 h 5"/>
                <a:gd name="T40" fmla="*/ 5 w 5"/>
                <a:gd name="T41" fmla="*/ 0 h 5"/>
                <a:gd name="T42" fmla="*/ 5 w 5"/>
                <a:gd name="T43" fmla="*/ 1 h 5"/>
                <a:gd name="T44" fmla="*/ 5 w 5"/>
                <a:gd name="T45" fmla="*/ 3 h 5"/>
                <a:gd name="T46" fmla="*/ 4 w 5"/>
                <a:gd name="T47" fmla="*/ 4 h 5"/>
                <a:gd name="T48" fmla="*/ 4 w 5"/>
                <a:gd name="T49" fmla="*/ 4 h 5"/>
                <a:gd name="T50" fmla="*/ 4 w 5"/>
                <a:gd name="T51" fmla="*/ 4 h 5"/>
                <a:gd name="T52" fmla="*/ 4 w 5"/>
                <a:gd name="T53" fmla="*/ 4 h 5"/>
                <a:gd name="T54" fmla="*/ 5 w 5"/>
                <a:gd name="T55" fmla="*/ 4 h 5"/>
                <a:gd name="T56" fmla="*/ 5 w 5"/>
                <a:gd name="T57" fmla="*/ 4 h 5"/>
                <a:gd name="T58" fmla="*/ 5 w 5"/>
                <a:gd name="T59" fmla="*/ 4 h 5"/>
                <a:gd name="T60" fmla="*/ 4 w 5"/>
                <a:gd name="T61" fmla="*/ 5 h 5"/>
                <a:gd name="T62" fmla="*/ 3 w 5"/>
                <a:gd name="T63" fmla="*/ 5 h 5"/>
                <a:gd name="T64" fmla="*/ 3 w 5"/>
                <a:gd name="T65" fmla="*/ 5 h 5"/>
                <a:gd name="T66" fmla="*/ 3 w 5"/>
                <a:gd name="T67" fmla="*/ 5 h 5"/>
                <a:gd name="T68" fmla="*/ 3 w 5"/>
                <a:gd name="T69" fmla="*/ 3 h 5"/>
                <a:gd name="T70" fmla="*/ 4 w 5"/>
                <a:gd name="T71" fmla="*/ 1 h 5"/>
                <a:gd name="T72" fmla="*/ 4 w 5"/>
                <a:gd name="T73" fmla="*/ 1 h 5"/>
                <a:gd name="T74" fmla="*/ 4 w 5"/>
                <a:gd name="T75" fmla="*/ 1 h 5"/>
                <a:gd name="T76" fmla="*/ 3 w 5"/>
                <a:gd name="T77" fmla="*/ 1 h 5"/>
                <a:gd name="T78" fmla="*/ 3 w 5"/>
                <a:gd name="T79" fmla="*/ 2 h 5"/>
                <a:gd name="T80" fmla="*/ 2 w 5"/>
                <a:gd name="T81" fmla="*/ 3 h 5"/>
                <a:gd name="T82" fmla="*/ 1 w 5"/>
                <a:gd name="T83" fmla="*/ 4 h 5"/>
                <a:gd name="T84" fmla="*/ 1 w 5"/>
                <a:gd name="T85" fmla="*/ 5 h 5"/>
                <a:gd name="T86" fmla="*/ 0 w 5"/>
                <a:gd name="T8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3"/>
                    <a:pt x="4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2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2" name="Freeform 10472"/>
            <p:cNvSpPr>
              <a:spLocks noEditPoints="1"/>
            </p:cNvSpPr>
            <p:nvPr/>
          </p:nvSpPr>
          <p:spPr bwMode="auto">
            <a:xfrm>
              <a:off x="9002141" y="6538308"/>
              <a:ext cx="25395" cy="27511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4 h 5"/>
                <a:gd name="T4" fmla="*/ 4 w 5"/>
                <a:gd name="T5" fmla="*/ 5 h 5"/>
                <a:gd name="T6" fmla="*/ 3 w 5"/>
                <a:gd name="T7" fmla="*/ 5 h 5"/>
                <a:gd name="T8" fmla="*/ 3 w 5"/>
                <a:gd name="T9" fmla="*/ 5 h 5"/>
                <a:gd name="T10" fmla="*/ 3 w 5"/>
                <a:gd name="T11" fmla="*/ 4 h 5"/>
                <a:gd name="T12" fmla="*/ 4 w 5"/>
                <a:gd name="T13" fmla="*/ 3 h 5"/>
                <a:gd name="T14" fmla="*/ 3 w 5"/>
                <a:gd name="T15" fmla="*/ 4 h 5"/>
                <a:gd name="T16" fmla="*/ 2 w 5"/>
                <a:gd name="T17" fmla="*/ 5 h 5"/>
                <a:gd name="T18" fmla="*/ 1 w 5"/>
                <a:gd name="T19" fmla="*/ 5 h 5"/>
                <a:gd name="T20" fmla="*/ 1 w 5"/>
                <a:gd name="T21" fmla="*/ 5 h 5"/>
                <a:gd name="T22" fmla="*/ 0 w 5"/>
                <a:gd name="T23" fmla="*/ 5 h 5"/>
                <a:gd name="T24" fmla="*/ 0 w 5"/>
                <a:gd name="T25" fmla="*/ 4 h 5"/>
                <a:gd name="T26" fmla="*/ 0 w 5"/>
                <a:gd name="T27" fmla="*/ 3 h 5"/>
                <a:gd name="T28" fmla="*/ 1 w 5"/>
                <a:gd name="T29" fmla="*/ 1 h 5"/>
                <a:gd name="T30" fmla="*/ 2 w 5"/>
                <a:gd name="T31" fmla="*/ 1 h 5"/>
                <a:gd name="T32" fmla="*/ 3 w 5"/>
                <a:gd name="T33" fmla="*/ 0 h 5"/>
                <a:gd name="T34" fmla="*/ 3 w 5"/>
                <a:gd name="T35" fmla="*/ 0 h 5"/>
                <a:gd name="T36" fmla="*/ 4 w 5"/>
                <a:gd name="T37" fmla="*/ 0 h 5"/>
                <a:gd name="T38" fmla="*/ 5 w 5"/>
                <a:gd name="T39" fmla="*/ 0 h 5"/>
                <a:gd name="T40" fmla="*/ 5 w 5"/>
                <a:gd name="T41" fmla="*/ 0 h 5"/>
                <a:gd name="T42" fmla="*/ 5 w 5"/>
                <a:gd name="T43" fmla="*/ 0 h 5"/>
                <a:gd name="T44" fmla="*/ 5 w 5"/>
                <a:gd name="T45" fmla="*/ 1 h 5"/>
                <a:gd name="T46" fmla="*/ 4 w 5"/>
                <a:gd name="T47" fmla="*/ 4 h 5"/>
                <a:gd name="T48" fmla="*/ 4 w 5"/>
                <a:gd name="T49" fmla="*/ 4 h 5"/>
                <a:gd name="T50" fmla="*/ 4 w 5"/>
                <a:gd name="T51" fmla="*/ 4 h 5"/>
                <a:gd name="T52" fmla="*/ 4 w 5"/>
                <a:gd name="T53" fmla="*/ 4 h 5"/>
                <a:gd name="T54" fmla="*/ 5 w 5"/>
                <a:gd name="T55" fmla="*/ 4 h 5"/>
                <a:gd name="T56" fmla="*/ 5 w 5"/>
                <a:gd name="T57" fmla="*/ 4 h 5"/>
                <a:gd name="T58" fmla="*/ 4 w 5"/>
                <a:gd name="T59" fmla="*/ 1 h 5"/>
                <a:gd name="T60" fmla="*/ 3 w 5"/>
                <a:gd name="T61" fmla="*/ 1 h 5"/>
                <a:gd name="T62" fmla="*/ 3 w 5"/>
                <a:gd name="T63" fmla="*/ 1 h 5"/>
                <a:gd name="T64" fmla="*/ 2 w 5"/>
                <a:gd name="T65" fmla="*/ 1 h 5"/>
                <a:gd name="T66" fmla="*/ 2 w 5"/>
                <a:gd name="T67" fmla="*/ 2 h 5"/>
                <a:gd name="T68" fmla="*/ 1 w 5"/>
                <a:gd name="T69" fmla="*/ 4 h 5"/>
                <a:gd name="T70" fmla="*/ 2 w 5"/>
                <a:gd name="T71" fmla="*/ 4 h 5"/>
                <a:gd name="T72" fmla="*/ 2 w 5"/>
                <a:gd name="T73" fmla="*/ 4 h 5"/>
                <a:gd name="T74" fmla="*/ 2 w 5"/>
                <a:gd name="T75" fmla="*/ 4 h 5"/>
                <a:gd name="T76" fmla="*/ 3 w 5"/>
                <a:gd name="T77" fmla="*/ 3 h 5"/>
                <a:gd name="T78" fmla="*/ 4 w 5"/>
                <a:gd name="T79" fmla="*/ 2 h 5"/>
                <a:gd name="T80" fmla="*/ 4 w 5"/>
                <a:gd name="T8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3"/>
                    <a:pt x="4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2" y="4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5"/>
                    <a:pt x="0" y="5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2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moveTo>
                    <a:pt x="4" y="1"/>
                  </a:move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3"/>
                    <a:pt x="1" y="4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3"/>
                  </a:cubicBezTo>
                  <a:cubicBezTo>
                    <a:pt x="3" y="3"/>
                    <a:pt x="3" y="3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3" name="Freeform 10473"/>
            <p:cNvSpPr>
              <a:spLocks/>
            </p:cNvSpPr>
            <p:nvPr/>
          </p:nvSpPr>
          <p:spPr bwMode="auto">
            <a:xfrm>
              <a:off x="9031768" y="6529843"/>
              <a:ext cx="21162" cy="35976"/>
            </a:xfrm>
            <a:custGeom>
              <a:avLst/>
              <a:gdLst>
                <a:gd name="T0" fmla="*/ 4 w 4"/>
                <a:gd name="T1" fmla="*/ 6 h 7"/>
                <a:gd name="T2" fmla="*/ 4 w 4"/>
                <a:gd name="T3" fmla="*/ 6 h 7"/>
                <a:gd name="T4" fmla="*/ 3 w 4"/>
                <a:gd name="T5" fmla="*/ 7 h 7"/>
                <a:gd name="T6" fmla="*/ 2 w 4"/>
                <a:gd name="T7" fmla="*/ 7 h 7"/>
                <a:gd name="T8" fmla="*/ 1 w 4"/>
                <a:gd name="T9" fmla="*/ 7 h 7"/>
                <a:gd name="T10" fmla="*/ 1 w 4"/>
                <a:gd name="T11" fmla="*/ 7 h 7"/>
                <a:gd name="T12" fmla="*/ 1 w 4"/>
                <a:gd name="T13" fmla="*/ 7 h 7"/>
                <a:gd name="T14" fmla="*/ 1 w 4"/>
                <a:gd name="T15" fmla="*/ 6 h 7"/>
                <a:gd name="T16" fmla="*/ 1 w 4"/>
                <a:gd name="T17" fmla="*/ 4 h 7"/>
                <a:gd name="T18" fmla="*/ 2 w 4"/>
                <a:gd name="T19" fmla="*/ 3 h 7"/>
                <a:gd name="T20" fmla="*/ 0 w 4"/>
                <a:gd name="T21" fmla="*/ 3 h 7"/>
                <a:gd name="T22" fmla="*/ 1 w 4"/>
                <a:gd name="T23" fmla="*/ 2 h 7"/>
                <a:gd name="T24" fmla="*/ 2 w 4"/>
                <a:gd name="T25" fmla="*/ 2 h 7"/>
                <a:gd name="T26" fmla="*/ 2 w 4"/>
                <a:gd name="T27" fmla="*/ 2 h 7"/>
                <a:gd name="T28" fmla="*/ 2 w 4"/>
                <a:gd name="T29" fmla="*/ 1 h 7"/>
                <a:gd name="T30" fmla="*/ 3 w 4"/>
                <a:gd name="T31" fmla="*/ 0 h 7"/>
                <a:gd name="T32" fmla="*/ 3 w 4"/>
                <a:gd name="T33" fmla="*/ 0 h 7"/>
                <a:gd name="T34" fmla="*/ 3 w 4"/>
                <a:gd name="T35" fmla="*/ 0 h 7"/>
                <a:gd name="T36" fmla="*/ 3 w 4"/>
                <a:gd name="T37" fmla="*/ 2 h 7"/>
                <a:gd name="T38" fmla="*/ 3 w 4"/>
                <a:gd name="T39" fmla="*/ 2 h 7"/>
                <a:gd name="T40" fmla="*/ 4 w 4"/>
                <a:gd name="T41" fmla="*/ 2 h 7"/>
                <a:gd name="T42" fmla="*/ 4 w 4"/>
                <a:gd name="T43" fmla="*/ 2 h 7"/>
                <a:gd name="T44" fmla="*/ 4 w 4"/>
                <a:gd name="T45" fmla="*/ 3 h 7"/>
                <a:gd name="T46" fmla="*/ 3 w 4"/>
                <a:gd name="T47" fmla="*/ 3 h 7"/>
                <a:gd name="T48" fmla="*/ 3 w 4"/>
                <a:gd name="T49" fmla="*/ 3 h 7"/>
                <a:gd name="T50" fmla="*/ 3 w 4"/>
                <a:gd name="T51" fmla="*/ 4 h 7"/>
                <a:gd name="T52" fmla="*/ 2 w 4"/>
                <a:gd name="T53" fmla="*/ 5 h 7"/>
                <a:gd name="T54" fmla="*/ 2 w 4"/>
                <a:gd name="T55" fmla="*/ 6 h 7"/>
                <a:gd name="T56" fmla="*/ 2 w 4"/>
                <a:gd name="T57" fmla="*/ 6 h 7"/>
                <a:gd name="T58" fmla="*/ 2 w 4"/>
                <a:gd name="T59" fmla="*/ 6 h 7"/>
                <a:gd name="T60" fmla="*/ 2 w 4"/>
                <a:gd name="T61" fmla="*/ 6 h 7"/>
                <a:gd name="T62" fmla="*/ 3 w 4"/>
                <a:gd name="T63" fmla="*/ 6 h 7"/>
                <a:gd name="T64" fmla="*/ 4 w 4"/>
                <a:gd name="T6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" h="7"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3" y="6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2" y="4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4" y="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4" name="Freeform 10474"/>
            <p:cNvSpPr>
              <a:spLocks noEditPoints="1"/>
            </p:cNvSpPr>
            <p:nvPr/>
          </p:nvSpPr>
          <p:spPr bwMode="auto">
            <a:xfrm>
              <a:off x="9057163" y="6523494"/>
              <a:ext cx="14814" cy="42325"/>
            </a:xfrm>
            <a:custGeom>
              <a:avLst/>
              <a:gdLst>
                <a:gd name="T0" fmla="*/ 0 w 3"/>
                <a:gd name="T1" fmla="*/ 5 h 8"/>
                <a:gd name="T2" fmla="*/ 0 w 3"/>
                <a:gd name="T3" fmla="*/ 4 h 8"/>
                <a:gd name="T4" fmla="*/ 0 w 3"/>
                <a:gd name="T5" fmla="*/ 4 h 8"/>
                <a:gd name="T6" fmla="*/ 1 w 3"/>
                <a:gd name="T7" fmla="*/ 3 h 8"/>
                <a:gd name="T8" fmla="*/ 2 w 3"/>
                <a:gd name="T9" fmla="*/ 3 h 8"/>
                <a:gd name="T10" fmla="*/ 2 w 3"/>
                <a:gd name="T11" fmla="*/ 3 h 8"/>
                <a:gd name="T12" fmla="*/ 2 w 3"/>
                <a:gd name="T13" fmla="*/ 3 h 8"/>
                <a:gd name="T14" fmla="*/ 2 w 3"/>
                <a:gd name="T15" fmla="*/ 3 h 8"/>
                <a:gd name="T16" fmla="*/ 2 w 3"/>
                <a:gd name="T17" fmla="*/ 4 h 8"/>
                <a:gd name="T18" fmla="*/ 2 w 3"/>
                <a:gd name="T19" fmla="*/ 5 h 8"/>
                <a:gd name="T20" fmla="*/ 1 w 3"/>
                <a:gd name="T21" fmla="*/ 7 h 8"/>
                <a:gd name="T22" fmla="*/ 1 w 3"/>
                <a:gd name="T23" fmla="*/ 7 h 8"/>
                <a:gd name="T24" fmla="*/ 1 w 3"/>
                <a:gd name="T25" fmla="*/ 7 h 8"/>
                <a:gd name="T26" fmla="*/ 1 w 3"/>
                <a:gd name="T27" fmla="*/ 7 h 8"/>
                <a:gd name="T28" fmla="*/ 2 w 3"/>
                <a:gd name="T29" fmla="*/ 7 h 8"/>
                <a:gd name="T30" fmla="*/ 2 w 3"/>
                <a:gd name="T31" fmla="*/ 7 h 8"/>
                <a:gd name="T32" fmla="*/ 3 w 3"/>
                <a:gd name="T33" fmla="*/ 7 h 8"/>
                <a:gd name="T34" fmla="*/ 2 w 3"/>
                <a:gd name="T35" fmla="*/ 8 h 8"/>
                <a:gd name="T36" fmla="*/ 1 w 3"/>
                <a:gd name="T37" fmla="*/ 8 h 8"/>
                <a:gd name="T38" fmla="*/ 0 w 3"/>
                <a:gd name="T39" fmla="*/ 8 h 8"/>
                <a:gd name="T40" fmla="*/ 0 w 3"/>
                <a:gd name="T41" fmla="*/ 8 h 8"/>
                <a:gd name="T42" fmla="*/ 0 w 3"/>
                <a:gd name="T43" fmla="*/ 8 h 8"/>
                <a:gd name="T44" fmla="*/ 0 w 3"/>
                <a:gd name="T45" fmla="*/ 7 h 8"/>
                <a:gd name="T46" fmla="*/ 0 w 3"/>
                <a:gd name="T47" fmla="*/ 6 h 8"/>
                <a:gd name="T48" fmla="*/ 1 w 3"/>
                <a:gd name="T49" fmla="*/ 4 h 8"/>
                <a:gd name="T50" fmla="*/ 1 w 3"/>
                <a:gd name="T51" fmla="*/ 4 h 8"/>
                <a:gd name="T52" fmla="*/ 1 w 3"/>
                <a:gd name="T53" fmla="*/ 4 h 8"/>
                <a:gd name="T54" fmla="*/ 0 w 3"/>
                <a:gd name="T55" fmla="*/ 5 h 8"/>
                <a:gd name="T56" fmla="*/ 1 w 3"/>
                <a:gd name="T57" fmla="*/ 1 h 8"/>
                <a:gd name="T58" fmla="*/ 2 w 3"/>
                <a:gd name="T59" fmla="*/ 1 h 8"/>
                <a:gd name="T60" fmla="*/ 2 w 3"/>
                <a:gd name="T61" fmla="*/ 0 h 8"/>
                <a:gd name="T62" fmla="*/ 3 w 3"/>
                <a:gd name="T63" fmla="*/ 1 h 8"/>
                <a:gd name="T64" fmla="*/ 3 w 3"/>
                <a:gd name="T65" fmla="*/ 1 h 8"/>
                <a:gd name="T66" fmla="*/ 2 w 3"/>
                <a:gd name="T67" fmla="*/ 2 h 8"/>
                <a:gd name="T68" fmla="*/ 2 w 3"/>
                <a:gd name="T69" fmla="*/ 2 h 8"/>
                <a:gd name="T70" fmla="*/ 2 w 3"/>
                <a:gd name="T71" fmla="*/ 2 h 8"/>
                <a:gd name="T72" fmla="*/ 1 w 3"/>
                <a:gd name="T7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" h="8">
                  <a:moveTo>
                    <a:pt x="0" y="5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5"/>
                  </a:cubicBezTo>
                  <a:moveTo>
                    <a:pt x="1" y="1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1"/>
                    <a:pt x="1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5" name="Freeform 10475"/>
            <p:cNvSpPr>
              <a:spLocks noEditPoints="1"/>
            </p:cNvSpPr>
            <p:nvPr/>
          </p:nvSpPr>
          <p:spPr bwMode="auto">
            <a:xfrm>
              <a:off x="9071977" y="6538308"/>
              <a:ext cx="29627" cy="27511"/>
            </a:xfrm>
            <a:custGeom>
              <a:avLst/>
              <a:gdLst>
                <a:gd name="T0" fmla="*/ 0 w 6"/>
                <a:gd name="T1" fmla="*/ 4 h 5"/>
                <a:gd name="T2" fmla="*/ 1 w 6"/>
                <a:gd name="T3" fmla="*/ 2 h 5"/>
                <a:gd name="T4" fmla="*/ 1 w 6"/>
                <a:gd name="T5" fmla="*/ 1 h 5"/>
                <a:gd name="T6" fmla="*/ 2 w 6"/>
                <a:gd name="T7" fmla="*/ 1 h 5"/>
                <a:gd name="T8" fmla="*/ 3 w 6"/>
                <a:gd name="T9" fmla="*/ 0 h 5"/>
                <a:gd name="T10" fmla="*/ 4 w 6"/>
                <a:gd name="T11" fmla="*/ 0 h 5"/>
                <a:gd name="T12" fmla="*/ 5 w 6"/>
                <a:gd name="T13" fmla="*/ 0 h 5"/>
                <a:gd name="T14" fmla="*/ 5 w 6"/>
                <a:gd name="T15" fmla="*/ 0 h 5"/>
                <a:gd name="T16" fmla="*/ 5 w 6"/>
                <a:gd name="T17" fmla="*/ 1 h 5"/>
                <a:gd name="T18" fmla="*/ 6 w 6"/>
                <a:gd name="T19" fmla="*/ 2 h 5"/>
                <a:gd name="T20" fmla="*/ 5 w 6"/>
                <a:gd name="T21" fmla="*/ 3 h 5"/>
                <a:gd name="T22" fmla="*/ 5 w 6"/>
                <a:gd name="T23" fmla="*/ 4 h 5"/>
                <a:gd name="T24" fmla="*/ 4 w 6"/>
                <a:gd name="T25" fmla="*/ 5 h 5"/>
                <a:gd name="T26" fmla="*/ 3 w 6"/>
                <a:gd name="T27" fmla="*/ 5 h 5"/>
                <a:gd name="T28" fmla="*/ 2 w 6"/>
                <a:gd name="T29" fmla="*/ 5 h 5"/>
                <a:gd name="T30" fmla="*/ 1 w 6"/>
                <a:gd name="T31" fmla="*/ 5 h 5"/>
                <a:gd name="T32" fmla="*/ 1 w 6"/>
                <a:gd name="T33" fmla="*/ 4 h 5"/>
                <a:gd name="T34" fmla="*/ 0 w 6"/>
                <a:gd name="T35" fmla="*/ 4 h 5"/>
                <a:gd name="T36" fmla="*/ 2 w 6"/>
                <a:gd name="T37" fmla="*/ 4 h 5"/>
                <a:gd name="T38" fmla="*/ 2 w 6"/>
                <a:gd name="T39" fmla="*/ 4 h 5"/>
                <a:gd name="T40" fmla="*/ 3 w 6"/>
                <a:gd name="T41" fmla="*/ 5 h 5"/>
                <a:gd name="T42" fmla="*/ 3 w 6"/>
                <a:gd name="T43" fmla="*/ 5 h 5"/>
                <a:gd name="T44" fmla="*/ 4 w 6"/>
                <a:gd name="T45" fmla="*/ 4 h 5"/>
                <a:gd name="T46" fmla="*/ 4 w 6"/>
                <a:gd name="T47" fmla="*/ 3 h 5"/>
                <a:gd name="T48" fmla="*/ 4 w 6"/>
                <a:gd name="T49" fmla="*/ 2 h 5"/>
                <a:gd name="T50" fmla="*/ 4 w 6"/>
                <a:gd name="T51" fmla="*/ 1 h 5"/>
                <a:gd name="T52" fmla="*/ 3 w 6"/>
                <a:gd name="T53" fmla="*/ 0 h 5"/>
                <a:gd name="T54" fmla="*/ 3 w 6"/>
                <a:gd name="T55" fmla="*/ 1 h 5"/>
                <a:gd name="T56" fmla="*/ 2 w 6"/>
                <a:gd name="T57" fmla="*/ 2 h 5"/>
                <a:gd name="T58" fmla="*/ 2 w 6"/>
                <a:gd name="T5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" h="5">
                  <a:moveTo>
                    <a:pt x="0" y="4"/>
                  </a:moveTo>
                  <a:cubicBezTo>
                    <a:pt x="0" y="3"/>
                    <a:pt x="1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2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4" y="4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2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6" name="Freeform 10476"/>
            <p:cNvSpPr>
              <a:spLocks/>
            </p:cNvSpPr>
            <p:nvPr/>
          </p:nvSpPr>
          <p:spPr bwMode="auto">
            <a:xfrm>
              <a:off x="9101604" y="6538308"/>
              <a:ext cx="29627" cy="27511"/>
            </a:xfrm>
            <a:custGeom>
              <a:avLst/>
              <a:gdLst>
                <a:gd name="T0" fmla="*/ 1 w 6"/>
                <a:gd name="T1" fmla="*/ 5 h 5"/>
                <a:gd name="T2" fmla="*/ 0 w 6"/>
                <a:gd name="T3" fmla="*/ 5 h 5"/>
                <a:gd name="T4" fmla="*/ 1 w 6"/>
                <a:gd name="T5" fmla="*/ 4 h 5"/>
                <a:gd name="T6" fmla="*/ 1 w 6"/>
                <a:gd name="T7" fmla="*/ 3 h 5"/>
                <a:gd name="T8" fmla="*/ 1 w 6"/>
                <a:gd name="T9" fmla="*/ 2 h 5"/>
                <a:gd name="T10" fmla="*/ 1 w 6"/>
                <a:gd name="T11" fmla="*/ 1 h 5"/>
                <a:gd name="T12" fmla="*/ 1 w 6"/>
                <a:gd name="T13" fmla="*/ 1 h 5"/>
                <a:gd name="T14" fmla="*/ 1 w 6"/>
                <a:gd name="T15" fmla="*/ 1 h 5"/>
                <a:gd name="T16" fmla="*/ 1 w 6"/>
                <a:gd name="T17" fmla="*/ 1 h 5"/>
                <a:gd name="T18" fmla="*/ 0 w 6"/>
                <a:gd name="T19" fmla="*/ 1 h 5"/>
                <a:gd name="T20" fmla="*/ 2 w 6"/>
                <a:gd name="T21" fmla="*/ 0 h 5"/>
                <a:gd name="T22" fmla="*/ 2 w 6"/>
                <a:gd name="T23" fmla="*/ 0 h 5"/>
                <a:gd name="T24" fmla="*/ 3 w 6"/>
                <a:gd name="T25" fmla="*/ 0 h 5"/>
                <a:gd name="T26" fmla="*/ 3 w 6"/>
                <a:gd name="T27" fmla="*/ 0 h 5"/>
                <a:gd name="T28" fmla="*/ 3 w 6"/>
                <a:gd name="T29" fmla="*/ 1 h 5"/>
                <a:gd name="T30" fmla="*/ 2 w 6"/>
                <a:gd name="T31" fmla="*/ 3 h 5"/>
                <a:gd name="T32" fmla="*/ 3 w 6"/>
                <a:gd name="T33" fmla="*/ 1 h 5"/>
                <a:gd name="T34" fmla="*/ 5 w 6"/>
                <a:gd name="T35" fmla="*/ 0 h 5"/>
                <a:gd name="T36" fmla="*/ 5 w 6"/>
                <a:gd name="T37" fmla="*/ 0 h 5"/>
                <a:gd name="T38" fmla="*/ 6 w 6"/>
                <a:gd name="T39" fmla="*/ 0 h 5"/>
                <a:gd name="T40" fmla="*/ 6 w 6"/>
                <a:gd name="T41" fmla="*/ 0 h 5"/>
                <a:gd name="T42" fmla="*/ 6 w 6"/>
                <a:gd name="T43" fmla="*/ 1 h 5"/>
                <a:gd name="T44" fmla="*/ 5 w 6"/>
                <a:gd name="T45" fmla="*/ 3 h 5"/>
                <a:gd name="T46" fmla="*/ 5 w 6"/>
                <a:gd name="T47" fmla="*/ 4 h 5"/>
                <a:gd name="T48" fmla="*/ 5 w 6"/>
                <a:gd name="T49" fmla="*/ 4 h 5"/>
                <a:gd name="T50" fmla="*/ 5 w 6"/>
                <a:gd name="T51" fmla="*/ 4 h 5"/>
                <a:gd name="T52" fmla="*/ 5 w 6"/>
                <a:gd name="T53" fmla="*/ 4 h 5"/>
                <a:gd name="T54" fmla="*/ 5 w 6"/>
                <a:gd name="T55" fmla="*/ 4 h 5"/>
                <a:gd name="T56" fmla="*/ 6 w 6"/>
                <a:gd name="T57" fmla="*/ 4 h 5"/>
                <a:gd name="T58" fmla="*/ 6 w 6"/>
                <a:gd name="T59" fmla="*/ 4 h 5"/>
                <a:gd name="T60" fmla="*/ 4 w 6"/>
                <a:gd name="T61" fmla="*/ 5 h 5"/>
                <a:gd name="T62" fmla="*/ 4 w 6"/>
                <a:gd name="T63" fmla="*/ 5 h 5"/>
                <a:gd name="T64" fmla="*/ 4 w 6"/>
                <a:gd name="T65" fmla="*/ 5 h 5"/>
                <a:gd name="T66" fmla="*/ 3 w 6"/>
                <a:gd name="T67" fmla="*/ 5 h 5"/>
                <a:gd name="T68" fmla="*/ 4 w 6"/>
                <a:gd name="T69" fmla="*/ 3 h 5"/>
                <a:gd name="T70" fmla="*/ 4 w 6"/>
                <a:gd name="T71" fmla="*/ 1 h 5"/>
                <a:gd name="T72" fmla="*/ 4 w 6"/>
                <a:gd name="T73" fmla="*/ 1 h 5"/>
                <a:gd name="T74" fmla="*/ 4 w 6"/>
                <a:gd name="T75" fmla="*/ 1 h 5"/>
                <a:gd name="T76" fmla="*/ 4 w 6"/>
                <a:gd name="T77" fmla="*/ 1 h 5"/>
                <a:gd name="T78" fmla="*/ 3 w 6"/>
                <a:gd name="T79" fmla="*/ 2 h 5"/>
                <a:gd name="T80" fmla="*/ 2 w 6"/>
                <a:gd name="T81" fmla="*/ 3 h 5"/>
                <a:gd name="T82" fmla="*/ 2 w 6"/>
                <a:gd name="T83" fmla="*/ 4 h 5"/>
                <a:gd name="T84" fmla="*/ 2 w 6"/>
                <a:gd name="T85" fmla="*/ 5 h 5"/>
                <a:gd name="T86" fmla="*/ 1 w 6"/>
                <a:gd name="T8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4"/>
                    <a:pt x="4" y="4"/>
                    <a:pt x="4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7" name="Freeform 10477"/>
            <p:cNvSpPr>
              <a:spLocks noEditPoints="1"/>
            </p:cNvSpPr>
            <p:nvPr/>
          </p:nvSpPr>
          <p:spPr bwMode="auto">
            <a:xfrm>
              <a:off x="8426526" y="6601795"/>
              <a:ext cx="25395" cy="25395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4 h 5"/>
                <a:gd name="T4" fmla="*/ 3 w 5"/>
                <a:gd name="T5" fmla="*/ 5 h 5"/>
                <a:gd name="T6" fmla="*/ 3 w 5"/>
                <a:gd name="T7" fmla="*/ 5 h 5"/>
                <a:gd name="T8" fmla="*/ 3 w 5"/>
                <a:gd name="T9" fmla="*/ 5 h 5"/>
                <a:gd name="T10" fmla="*/ 3 w 5"/>
                <a:gd name="T11" fmla="*/ 4 h 5"/>
                <a:gd name="T12" fmla="*/ 3 w 5"/>
                <a:gd name="T13" fmla="*/ 3 h 5"/>
                <a:gd name="T14" fmla="*/ 3 w 5"/>
                <a:gd name="T15" fmla="*/ 4 h 5"/>
                <a:gd name="T16" fmla="*/ 2 w 5"/>
                <a:gd name="T17" fmla="*/ 5 h 5"/>
                <a:gd name="T18" fmla="*/ 1 w 5"/>
                <a:gd name="T19" fmla="*/ 5 h 5"/>
                <a:gd name="T20" fmla="*/ 1 w 5"/>
                <a:gd name="T21" fmla="*/ 5 h 5"/>
                <a:gd name="T22" fmla="*/ 0 w 5"/>
                <a:gd name="T23" fmla="*/ 5 h 5"/>
                <a:gd name="T24" fmla="*/ 0 w 5"/>
                <a:gd name="T25" fmla="*/ 5 h 5"/>
                <a:gd name="T26" fmla="*/ 0 w 5"/>
                <a:gd name="T27" fmla="*/ 3 h 5"/>
                <a:gd name="T28" fmla="*/ 1 w 5"/>
                <a:gd name="T29" fmla="*/ 2 h 5"/>
                <a:gd name="T30" fmla="*/ 2 w 5"/>
                <a:gd name="T31" fmla="*/ 1 h 5"/>
                <a:gd name="T32" fmla="*/ 3 w 5"/>
                <a:gd name="T33" fmla="*/ 0 h 5"/>
                <a:gd name="T34" fmla="*/ 3 w 5"/>
                <a:gd name="T35" fmla="*/ 0 h 5"/>
                <a:gd name="T36" fmla="*/ 4 w 5"/>
                <a:gd name="T37" fmla="*/ 0 h 5"/>
                <a:gd name="T38" fmla="*/ 4 w 5"/>
                <a:gd name="T39" fmla="*/ 0 h 5"/>
                <a:gd name="T40" fmla="*/ 5 w 5"/>
                <a:gd name="T41" fmla="*/ 0 h 5"/>
                <a:gd name="T42" fmla="*/ 5 w 5"/>
                <a:gd name="T43" fmla="*/ 0 h 5"/>
                <a:gd name="T44" fmla="*/ 5 w 5"/>
                <a:gd name="T45" fmla="*/ 1 h 5"/>
                <a:gd name="T46" fmla="*/ 4 w 5"/>
                <a:gd name="T47" fmla="*/ 4 h 5"/>
                <a:gd name="T48" fmla="*/ 4 w 5"/>
                <a:gd name="T49" fmla="*/ 4 h 5"/>
                <a:gd name="T50" fmla="*/ 4 w 5"/>
                <a:gd name="T51" fmla="*/ 5 h 5"/>
                <a:gd name="T52" fmla="*/ 4 w 5"/>
                <a:gd name="T53" fmla="*/ 5 h 5"/>
                <a:gd name="T54" fmla="*/ 5 w 5"/>
                <a:gd name="T55" fmla="*/ 4 h 5"/>
                <a:gd name="T56" fmla="*/ 5 w 5"/>
                <a:gd name="T57" fmla="*/ 4 h 5"/>
                <a:gd name="T58" fmla="*/ 4 w 5"/>
                <a:gd name="T59" fmla="*/ 1 h 5"/>
                <a:gd name="T60" fmla="*/ 3 w 5"/>
                <a:gd name="T61" fmla="*/ 1 h 5"/>
                <a:gd name="T62" fmla="*/ 3 w 5"/>
                <a:gd name="T63" fmla="*/ 1 h 5"/>
                <a:gd name="T64" fmla="*/ 2 w 5"/>
                <a:gd name="T65" fmla="*/ 1 h 5"/>
                <a:gd name="T66" fmla="*/ 2 w 5"/>
                <a:gd name="T67" fmla="*/ 2 h 5"/>
                <a:gd name="T68" fmla="*/ 1 w 5"/>
                <a:gd name="T69" fmla="*/ 4 h 5"/>
                <a:gd name="T70" fmla="*/ 1 w 5"/>
                <a:gd name="T71" fmla="*/ 4 h 5"/>
                <a:gd name="T72" fmla="*/ 1 w 5"/>
                <a:gd name="T73" fmla="*/ 5 h 5"/>
                <a:gd name="T74" fmla="*/ 2 w 5"/>
                <a:gd name="T75" fmla="*/ 4 h 5"/>
                <a:gd name="T76" fmla="*/ 3 w 5"/>
                <a:gd name="T77" fmla="*/ 4 h 5"/>
                <a:gd name="T78" fmla="*/ 3 w 5"/>
                <a:gd name="T79" fmla="*/ 2 h 5"/>
                <a:gd name="T80" fmla="*/ 4 w 5"/>
                <a:gd name="T8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moveTo>
                    <a:pt x="4" y="1"/>
                  </a:move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4" y="2"/>
                    <a:pt x="4" y="1"/>
                    <a:pt x="4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8" name="Freeform 10478"/>
            <p:cNvSpPr>
              <a:spLocks/>
            </p:cNvSpPr>
            <p:nvPr/>
          </p:nvSpPr>
          <p:spPr bwMode="auto">
            <a:xfrm>
              <a:off x="8456153" y="6601795"/>
              <a:ext cx="29627" cy="25395"/>
            </a:xfrm>
            <a:custGeom>
              <a:avLst/>
              <a:gdLst>
                <a:gd name="T0" fmla="*/ 0 w 6"/>
                <a:gd name="T1" fmla="*/ 5 h 5"/>
                <a:gd name="T2" fmla="*/ 0 w 6"/>
                <a:gd name="T3" fmla="*/ 5 h 5"/>
                <a:gd name="T4" fmla="*/ 0 w 6"/>
                <a:gd name="T5" fmla="*/ 5 h 5"/>
                <a:gd name="T6" fmla="*/ 1 w 6"/>
                <a:gd name="T7" fmla="*/ 3 h 5"/>
                <a:gd name="T8" fmla="*/ 1 w 6"/>
                <a:gd name="T9" fmla="*/ 2 h 5"/>
                <a:gd name="T10" fmla="*/ 1 w 6"/>
                <a:gd name="T11" fmla="*/ 1 h 5"/>
                <a:gd name="T12" fmla="*/ 1 w 6"/>
                <a:gd name="T13" fmla="*/ 1 h 5"/>
                <a:gd name="T14" fmla="*/ 1 w 6"/>
                <a:gd name="T15" fmla="*/ 1 h 5"/>
                <a:gd name="T16" fmla="*/ 0 w 6"/>
                <a:gd name="T17" fmla="*/ 2 h 5"/>
                <a:gd name="T18" fmla="*/ 0 w 6"/>
                <a:gd name="T19" fmla="*/ 1 h 5"/>
                <a:gd name="T20" fmla="*/ 2 w 6"/>
                <a:gd name="T21" fmla="*/ 0 h 5"/>
                <a:gd name="T22" fmla="*/ 2 w 6"/>
                <a:gd name="T23" fmla="*/ 0 h 5"/>
                <a:gd name="T24" fmla="*/ 2 w 6"/>
                <a:gd name="T25" fmla="*/ 0 h 5"/>
                <a:gd name="T26" fmla="*/ 2 w 6"/>
                <a:gd name="T27" fmla="*/ 0 h 5"/>
                <a:gd name="T28" fmla="*/ 2 w 6"/>
                <a:gd name="T29" fmla="*/ 1 h 5"/>
                <a:gd name="T30" fmla="*/ 2 w 6"/>
                <a:gd name="T31" fmla="*/ 3 h 5"/>
                <a:gd name="T32" fmla="*/ 3 w 6"/>
                <a:gd name="T33" fmla="*/ 1 h 5"/>
                <a:gd name="T34" fmla="*/ 4 w 6"/>
                <a:gd name="T35" fmla="*/ 0 h 5"/>
                <a:gd name="T36" fmla="*/ 5 w 6"/>
                <a:gd name="T37" fmla="*/ 0 h 5"/>
                <a:gd name="T38" fmla="*/ 5 w 6"/>
                <a:gd name="T39" fmla="*/ 0 h 5"/>
                <a:gd name="T40" fmla="*/ 5 w 6"/>
                <a:gd name="T41" fmla="*/ 1 h 5"/>
                <a:gd name="T42" fmla="*/ 5 w 6"/>
                <a:gd name="T43" fmla="*/ 1 h 5"/>
                <a:gd name="T44" fmla="*/ 5 w 6"/>
                <a:gd name="T45" fmla="*/ 3 h 5"/>
                <a:gd name="T46" fmla="*/ 5 w 6"/>
                <a:gd name="T47" fmla="*/ 4 h 5"/>
                <a:gd name="T48" fmla="*/ 4 w 6"/>
                <a:gd name="T49" fmla="*/ 4 h 5"/>
                <a:gd name="T50" fmla="*/ 5 w 6"/>
                <a:gd name="T51" fmla="*/ 4 h 5"/>
                <a:gd name="T52" fmla="*/ 5 w 6"/>
                <a:gd name="T53" fmla="*/ 5 h 5"/>
                <a:gd name="T54" fmla="*/ 5 w 6"/>
                <a:gd name="T55" fmla="*/ 4 h 5"/>
                <a:gd name="T56" fmla="*/ 5 w 6"/>
                <a:gd name="T57" fmla="*/ 4 h 5"/>
                <a:gd name="T58" fmla="*/ 6 w 6"/>
                <a:gd name="T59" fmla="*/ 4 h 5"/>
                <a:gd name="T60" fmla="*/ 4 w 6"/>
                <a:gd name="T61" fmla="*/ 5 h 5"/>
                <a:gd name="T62" fmla="*/ 4 w 6"/>
                <a:gd name="T63" fmla="*/ 5 h 5"/>
                <a:gd name="T64" fmla="*/ 3 w 6"/>
                <a:gd name="T65" fmla="*/ 5 h 5"/>
                <a:gd name="T66" fmla="*/ 3 w 6"/>
                <a:gd name="T67" fmla="*/ 5 h 5"/>
                <a:gd name="T68" fmla="*/ 4 w 6"/>
                <a:gd name="T69" fmla="*/ 3 h 5"/>
                <a:gd name="T70" fmla="*/ 4 w 6"/>
                <a:gd name="T71" fmla="*/ 1 h 5"/>
                <a:gd name="T72" fmla="*/ 4 w 6"/>
                <a:gd name="T73" fmla="*/ 1 h 5"/>
                <a:gd name="T74" fmla="*/ 4 w 6"/>
                <a:gd name="T75" fmla="*/ 1 h 5"/>
                <a:gd name="T76" fmla="*/ 3 w 6"/>
                <a:gd name="T77" fmla="*/ 1 h 5"/>
                <a:gd name="T78" fmla="*/ 3 w 6"/>
                <a:gd name="T79" fmla="*/ 2 h 5"/>
                <a:gd name="T80" fmla="*/ 2 w 6"/>
                <a:gd name="T81" fmla="*/ 3 h 5"/>
                <a:gd name="T82" fmla="*/ 2 w 6"/>
                <a:gd name="T83" fmla="*/ 4 h 5"/>
                <a:gd name="T84" fmla="*/ 1 w 6"/>
                <a:gd name="T85" fmla="*/ 5 h 5"/>
                <a:gd name="T86" fmla="*/ 0 w 6"/>
                <a:gd name="T8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999" name="Freeform 10479"/>
            <p:cNvSpPr>
              <a:spLocks noEditPoints="1"/>
            </p:cNvSpPr>
            <p:nvPr/>
          </p:nvSpPr>
          <p:spPr bwMode="auto">
            <a:xfrm>
              <a:off x="8485781" y="6584865"/>
              <a:ext cx="31743" cy="42325"/>
            </a:xfrm>
            <a:custGeom>
              <a:avLst/>
              <a:gdLst>
                <a:gd name="T0" fmla="*/ 6 w 6"/>
                <a:gd name="T1" fmla="*/ 7 h 8"/>
                <a:gd name="T2" fmla="*/ 6 w 6"/>
                <a:gd name="T3" fmla="*/ 7 h 8"/>
                <a:gd name="T4" fmla="*/ 5 w 6"/>
                <a:gd name="T5" fmla="*/ 8 h 8"/>
                <a:gd name="T6" fmla="*/ 4 w 6"/>
                <a:gd name="T7" fmla="*/ 8 h 8"/>
                <a:gd name="T8" fmla="*/ 4 w 6"/>
                <a:gd name="T9" fmla="*/ 8 h 8"/>
                <a:gd name="T10" fmla="*/ 4 w 6"/>
                <a:gd name="T11" fmla="*/ 8 h 8"/>
                <a:gd name="T12" fmla="*/ 3 w 6"/>
                <a:gd name="T13" fmla="*/ 8 h 8"/>
                <a:gd name="T14" fmla="*/ 3 w 6"/>
                <a:gd name="T15" fmla="*/ 7 h 8"/>
                <a:gd name="T16" fmla="*/ 4 w 6"/>
                <a:gd name="T17" fmla="*/ 6 h 8"/>
                <a:gd name="T18" fmla="*/ 2 w 6"/>
                <a:gd name="T19" fmla="*/ 8 h 8"/>
                <a:gd name="T20" fmla="*/ 1 w 6"/>
                <a:gd name="T21" fmla="*/ 8 h 8"/>
                <a:gd name="T22" fmla="*/ 1 w 6"/>
                <a:gd name="T23" fmla="*/ 8 h 8"/>
                <a:gd name="T24" fmla="*/ 0 w 6"/>
                <a:gd name="T25" fmla="*/ 7 h 8"/>
                <a:gd name="T26" fmla="*/ 1 w 6"/>
                <a:gd name="T27" fmla="*/ 6 h 8"/>
                <a:gd name="T28" fmla="*/ 1 w 6"/>
                <a:gd name="T29" fmla="*/ 5 h 8"/>
                <a:gd name="T30" fmla="*/ 1 w 6"/>
                <a:gd name="T31" fmla="*/ 4 h 8"/>
                <a:gd name="T32" fmla="*/ 2 w 6"/>
                <a:gd name="T33" fmla="*/ 4 h 8"/>
                <a:gd name="T34" fmla="*/ 3 w 6"/>
                <a:gd name="T35" fmla="*/ 3 h 8"/>
                <a:gd name="T36" fmla="*/ 4 w 6"/>
                <a:gd name="T37" fmla="*/ 3 h 8"/>
                <a:gd name="T38" fmla="*/ 4 w 6"/>
                <a:gd name="T39" fmla="*/ 3 h 8"/>
                <a:gd name="T40" fmla="*/ 5 w 6"/>
                <a:gd name="T41" fmla="*/ 2 h 8"/>
                <a:gd name="T42" fmla="*/ 5 w 6"/>
                <a:gd name="T43" fmla="*/ 1 h 8"/>
                <a:gd name="T44" fmla="*/ 5 w 6"/>
                <a:gd name="T45" fmla="*/ 1 h 8"/>
                <a:gd name="T46" fmla="*/ 4 w 6"/>
                <a:gd name="T47" fmla="*/ 1 h 8"/>
                <a:gd name="T48" fmla="*/ 4 w 6"/>
                <a:gd name="T49" fmla="*/ 1 h 8"/>
                <a:gd name="T50" fmla="*/ 4 w 6"/>
                <a:gd name="T51" fmla="*/ 1 h 8"/>
                <a:gd name="T52" fmla="*/ 6 w 6"/>
                <a:gd name="T53" fmla="*/ 0 h 8"/>
                <a:gd name="T54" fmla="*/ 6 w 6"/>
                <a:gd name="T55" fmla="*/ 0 h 8"/>
                <a:gd name="T56" fmla="*/ 5 w 6"/>
                <a:gd name="T57" fmla="*/ 6 h 8"/>
                <a:gd name="T58" fmla="*/ 5 w 6"/>
                <a:gd name="T59" fmla="*/ 7 h 8"/>
                <a:gd name="T60" fmla="*/ 5 w 6"/>
                <a:gd name="T61" fmla="*/ 8 h 8"/>
                <a:gd name="T62" fmla="*/ 5 w 6"/>
                <a:gd name="T63" fmla="*/ 8 h 8"/>
                <a:gd name="T64" fmla="*/ 5 w 6"/>
                <a:gd name="T65" fmla="*/ 8 h 8"/>
                <a:gd name="T66" fmla="*/ 5 w 6"/>
                <a:gd name="T67" fmla="*/ 7 h 8"/>
                <a:gd name="T68" fmla="*/ 5 w 6"/>
                <a:gd name="T69" fmla="*/ 7 h 8"/>
                <a:gd name="T70" fmla="*/ 6 w 6"/>
                <a:gd name="T71" fmla="*/ 7 h 8"/>
                <a:gd name="T72" fmla="*/ 4 w 6"/>
                <a:gd name="T73" fmla="*/ 4 h 8"/>
                <a:gd name="T74" fmla="*/ 4 w 6"/>
                <a:gd name="T75" fmla="*/ 4 h 8"/>
                <a:gd name="T76" fmla="*/ 3 w 6"/>
                <a:gd name="T77" fmla="*/ 4 h 8"/>
                <a:gd name="T78" fmla="*/ 3 w 6"/>
                <a:gd name="T79" fmla="*/ 4 h 8"/>
                <a:gd name="T80" fmla="*/ 2 w 6"/>
                <a:gd name="T81" fmla="*/ 4 h 8"/>
                <a:gd name="T82" fmla="*/ 2 w 6"/>
                <a:gd name="T83" fmla="*/ 5 h 8"/>
                <a:gd name="T84" fmla="*/ 2 w 6"/>
                <a:gd name="T85" fmla="*/ 7 h 8"/>
                <a:gd name="T86" fmla="*/ 2 w 6"/>
                <a:gd name="T87" fmla="*/ 7 h 8"/>
                <a:gd name="T88" fmla="*/ 2 w 6"/>
                <a:gd name="T89" fmla="*/ 8 h 8"/>
                <a:gd name="T90" fmla="*/ 2 w 6"/>
                <a:gd name="T91" fmla="*/ 7 h 8"/>
                <a:gd name="T92" fmla="*/ 3 w 6"/>
                <a:gd name="T93" fmla="*/ 7 h 8"/>
                <a:gd name="T94" fmla="*/ 3 w 6"/>
                <a:gd name="T95" fmla="*/ 6 h 8"/>
                <a:gd name="T96" fmla="*/ 4 w 6"/>
                <a:gd name="T97" fmla="*/ 5 h 8"/>
                <a:gd name="T98" fmla="*/ 4 w 6"/>
                <a:gd name="T9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" h="8"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4" y="7"/>
                    <a:pt x="4" y="7"/>
                    <a:pt x="4" y="6"/>
                  </a:cubicBezTo>
                  <a:cubicBezTo>
                    <a:pt x="3" y="7"/>
                    <a:pt x="3" y="7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7"/>
                  </a:cubicBezTo>
                  <a:cubicBezTo>
                    <a:pt x="0" y="7"/>
                    <a:pt x="0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3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lnTo>
                    <a:pt x="6" y="7"/>
                  </a:ln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4" y="5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0" name="Freeform 10480"/>
            <p:cNvSpPr>
              <a:spLocks/>
            </p:cNvSpPr>
            <p:nvPr/>
          </p:nvSpPr>
          <p:spPr bwMode="auto">
            <a:xfrm>
              <a:off x="8536570" y="6591214"/>
              <a:ext cx="40208" cy="35976"/>
            </a:xfrm>
            <a:custGeom>
              <a:avLst/>
              <a:gdLst>
                <a:gd name="T0" fmla="*/ 8 w 8"/>
                <a:gd name="T1" fmla="*/ 0 h 7"/>
                <a:gd name="T2" fmla="*/ 8 w 8"/>
                <a:gd name="T3" fmla="*/ 0 h 7"/>
                <a:gd name="T4" fmla="*/ 7 w 8"/>
                <a:gd name="T5" fmla="*/ 0 h 7"/>
                <a:gd name="T6" fmla="*/ 7 w 8"/>
                <a:gd name="T7" fmla="*/ 0 h 7"/>
                <a:gd name="T8" fmla="*/ 7 w 8"/>
                <a:gd name="T9" fmla="*/ 0 h 7"/>
                <a:gd name="T10" fmla="*/ 7 w 8"/>
                <a:gd name="T11" fmla="*/ 3 h 7"/>
                <a:gd name="T12" fmla="*/ 6 w 8"/>
                <a:gd name="T13" fmla="*/ 5 h 7"/>
                <a:gd name="T14" fmla="*/ 6 w 8"/>
                <a:gd name="T15" fmla="*/ 7 h 7"/>
                <a:gd name="T16" fmla="*/ 6 w 8"/>
                <a:gd name="T17" fmla="*/ 7 h 7"/>
                <a:gd name="T18" fmla="*/ 6 w 8"/>
                <a:gd name="T19" fmla="*/ 7 h 7"/>
                <a:gd name="T20" fmla="*/ 7 w 8"/>
                <a:gd name="T21" fmla="*/ 7 h 7"/>
                <a:gd name="T22" fmla="*/ 7 w 8"/>
                <a:gd name="T23" fmla="*/ 7 h 7"/>
                <a:gd name="T24" fmla="*/ 7 w 8"/>
                <a:gd name="T25" fmla="*/ 7 h 7"/>
                <a:gd name="T26" fmla="*/ 6 w 8"/>
                <a:gd name="T27" fmla="*/ 7 h 7"/>
                <a:gd name="T28" fmla="*/ 4 w 8"/>
                <a:gd name="T29" fmla="*/ 7 h 7"/>
                <a:gd name="T30" fmla="*/ 4 w 8"/>
                <a:gd name="T31" fmla="*/ 7 h 7"/>
                <a:gd name="T32" fmla="*/ 5 w 8"/>
                <a:gd name="T33" fmla="*/ 6 h 7"/>
                <a:gd name="T34" fmla="*/ 3 w 8"/>
                <a:gd name="T35" fmla="*/ 7 h 7"/>
                <a:gd name="T36" fmla="*/ 2 w 8"/>
                <a:gd name="T37" fmla="*/ 7 h 7"/>
                <a:gd name="T38" fmla="*/ 1 w 8"/>
                <a:gd name="T39" fmla="*/ 7 h 7"/>
                <a:gd name="T40" fmla="*/ 0 w 8"/>
                <a:gd name="T41" fmla="*/ 7 h 7"/>
                <a:gd name="T42" fmla="*/ 0 w 8"/>
                <a:gd name="T43" fmla="*/ 6 h 7"/>
                <a:gd name="T44" fmla="*/ 0 w 8"/>
                <a:gd name="T45" fmla="*/ 6 h 7"/>
                <a:gd name="T46" fmla="*/ 0 w 8"/>
                <a:gd name="T47" fmla="*/ 5 h 7"/>
                <a:gd name="T48" fmla="*/ 0 w 8"/>
                <a:gd name="T49" fmla="*/ 5 h 7"/>
                <a:gd name="T50" fmla="*/ 0 w 8"/>
                <a:gd name="T51" fmla="*/ 3 h 7"/>
                <a:gd name="T52" fmla="*/ 1 w 8"/>
                <a:gd name="T53" fmla="*/ 2 h 7"/>
                <a:gd name="T54" fmla="*/ 1 w 8"/>
                <a:gd name="T55" fmla="*/ 1 h 7"/>
                <a:gd name="T56" fmla="*/ 1 w 8"/>
                <a:gd name="T57" fmla="*/ 0 h 7"/>
                <a:gd name="T58" fmla="*/ 1 w 8"/>
                <a:gd name="T59" fmla="*/ 0 h 7"/>
                <a:gd name="T60" fmla="*/ 1 w 8"/>
                <a:gd name="T61" fmla="*/ 0 h 7"/>
                <a:gd name="T62" fmla="*/ 0 w 8"/>
                <a:gd name="T63" fmla="*/ 0 h 7"/>
                <a:gd name="T64" fmla="*/ 0 w 8"/>
                <a:gd name="T65" fmla="*/ 0 h 7"/>
                <a:gd name="T66" fmla="*/ 0 w 8"/>
                <a:gd name="T67" fmla="*/ 0 h 7"/>
                <a:gd name="T68" fmla="*/ 0 w 8"/>
                <a:gd name="T69" fmla="*/ 0 h 7"/>
                <a:gd name="T70" fmla="*/ 2 w 8"/>
                <a:gd name="T71" fmla="*/ 0 h 7"/>
                <a:gd name="T72" fmla="*/ 2 w 8"/>
                <a:gd name="T73" fmla="*/ 0 h 7"/>
                <a:gd name="T74" fmla="*/ 2 w 8"/>
                <a:gd name="T75" fmla="*/ 0 h 7"/>
                <a:gd name="T76" fmla="*/ 2 w 8"/>
                <a:gd name="T77" fmla="*/ 0 h 7"/>
                <a:gd name="T78" fmla="*/ 2 w 8"/>
                <a:gd name="T79" fmla="*/ 1 h 7"/>
                <a:gd name="T80" fmla="*/ 2 w 8"/>
                <a:gd name="T81" fmla="*/ 4 h 7"/>
                <a:gd name="T82" fmla="*/ 1 w 8"/>
                <a:gd name="T83" fmla="*/ 5 h 7"/>
                <a:gd name="T84" fmla="*/ 1 w 8"/>
                <a:gd name="T85" fmla="*/ 5 h 7"/>
                <a:gd name="T86" fmla="*/ 2 w 8"/>
                <a:gd name="T87" fmla="*/ 6 h 7"/>
                <a:gd name="T88" fmla="*/ 3 w 8"/>
                <a:gd name="T89" fmla="*/ 7 h 7"/>
                <a:gd name="T90" fmla="*/ 3 w 8"/>
                <a:gd name="T91" fmla="*/ 6 h 7"/>
                <a:gd name="T92" fmla="*/ 4 w 8"/>
                <a:gd name="T93" fmla="*/ 6 h 7"/>
                <a:gd name="T94" fmla="*/ 5 w 8"/>
                <a:gd name="T95" fmla="*/ 5 h 7"/>
                <a:gd name="T96" fmla="*/ 5 w 8"/>
                <a:gd name="T97" fmla="*/ 4 h 7"/>
                <a:gd name="T98" fmla="*/ 5 w 8"/>
                <a:gd name="T99" fmla="*/ 2 h 7"/>
                <a:gd name="T100" fmla="*/ 6 w 8"/>
                <a:gd name="T101" fmla="*/ 0 h 7"/>
                <a:gd name="T102" fmla="*/ 5 w 8"/>
                <a:gd name="T103" fmla="*/ 0 h 7"/>
                <a:gd name="T104" fmla="*/ 5 w 8"/>
                <a:gd name="T105" fmla="*/ 0 h 7"/>
                <a:gd name="T106" fmla="*/ 5 w 8"/>
                <a:gd name="T107" fmla="*/ 0 h 7"/>
                <a:gd name="T108" fmla="*/ 5 w 8"/>
                <a:gd name="T109" fmla="*/ 0 h 7"/>
                <a:gd name="T110" fmla="*/ 6 w 8"/>
                <a:gd name="T111" fmla="*/ 0 h 7"/>
                <a:gd name="T112" fmla="*/ 8 w 8"/>
                <a:gd name="T1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2"/>
                    <a:pt x="7" y="3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6" y="6"/>
                    <a:pt x="6" y="6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4" y="6"/>
                    <a:pt x="4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2"/>
                    <a:pt x="2" y="3"/>
                    <a:pt x="2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2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1" name="Freeform 10481"/>
            <p:cNvSpPr>
              <a:spLocks/>
            </p:cNvSpPr>
            <p:nvPr/>
          </p:nvSpPr>
          <p:spPr bwMode="auto">
            <a:xfrm>
              <a:off x="8576779" y="6601795"/>
              <a:ext cx="19046" cy="25395"/>
            </a:xfrm>
            <a:custGeom>
              <a:avLst/>
              <a:gdLst>
                <a:gd name="T0" fmla="*/ 0 w 4"/>
                <a:gd name="T1" fmla="*/ 5 h 5"/>
                <a:gd name="T2" fmla="*/ 0 w 4"/>
                <a:gd name="T3" fmla="*/ 5 h 5"/>
                <a:gd name="T4" fmla="*/ 0 w 4"/>
                <a:gd name="T5" fmla="*/ 4 h 5"/>
                <a:gd name="T6" fmla="*/ 1 w 4"/>
                <a:gd name="T7" fmla="*/ 3 h 5"/>
                <a:gd name="T8" fmla="*/ 1 w 4"/>
                <a:gd name="T9" fmla="*/ 2 h 5"/>
                <a:gd name="T10" fmla="*/ 1 w 4"/>
                <a:gd name="T11" fmla="*/ 1 h 5"/>
                <a:gd name="T12" fmla="*/ 1 w 4"/>
                <a:gd name="T13" fmla="*/ 1 h 5"/>
                <a:gd name="T14" fmla="*/ 1 w 4"/>
                <a:gd name="T15" fmla="*/ 1 h 5"/>
                <a:gd name="T16" fmla="*/ 0 w 4"/>
                <a:gd name="T17" fmla="*/ 2 h 5"/>
                <a:gd name="T18" fmla="*/ 0 w 4"/>
                <a:gd name="T19" fmla="*/ 1 h 5"/>
                <a:gd name="T20" fmla="*/ 1 w 4"/>
                <a:gd name="T21" fmla="*/ 0 h 5"/>
                <a:gd name="T22" fmla="*/ 1 w 4"/>
                <a:gd name="T23" fmla="*/ 0 h 5"/>
                <a:gd name="T24" fmla="*/ 2 w 4"/>
                <a:gd name="T25" fmla="*/ 0 h 5"/>
                <a:gd name="T26" fmla="*/ 2 w 4"/>
                <a:gd name="T27" fmla="*/ 0 h 5"/>
                <a:gd name="T28" fmla="*/ 2 w 4"/>
                <a:gd name="T29" fmla="*/ 0 h 5"/>
                <a:gd name="T30" fmla="*/ 2 w 4"/>
                <a:gd name="T31" fmla="*/ 1 h 5"/>
                <a:gd name="T32" fmla="*/ 2 w 4"/>
                <a:gd name="T33" fmla="*/ 3 h 5"/>
                <a:gd name="T34" fmla="*/ 2 w 4"/>
                <a:gd name="T35" fmla="*/ 3 h 5"/>
                <a:gd name="T36" fmla="*/ 2 w 4"/>
                <a:gd name="T37" fmla="*/ 1 h 5"/>
                <a:gd name="T38" fmla="*/ 3 w 4"/>
                <a:gd name="T39" fmla="*/ 0 h 5"/>
                <a:gd name="T40" fmla="*/ 4 w 4"/>
                <a:gd name="T41" fmla="*/ 0 h 5"/>
                <a:gd name="T42" fmla="*/ 4 w 4"/>
                <a:gd name="T43" fmla="*/ 0 h 5"/>
                <a:gd name="T44" fmla="*/ 4 w 4"/>
                <a:gd name="T45" fmla="*/ 1 h 5"/>
                <a:gd name="T46" fmla="*/ 4 w 4"/>
                <a:gd name="T47" fmla="*/ 2 h 5"/>
                <a:gd name="T48" fmla="*/ 4 w 4"/>
                <a:gd name="T49" fmla="*/ 2 h 5"/>
                <a:gd name="T50" fmla="*/ 3 w 4"/>
                <a:gd name="T51" fmla="*/ 1 h 5"/>
                <a:gd name="T52" fmla="*/ 3 w 4"/>
                <a:gd name="T53" fmla="*/ 2 h 5"/>
                <a:gd name="T54" fmla="*/ 2 w 4"/>
                <a:gd name="T55" fmla="*/ 3 h 5"/>
                <a:gd name="T56" fmla="*/ 1 w 4"/>
                <a:gd name="T57" fmla="*/ 5 h 5"/>
                <a:gd name="T58" fmla="*/ 0 w 4"/>
                <a:gd name="T59" fmla="*/ 5 h 5"/>
                <a:gd name="T60" fmla="*/ 0 w 4"/>
                <a:gd name="T6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2" name="Freeform 10482"/>
            <p:cNvSpPr>
              <a:spLocks noEditPoints="1"/>
            </p:cNvSpPr>
            <p:nvPr/>
          </p:nvSpPr>
          <p:spPr bwMode="auto">
            <a:xfrm>
              <a:off x="8595825" y="6584865"/>
              <a:ext cx="25395" cy="42325"/>
            </a:xfrm>
            <a:custGeom>
              <a:avLst/>
              <a:gdLst>
                <a:gd name="T0" fmla="*/ 0 w 5"/>
                <a:gd name="T1" fmla="*/ 1 h 8"/>
                <a:gd name="T2" fmla="*/ 0 w 5"/>
                <a:gd name="T3" fmla="*/ 1 h 8"/>
                <a:gd name="T4" fmla="*/ 2 w 5"/>
                <a:gd name="T5" fmla="*/ 0 h 8"/>
                <a:gd name="T6" fmla="*/ 3 w 5"/>
                <a:gd name="T7" fmla="*/ 0 h 8"/>
                <a:gd name="T8" fmla="*/ 3 w 5"/>
                <a:gd name="T9" fmla="*/ 0 h 8"/>
                <a:gd name="T10" fmla="*/ 3 w 5"/>
                <a:gd name="T11" fmla="*/ 1 h 8"/>
                <a:gd name="T12" fmla="*/ 2 w 5"/>
                <a:gd name="T13" fmla="*/ 5 h 8"/>
                <a:gd name="T14" fmla="*/ 2 w 5"/>
                <a:gd name="T15" fmla="*/ 4 h 8"/>
                <a:gd name="T16" fmla="*/ 3 w 5"/>
                <a:gd name="T17" fmla="*/ 4 h 8"/>
                <a:gd name="T18" fmla="*/ 4 w 5"/>
                <a:gd name="T19" fmla="*/ 3 h 8"/>
                <a:gd name="T20" fmla="*/ 5 w 5"/>
                <a:gd name="T21" fmla="*/ 3 h 8"/>
                <a:gd name="T22" fmla="*/ 5 w 5"/>
                <a:gd name="T23" fmla="*/ 3 h 8"/>
                <a:gd name="T24" fmla="*/ 5 w 5"/>
                <a:gd name="T25" fmla="*/ 4 h 8"/>
                <a:gd name="T26" fmla="*/ 5 w 5"/>
                <a:gd name="T27" fmla="*/ 6 h 8"/>
                <a:gd name="T28" fmla="*/ 4 w 5"/>
                <a:gd name="T29" fmla="*/ 7 h 8"/>
                <a:gd name="T30" fmla="*/ 4 w 5"/>
                <a:gd name="T31" fmla="*/ 8 h 8"/>
                <a:gd name="T32" fmla="*/ 3 w 5"/>
                <a:gd name="T33" fmla="*/ 8 h 8"/>
                <a:gd name="T34" fmla="*/ 2 w 5"/>
                <a:gd name="T35" fmla="*/ 8 h 8"/>
                <a:gd name="T36" fmla="*/ 1 w 5"/>
                <a:gd name="T37" fmla="*/ 8 h 8"/>
                <a:gd name="T38" fmla="*/ 0 w 5"/>
                <a:gd name="T39" fmla="*/ 8 h 8"/>
                <a:gd name="T40" fmla="*/ 0 w 5"/>
                <a:gd name="T41" fmla="*/ 7 h 8"/>
                <a:gd name="T42" fmla="*/ 0 w 5"/>
                <a:gd name="T43" fmla="*/ 7 h 8"/>
                <a:gd name="T44" fmla="*/ 0 w 5"/>
                <a:gd name="T45" fmla="*/ 6 h 8"/>
                <a:gd name="T46" fmla="*/ 1 w 5"/>
                <a:gd name="T47" fmla="*/ 5 h 8"/>
                <a:gd name="T48" fmla="*/ 1 w 5"/>
                <a:gd name="T49" fmla="*/ 3 h 8"/>
                <a:gd name="T50" fmla="*/ 1 w 5"/>
                <a:gd name="T51" fmla="*/ 1 h 8"/>
                <a:gd name="T52" fmla="*/ 1 w 5"/>
                <a:gd name="T53" fmla="*/ 1 h 8"/>
                <a:gd name="T54" fmla="*/ 1 w 5"/>
                <a:gd name="T55" fmla="*/ 1 h 8"/>
                <a:gd name="T56" fmla="*/ 0 w 5"/>
                <a:gd name="T57" fmla="*/ 1 h 8"/>
                <a:gd name="T58" fmla="*/ 2 w 5"/>
                <a:gd name="T59" fmla="*/ 7 h 8"/>
                <a:gd name="T60" fmla="*/ 2 w 5"/>
                <a:gd name="T61" fmla="*/ 8 h 8"/>
                <a:gd name="T62" fmla="*/ 2 w 5"/>
                <a:gd name="T63" fmla="*/ 8 h 8"/>
                <a:gd name="T64" fmla="*/ 3 w 5"/>
                <a:gd name="T65" fmla="*/ 8 h 8"/>
                <a:gd name="T66" fmla="*/ 4 w 5"/>
                <a:gd name="T67" fmla="*/ 6 h 8"/>
                <a:gd name="T68" fmla="*/ 4 w 5"/>
                <a:gd name="T69" fmla="*/ 5 h 8"/>
                <a:gd name="T70" fmla="*/ 4 w 5"/>
                <a:gd name="T71" fmla="*/ 4 h 8"/>
                <a:gd name="T72" fmla="*/ 4 w 5"/>
                <a:gd name="T73" fmla="*/ 4 h 8"/>
                <a:gd name="T74" fmla="*/ 3 w 5"/>
                <a:gd name="T75" fmla="*/ 4 h 8"/>
                <a:gd name="T76" fmla="*/ 2 w 5"/>
                <a:gd name="T77" fmla="*/ 5 h 8"/>
                <a:gd name="T78" fmla="*/ 2 w 5"/>
                <a:gd name="T79" fmla="*/ 6 h 8"/>
                <a:gd name="T80" fmla="*/ 2 w 5"/>
                <a:gd name="T81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8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6"/>
                    <a:pt x="5" y="7"/>
                    <a:pt x="4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8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moveTo>
                    <a:pt x="2" y="7"/>
                  </a:move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4" y="7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3" name="Freeform 10483"/>
            <p:cNvSpPr>
              <a:spLocks noEditPoints="1"/>
            </p:cNvSpPr>
            <p:nvPr/>
          </p:nvSpPr>
          <p:spPr bwMode="auto">
            <a:xfrm>
              <a:off x="8627568" y="6601795"/>
              <a:ext cx="23279" cy="25395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4 h 5"/>
                <a:gd name="T4" fmla="*/ 3 w 5"/>
                <a:gd name="T5" fmla="*/ 5 h 5"/>
                <a:gd name="T6" fmla="*/ 3 w 5"/>
                <a:gd name="T7" fmla="*/ 5 h 5"/>
                <a:gd name="T8" fmla="*/ 3 w 5"/>
                <a:gd name="T9" fmla="*/ 5 h 5"/>
                <a:gd name="T10" fmla="*/ 3 w 5"/>
                <a:gd name="T11" fmla="*/ 4 h 5"/>
                <a:gd name="T12" fmla="*/ 4 w 5"/>
                <a:gd name="T13" fmla="*/ 3 h 5"/>
                <a:gd name="T14" fmla="*/ 3 w 5"/>
                <a:gd name="T15" fmla="*/ 4 h 5"/>
                <a:gd name="T16" fmla="*/ 2 w 5"/>
                <a:gd name="T17" fmla="*/ 5 h 5"/>
                <a:gd name="T18" fmla="*/ 1 w 5"/>
                <a:gd name="T19" fmla="*/ 5 h 5"/>
                <a:gd name="T20" fmla="*/ 1 w 5"/>
                <a:gd name="T21" fmla="*/ 5 h 5"/>
                <a:gd name="T22" fmla="*/ 0 w 5"/>
                <a:gd name="T23" fmla="*/ 5 h 5"/>
                <a:gd name="T24" fmla="*/ 0 w 5"/>
                <a:gd name="T25" fmla="*/ 5 h 5"/>
                <a:gd name="T26" fmla="*/ 0 w 5"/>
                <a:gd name="T27" fmla="*/ 3 h 5"/>
                <a:gd name="T28" fmla="*/ 1 w 5"/>
                <a:gd name="T29" fmla="*/ 2 h 5"/>
                <a:gd name="T30" fmla="*/ 2 w 5"/>
                <a:gd name="T31" fmla="*/ 1 h 5"/>
                <a:gd name="T32" fmla="*/ 3 w 5"/>
                <a:gd name="T33" fmla="*/ 0 h 5"/>
                <a:gd name="T34" fmla="*/ 3 w 5"/>
                <a:gd name="T35" fmla="*/ 0 h 5"/>
                <a:gd name="T36" fmla="*/ 4 w 5"/>
                <a:gd name="T37" fmla="*/ 0 h 5"/>
                <a:gd name="T38" fmla="*/ 5 w 5"/>
                <a:gd name="T39" fmla="*/ 0 h 5"/>
                <a:gd name="T40" fmla="*/ 5 w 5"/>
                <a:gd name="T41" fmla="*/ 0 h 5"/>
                <a:gd name="T42" fmla="*/ 5 w 5"/>
                <a:gd name="T43" fmla="*/ 0 h 5"/>
                <a:gd name="T44" fmla="*/ 5 w 5"/>
                <a:gd name="T45" fmla="*/ 1 h 5"/>
                <a:gd name="T46" fmla="*/ 4 w 5"/>
                <a:gd name="T47" fmla="*/ 4 h 5"/>
                <a:gd name="T48" fmla="*/ 4 w 5"/>
                <a:gd name="T49" fmla="*/ 4 h 5"/>
                <a:gd name="T50" fmla="*/ 4 w 5"/>
                <a:gd name="T51" fmla="*/ 5 h 5"/>
                <a:gd name="T52" fmla="*/ 4 w 5"/>
                <a:gd name="T53" fmla="*/ 5 h 5"/>
                <a:gd name="T54" fmla="*/ 5 w 5"/>
                <a:gd name="T55" fmla="*/ 4 h 5"/>
                <a:gd name="T56" fmla="*/ 5 w 5"/>
                <a:gd name="T57" fmla="*/ 4 h 5"/>
                <a:gd name="T58" fmla="*/ 4 w 5"/>
                <a:gd name="T59" fmla="*/ 1 h 5"/>
                <a:gd name="T60" fmla="*/ 3 w 5"/>
                <a:gd name="T61" fmla="*/ 1 h 5"/>
                <a:gd name="T62" fmla="*/ 3 w 5"/>
                <a:gd name="T63" fmla="*/ 1 h 5"/>
                <a:gd name="T64" fmla="*/ 2 w 5"/>
                <a:gd name="T65" fmla="*/ 1 h 5"/>
                <a:gd name="T66" fmla="*/ 2 w 5"/>
                <a:gd name="T67" fmla="*/ 2 h 5"/>
                <a:gd name="T68" fmla="*/ 1 w 5"/>
                <a:gd name="T69" fmla="*/ 4 h 5"/>
                <a:gd name="T70" fmla="*/ 1 w 5"/>
                <a:gd name="T71" fmla="*/ 4 h 5"/>
                <a:gd name="T72" fmla="*/ 2 w 5"/>
                <a:gd name="T73" fmla="*/ 5 h 5"/>
                <a:gd name="T74" fmla="*/ 2 w 5"/>
                <a:gd name="T75" fmla="*/ 4 h 5"/>
                <a:gd name="T76" fmla="*/ 3 w 5"/>
                <a:gd name="T77" fmla="*/ 4 h 5"/>
                <a:gd name="T78" fmla="*/ 3 w 5"/>
                <a:gd name="T79" fmla="*/ 2 h 5"/>
                <a:gd name="T80" fmla="*/ 4 w 5"/>
                <a:gd name="T8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4"/>
                    <a:pt x="4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2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moveTo>
                    <a:pt x="4" y="1"/>
                  </a:move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4" y="2"/>
                    <a:pt x="4" y="1"/>
                    <a:pt x="4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4" name="Freeform 10484"/>
            <p:cNvSpPr>
              <a:spLocks/>
            </p:cNvSpPr>
            <p:nvPr/>
          </p:nvSpPr>
          <p:spPr bwMode="auto">
            <a:xfrm>
              <a:off x="8657195" y="6601795"/>
              <a:ext cx="29627" cy="25395"/>
            </a:xfrm>
            <a:custGeom>
              <a:avLst/>
              <a:gdLst>
                <a:gd name="T0" fmla="*/ 0 w 6"/>
                <a:gd name="T1" fmla="*/ 5 h 5"/>
                <a:gd name="T2" fmla="*/ 0 w 6"/>
                <a:gd name="T3" fmla="*/ 5 h 5"/>
                <a:gd name="T4" fmla="*/ 0 w 6"/>
                <a:gd name="T5" fmla="*/ 5 h 5"/>
                <a:gd name="T6" fmla="*/ 1 w 6"/>
                <a:gd name="T7" fmla="*/ 3 h 5"/>
                <a:gd name="T8" fmla="*/ 1 w 6"/>
                <a:gd name="T9" fmla="*/ 2 h 5"/>
                <a:gd name="T10" fmla="*/ 1 w 6"/>
                <a:gd name="T11" fmla="*/ 1 h 5"/>
                <a:gd name="T12" fmla="*/ 1 w 6"/>
                <a:gd name="T13" fmla="*/ 1 h 5"/>
                <a:gd name="T14" fmla="*/ 1 w 6"/>
                <a:gd name="T15" fmla="*/ 1 h 5"/>
                <a:gd name="T16" fmla="*/ 0 w 6"/>
                <a:gd name="T17" fmla="*/ 2 h 5"/>
                <a:gd name="T18" fmla="*/ 0 w 6"/>
                <a:gd name="T19" fmla="*/ 1 h 5"/>
                <a:gd name="T20" fmla="*/ 2 w 6"/>
                <a:gd name="T21" fmla="*/ 0 h 5"/>
                <a:gd name="T22" fmla="*/ 2 w 6"/>
                <a:gd name="T23" fmla="*/ 0 h 5"/>
                <a:gd name="T24" fmla="*/ 2 w 6"/>
                <a:gd name="T25" fmla="*/ 0 h 5"/>
                <a:gd name="T26" fmla="*/ 2 w 6"/>
                <a:gd name="T27" fmla="*/ 0 h 5"/>
                <a:gd name="T28" fmla="*/ 2 w 6"/>
                <a:gd name="T29" fmla="*/ 1 h 5"/>
                <a:gd name="T30" fmla="*/ 2 w 6"/>
                <a:gd name="T31" fmla="*/ 3 h 5"/>
                <a:gd name="T32" fmla="*/ 3 w 6"/>
                <a:gd name="T33" fmla="*/ 1 h 5"/>
                <a:gd name="T34" fmla="*/ 4 w 6"/>
                <a:gd name="T35" fmla="*/ 0 h 5"/>
                <a:gd name="T36" fmla="*/ 5 w 6"/>
                <a:gd name="T37" fmla="*/ 0 h 5"/>
                <a:gd name="T38" fmla="*/ 5 w 6"/>
                <a:gd name="T39" fmla="*/ 0 h 5"/>
                <a:gd name="T40" fmla="*/ 5 w 6"/>
                <a:gd name="T41" fmla="*/ 1 h 5"/>
                <a:gd name="T42" fmla="*/ 5 w 6"/>
                <a:gd name="T43" fmla="*/ 1 h 5"/>
                <a:gd name="T44" fmla="*/ 5 w 6"/>
                <a:gd name="T45" fmla="*/ 3 h 5"/>
                <a:gd name="T46" fmla="*/ 5 w 6"/>
                <a:gd name="T47" fmla="*/ 4 h 5"/>
                <a:gd name="T48" fmla="*/ 5 w 6"/>
                <a:gd name="T49" fmla="*/ 4 h 5"/>
                <a:gd name="T50" fmla="*/ 5 w 6"/>
                <a:gd name="T51" fmla="*/ 4 h 5"/>
                <a:gd name="T52" fmla="*/ 5 w 6"/>
                <a:gd name="T53" fmla="*/ 5 h 5"/>
                <a:gd name="T54" fmla="*/ 5 w 6"/>
                <a:gd name="T55" fmla="*/ 4 h 5"/>
                <a:gd name="T56" fmla="*/ 6 w 6"/>
                <a:gd name="T57" fmla="*/ 4 h 5"/>
                <a:gd name="T58" fmla="*/ 6 w 6"/>
                <a:gd name="T59" fmla="*/ 4 h 5"/>
                <a:gd name="T60" fmla="*/ 4 w 6"/>
                <a:gd name="T61" fmla="*/ 5 h 5"/>
                <a:gd name="T62" fmla="*/ 4 w 6"/>
                <a:gd name="T63" fmla="*/ 5 h 5"/>
                <a:gd name="T64" fmla="*/ 3 w 6"/>
                <a:gd name="T65" fmla="*/ 5 h 5"/>
                <a:gd name="T66" fmla="*/ 3 w 6"/>
                <a:gd name="T67" fmla="*/ 5 h 5"/>
                <a:gd name="T68" fmla="*/ 4 w 6"/>
                <a:gd name="T69" fmla="*/ 3 h 5"/>
                <a:gd name="T70" fmla="*/ 4 w 6"/>
                <a:gd name="T71" fmla="*/ 1 h 5"/>
                <a:gd name="T72" fmla="*/ 4 w 6"/>
                <a:gd name="T73" fmla="*/ 1 h 5"/>
                <a:gd name="T74" fmla="*/ 4 w 6"/>
                <a:gd name="T75" fmla="*/ 1 h 5"/>
                <a:gd name="T76" fmla="*/ 4 w 6"/>
                <a:gd name="T77" fmla="*/ 1 h 5"/>
                <a:gd name="T78" fmla="*/ 3 w 6"/>
                <a:gd name="T79" fmla="*/ 2 h 5"/>
                <a:gd name="T80" fmla="*/ 2 w 6"/>
                <a:gd name="T81" fmla="*/ 3 h 5"/>
                <a:gd name="T82" fmla="*/ 2 w 6"/>
                <a:gd name="T83" fmla="*/ 4 h 5"/>
                <a:gd name="T84" fmla="*/ 1 w 6"/>
                <a:gd name="T85" fmla="*/ 5 h 5"/>
                <a:gd name="T86" fmla="*/ 0 w 6"/>
                <a:gd name="T8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5" name="Freeform 10485"/>
            <p:cNvSpPr>
              <a:spLocks/>
            </p:cNvSpPr>
            <p:nvPr/>
          </p:nvSpPr>
          <p:spPr bwMode="auto">
            <a:xfrm>
              <a:off x="8701636" y="6591214"/>
              <a:ext cx="35976" cy="35976"/>
            </a:xfrm>
            <a:custGeom>
              <a:avLst/>
              <a:gdLst>
                <a:gd name="T0" fmla="*/ 1 w 7"/>
                <a:gd name="T1" fmla="*/ 7 h 7"/>
                <a:gd name="T2" fmla="*/ 1 w 7"/>
                <a:gd name="T3" fmla="*/ 7 h 7"/>
                <a:gd name="T4" fmla="*/ 2 w 7"/>
                <a:gd name="T5" fmla="*/ 7 h 7"/>
                <a:gd name="T6" fmla="*/ 2 w 7"/>
                <a:gd name="T7" fmla="*/ 7 h 7"/>
                <a:gd name="T8" fmla="*/ 2 w 7"/>
                <a:gd name="T9" fmla="*/ 6 h 7"/>
                <a:gd name="T10" fmla="*/ 3 w 7"/>
                <a:gd name="T11" fmla="*/ 4 h 7"/>
                <a:gd name="T12" fmla="*/ 3 w 7"/>
                <a:gd name="T13" fmla="*/ 0 h 7"/>
                <a:gd name="T14" fmla="*/ 3 w 7"/>
                <a:gd name="T15" fmla="*/ 0 h 7"/>
                <a:gd name="T16" fmla="*/ 1 w 7"/>
                <a:gd name="T17" fmla="*/ 0 h 7"/>
                <a:gd name="T18" fmla="*/ 1 w 7"/>
                <a:gd name="T19" fmla="*/ 2 h 7"/>
                <a:gd name="T20" fmla="*/ 0 w 7"/>
                <a:gd name="T21" fmla="*/ 2 h 7"/>
                <a:gd name="T22" fmla="*/ 1 w 7"/>
                <a:gd name="T23" fmla="*/ 0 h 7"/>
                <a:gd name="T24" fmla="*/ 1 w 7"/>
                <a:gd name="T25" fmla="*/ 0 h 7"/>
                <a:gd name="T26" fmla="*/ 2 w 7"/>
                <a:gd name="T27" fmla="*/ 0 h 7"/>
                <a:gd name="T28" fmla="*/ 4 w 7"/>
                <a:gd name="T29" fmla="*/ 0 h 7"/>
                <a:gd name="T30" fmla="*/ 6 w 7"/>
                <a:gd name="T31" fmla="*/ 0 h 7"/>
                <a:gd name="T32" fmla="*/ 7 w 7"/>
                <a:gd name="T33" fmla="*/ 0 h 7"/>
                <a:gd name="T34" fmla="*/ 7 w 7"/>
                <a:gd name="T35" fmla="*/ 0 h 7"/>
                <a:gd name="T36" fmla="*/ 7 w 7"/>
                <a:gd name="T37" fmla="*/ 1 h 7"/>
                <a:gd name="T38" fmla="*/ 7 w 7"/>
                <a:gd name="T39" fmla="*/ 2 h 7"/>
                <a:gd name="T40" fmla="*/ 6 w 7"/>
                <a:gd name="T41" fmla="*/ 2 h 7"/>
                <a:gd name="T42" fmla="*/ 7 w 7"/>
                <a:gd name="T43" fmla="*/ 1 h 7"/>
                <a:gd name="T44" fmla="*/ 6 w 7"/>
                <a:gd name="T45" fmla="*/ 0 h 7"/>
                <a:gd name="T46" fmla="*/ 6 w 7"/>
                <a:gd name="T47" fmla="*/ 0 h 7"/>
                <a:gd name="T48" fmla="*/ 5 w 7"/>
                <a:gd name="T49" fmla="*/ 0 h 7"/>
                <a:gd name="T50" fmla="*/ 5 w 7"/>
                <a:gd name="T51" fmla="*/ 0 h 7"/>
                <a:gd name="T52" fmla="*/ 4 w 7"/>
                <a:gd name="T53" fmla="*/ 3 h 7"/>
                <a:gd name="T54" fmla="*/ 4 w 7"/>
                <a:gd name="T55" fmla="*/ 5 h 7"/>
                <a:gd name="T56" fmla="*/ 4 w 7"/>
                <a:gd name="T57" fmla="*/ 6 h 7"/>
                <a:gd name="T58" fmla="*/ 4 w 7"/>
                <a:gd name="T59" fmla="*/ 7 h 7"/>
                <a:gd name="T60" fmla="*/ 4 w 7"/>
                <a:gd name="T61" fmla="*/ 7 h 7"/>
                <a:gd name="T62" fmla="*/ 4 w 7"/>
                <a:gd name="T63" fmla="*/ 7 h 7"/>
                <a:gd name="T64" fmla="*/ 5 w 7"/>
                <a:gd name="T65" fmla="*/ 7 h 7"/>
                <a:gd name="T66" fmla="*/ 5 w 7"/>
                <a:gd name="T67" fmla="*/ 7 h 7"/>
                <a:gd name="T68" fmla="*/ 3 w 7"/>
                <a:gd name="T69" fmla="*/ 7 h 7"/>
                <a:gd name="T70" fmla="*/ 1 w 7"/>
                <a:gd name="T7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" h="7"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6"/>
                    <a:pt x="2" y="5"/>
                    <a:pt x="3" y="4"/>
                  </a:cubicBezTo>
                  <a:cubicBezTo>
                    <a:pt x="3" y="2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</a:path>
              </a:pathLst>
            </a:cu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6" name="Freeform 10486"/>
            <p:cNvSpPr>
              <a:spLocks/>
            </p:cNvSpPr>
            <p:nvPr/>
          </p:nvSpPr>
          <p:spPr bwMode="auto">
            <a:xfrm>
              <a:off x="8731263" y="6601795"/>
              <a:ext cx="21162" cy="25395"/>
            </a:xfrm>
            <a:custGeom>
              <a:avLst/>
              <a:gdLst>
                <a:gd name="T0" fmla="*/ 0 w 4"/>
                <a:gd name="T1" fmla="*/ 5 h 5"/>
                <a:gd name="T2" fmla="*/ 0 w 4"/>
                <a:gd name="T3" fmla="*/ 5 h 5"/>
                <a:gd name="T4" fmla="*/ 0 w 4"/>
                <a:gd name="T5" fmla="*/ 4 h 5"/>
                <a:gd name="T6" fmla="*/ 1 w 4"/>
                <a:gd name="T7" fmla="*/ 3 h 5"/>
                <a:gd name="T8" fmla="*/ 1 w 4"/>
                <a:gd name="T9" fmla="*/ 2 h 5"/>
                <a:gd name="T10" fmla="*/ 1 w 4"/>
                <a:gd name="T11" fmla="*/ 1 h 5"/>
                <a:gd name="T12" fmla="*/ 1 w 4"/>
                <a:gd name="T13" fmla="*/ 1 h 5"/>
                <a:gd name="T14" fmla="*/ 1 w 4"/>
                <a:gd name="T15" fmla="*/ 1 h 5"/>
                <a:gd name="T16" fmla="*/ 0 w 4"/>
                <a:gd name="T17" fmla="*/ 2 h 5"/>
                <a:gd name="T18" fmla="*/ 0 w 4"/>
                <a:gd name="T19" fmla="*/ 1 h 5"/>
                <a:gd name="T20" fmla="*/ 1 w 4"/>
                <a:gd name="T21" fmla="*/ 0 h 5"/>
                <a:gd name="T22" fmla="*/ 2 w 4"/>
                <a:gd name="T23" fmla="*/ 0 h 5"/>
                <a:gd name="T24" fmla="*/ 2 w 4"/>
                <a:gd name="T25" fmla="*/ 0 h 5"/>
                <a:gd name="T26" fmla="*/ 2 w 4"/>
                <a:gd name="T27" fmla="*/ 0 h 5"/>
                <a:gd name="T28" fmla="*/ 2 w 4"/>
                <a:gd name="T29" fmla="*/ 0 h 5"/>
                <a:gd name="T30" fmla="*/ 2 w 4"/>
                <a:gd name="T31" fmla="*/ 1 h 5"/>
                <a:gd name="T32" fmla="*/ 2 w 4"/>
                <a:gd name="T33" fmla="*/ 3 h 5"/>
                <a:gd name="T34" fmla="*/ 2 w 4"/>
                <a:gd name="T35" fmla="*/ 3 h 5"/>
                <a:gd name="T36" fmla="*/ 3 w 4"/>
                <a:gd name="T37" fmla="*/ 1 h 5"/>
                <a:gd name="T38" fmla="*/ 3 w 4"/>
                <a:gd name="T39" fmla="*/ 0 h 5"/>
                <a:gd name="T40" fmla="*/ 4 w 4"/>
                <a:gd name="T41" fmla="*/ 0 h 5"/>
                <a:gd name="T42" fmla="*/ 4 w 4"/>
                <a:gd name="T43" fmla="*/ 0 h 5"/>
                <a:gd name="T44" fmla="*/ 4 w 4"/>
                <a:gd name="T45" fmla="*/ 1 h 5"/>
                <a:gd name="T46" fmla="*/ 4 w 4"/>
                <a:gd name="T47" fmla="*/ 2 h 5"/>
                <a:gd name="T48" fmla="*/ 4 w 4"/>
                <a:gd name="T49" fmla="*/ 2 h 5"/>
                <a:gd name="T50" fmla="*/ 3 w 4"/>
                <a:gd name="T51" fmla="*/ 1 h 5"/>
                <a:gd name="T52" fmla="*/ 3 w 4"/>
                <a:gd name="T53" fmla="*/ 2 h 5"/>
                <a:gd name="T54" fmla="*/ 2 w 4"/>
                <a:gd name="T55" fmla="*/ 3 h 5"/>
                <a:gd name="T56" fmla="*/ 1 w 4"/>
                <a:gd name="T57" fmla="*/ 5 h 5"/>
                <a:gd name="T58" fmla="*/ 1 w 4"/>
                <a:gd name="T59" fmla="*/ 5 h 5"/>
                <a:gd name="T60" fmla="*/ 0 w 4"/>
                <a:gd name="T6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7" name="Freeform 10487"/>
            <p:cNvSpPr>
              <a:spLocks noEditPoints="1"/>
            </p:cNvSpPr>
            <p:nvPr/>
          </p:nvSpPr>
          <p:spPr bwMode="auto">
            <a:xfrm>
              <a:off x="8752426" y="6601795"/>
              <a:ext cx="25395" cy="25395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4 h 5"/>
                <a:gd name="T4" fmla="*/ 4 w 5"/>
                <a:gd name="T5" fmla="*/ 5 h 5"/>
                <a:gd name="T6" fmla="*/ 3 w 5"/>
                <a:gd name="T7" fmla="*/ 5 h 5"/>
                <a:gd name="T8" fmla="*/ 3 w 5"/>
                <a:gd name="T9" fmla="*/ 5 h 5"/>
                <a:gd name="T10" fmla="*/ 3 w 5"/>
                <a:gd name="T11" fmla="*/ 4 h 5"/>
                <a:gd name="T12" fmla="*/ 4 w 5"/>
                <a:gd name="T13" fmla="*/ 3 h 5"/>
                <a:gd name="T14" fmla="*/ 3 w 5"/>
                <a:gd name="T15" fmla="*/ 4 h 5"/>
                <a:gd name="T16" fmla="*/ 2 w 5"/>
                <a:gd name="T17" fmla="*/ 5 h 5"/>
                <a:gd name="T18" fmla="*/ 1 w 5"/>
                <a:gd name="T19" fmla="*/ 5 h 5"/>
                <a:gd name="T20" fmla="*/ 1 w 5"/>
                <a:gd name="T21" fmla="*/ 5 h 5"/>
                <a:gd name="T22" fmla="*/ 0 w 5"/>
                <a:gd name="T23" fmla="*/ 5 h 5"/>
                <a:gd name="T24" fmla="*/ 0 w 5"/>
                <a:gd name="T25" fmla="*/ 5 h 5"/>
                <a:gd name="T26" fmla="*/ 1 w 5"/>
                <a:gd name="T27" fmla="*/ 3 h 5"/>
                <a:gd name="T28" fmla="*/ 1 w 5"/>
                <a:gd name="T29" fmla="*/ 2 h 5"/>
                <a:gd name="T30" fmla="*/ 2 w 5"/>
                <a:gd name="T31" fmla="*/ 1 h 5"/>
                <a:gd name="T32" fmla="*/ 3 w 5"/>
                <a:gd name="T33" fmla="*/ 0 h 5"/>
                <a:gd name="T34" fmla="*/ 4 w 5"/>
                <a:gd name="T35" fmla="*/ 0 h 5"/>
                <a:gd name="T36" fmla="*/ 4 w 5"/>
                <a:gd name="T37" fmla="*/ 0 h 5"/>
                <a:gd name="T38" fmla="*/ 5 w 5"/>
                <a:gd name="T39" fmla="*/ 0 h 5"/>
                <a:gd name="T40" fmla="*/ 5 w 5"/>
                <a:gd name="T41" fmla="*/ 0 h 5"/>
                <a:gd name="T42" fmla="*/ 5 w 5"/>
                <a:gd name="T43" fmla="*/ 0 h 5"/>
                <a:gd name="T44" fmla="*/ 5 w 5"/>
                <a:gd name="T45" fmla="*/ 1 h 5"/>
                <a:gd name="T46" fmla="*/ 4 w 5"/>
                <a:gd name="T47" fmla="*/ 4 h 5"/>
                <a:gd name="T48" fmla="*/ 4 w 5"/>
                <a:gd name="T49" fmla="*/ 4 h 5"/>
                <a:gd name="T50" fmla="*/ 4 w 5"/>
                <a:gd name="T51" fmla="*/ 5 h 5"/>
                <a:gd name="T52" fmla="*/ 5 w 5"/>
                <a:gd name="T53" fmla="*/ 5 h 5"/>
                <a:gd name="T54" fmla="*/ 5 w 5"/>
                <a:gd name="T55" fmla="*/ 4 h 5"/>
                <a:gd name="T56" fmla="*/ 5 w 5"/>
                <a:gd name="T57" fmla="*/ 4 h 5"/>
                <a:gd name="T58" fmla="*/ 4 w 5"/>
                <a:gd name="T59" fmla="*/ 1 h 5"/>
                <a:gd name="T60" fmla="*/ 3 w 5"/>
                <a:gd name="T61" fmla="*/ 1 h 5"/>
                <a:gd name="T62" fmla="*/ 3 w 5"/>
                <a:gd name="T63" fmla="*/ 1 h 5"/>
                <a:gd name="T64" fmla="*/ 2 w 5"/>
                <a:gd name="T65" fmla="*/ 1 h 5"/>
                <a:gd name="T66" fmla="*/ 2 w 5"/>
                <a:gd name="T67" fmla="*/ 2 h 5"/>
                <a:gd name="T68" fmla="*/ 2 w 5"/>
                <a:gd name="T69" fmla="*/ 4 h 5"/>
                <a:gd name="T70" fmla="*/ 2 w 5"/>
                <a:gd name="T71" fmla="*/ 4 h 5"/>
                <a:gd name="T72" fmla="*/ 2 w 5"/>
                <a:gd name="T73" fmla="*/ 5 h 5"/>
                <a:gd name="T74" fmla="*/ 2 w 5"/>
                <a:gd name="T75" fmla="*/ 4 h 5"/>
                <a:gd name="T76" fmla="*/ 3 w 5"/>
                <a:gd name="T77" fmla="*/ 4 h 5"/>
                <a:gd name="T78" fmla="*/ 4 w 5"/>
                <a:gd name="T79" fmla="*/ 2 h 5"/>
                <a:gd name="T80" fmla="*/ 4 w 5"/>
                <a:gd name="T8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4"/>
                    <a:pt x="4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2"/>
                    <a:pt x="5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moveTo>
                    <a:pt x="4" y="1"/>
                  </a:move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3"/>
                    <a:pt x="3" y="3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8" name="Freeform 10488"/>
            <p:cNvSpPr>
              <a:spLocks/>
            </p:cNvSpPr>
            <p:nvPr/>
          </p:nvSpPr>
          <p:spPr bwMode="auto">
            <a:xfrm>
              <a:off x="8782053" y="6601795"/>
              <a:ext cx="29627" cy="25395"/>
            </a:xfrm>
            <a:custGeom>
              <a:avLst/>
              <a:gdLst>
                <a:gd name="T0" fmla="*/ 1 w 6"/>
                <a:gd name="T1" fmla="*/ 5 h 5"/>
                <a:gd name="T2" fmla="*/ 0 w 6"/>
                <a:gd name="T3" fmla="*/ 5 h 5"/>
                <a:gd name="T4" fmla="*/ 1 w 6"/>
                <a:gd name="T5" fmla="*/ 5 h 5"/>
                <a:gd name="T6" fmla="*/ 1 w 6"/>
                <a:gd name="T7" fmla="*/ 3 h 5"/>
                <a:gd name="T8" fmla="*/ 1 w 6"/>
                <a:gd name="T9" fmla="*/ 2 h 5"/>
                <a:gd name="T10" fmla="*/ 1 w 6"/>
                <a:gd name="T11" fmla="*/ 1 h 5"/>
                <a:gd name="T12" fmla="*/ 1 w 6"/>
                <a:gd name="T13" fmla="*/ 1 h 5"/>
                <a:gd name="T14" fmla="*/ 1 w 6"/>
                <a:gd name="T15" fmla="*/ 1 h 5"/>
                <a:gd name="T16" fmla="*/ 0 w 6"/>
                <a:gd name="T17" fmla="*/ 2 h 5"/>
                <a:gd name="T18" fmla="*/ 0 w 6"/>
                <a:gd name="T19" fmla="*/ 1 h 5"/>
                <a:gd name="T20" fmla="*/ 2 w 6"/>
                <a:gd name="T21" fmla="*/ 0 h 5"/>
                <a:gd name="T22" fmla="*/ 2 w 6"/>
                <a:gd name="T23" fmla="*/ 0 h 5"/>
                <a:gd name="T24" fmla="*/ 2 w 6"/>
                <a:gd name="T25" fmla="*/ 0 h 5"/>
                <a:gd name="T26" fmla="*/ 3 w 6"/>
                <a:gd name="T27" fmla="*/ 0 h 5"/>
                <a:gd name="T28" fmla="*/ 2 w 6"/>
                <a:gd name="T29" fmla="*/ 1 h 5"/>
                <a:gd name="T30" fmla="*/ 2 w 6"/>
                <a:gd name="T31" fmla="*/ 3 h 5"/>
                <a:gd name="T32" fmla="*/ 3 w 6"/>
                <a:gd name="T33" fmla="*/ 1 h 5"/>
                <a:gd name="T34" fmla="*/ 4 w 6"/>
                <a:gd name="T35" fmla="*/ 0 h 5"/>
                <a:gd name="T36" fmla="*/ 5 w 6"/>
                <a:gd name="T37" fmla="*/ 0 h 5"/>
                <a:gd name="T38" fmla="*/ 5 w 6"/>
                <a:gd name="T39" fmla="*/ 0 h 5"/>
                <a:gd name="T40" fmla="*/ 6 w 6"/>
                <a:gd name="T41" fmla="*/ 1 h 5"/>
                <a:gd name="T42" fmla="*/ 5 w 6"/>
                <a:gd name="T43" fmla="*/ 1 h 5"/>
                <a:gd name="T44" fmla="*/ 5 w 6"/>
                <a:gd name="T45" fmla="*/ 3 h 5"/>
                <a:gd name="T46" fmla="*/ 5 w 6"/>
                <a:gd name="T47" fmla="*/ 4 h 5"/>
                <a:gd name="T48" fmla="*/ 5 w 6"/>
                <a:gd name="T49" fmla="*/ 4 h 5"/>
                <a:gd name="T50" fmla="*/ 5 w 6"/>
                <a:gd name="T51" fmla="*/ 4 h 5"/>
                <a:gd name="T52" fmla="*/ 5 w 6"/>
                <a:gd name="T53" fmla="*/ 5 h 5"/>
                <a:gd name="T54" fmla="*/ 5 w 6"/>
                <a:gd name="T55" fmla="*/ 4 h 5"/>
                <a:gd name="T56" fmla="*/ 6 w 6"/>
                <a:gd name="T57" fmla="*/ 4 h 5"/>
                <a:gd name="T58" fmla="*/ 6 w 6"/>
                <a:gd name="T59" fmla="*/ 4 h 5"/>
                <a:gd name="T60" fmla="*/ 4 w 6"/>
                <a:gd name="T61" fmla="*/ 5 h 5"/>
                <a:gd name="T62" fmla="*/ 4 w 6"/>
                <a:gd name="T63" fmla="*/ 5 h 5"/>
                <a:gd name="T64" fmla="*/ 3 w 6"/>
                <a:gd name="T65" fmla="*/ 5 h 5"/>
                <a:gd name="T66" fmla="*/ 3 w 6"/>
                <a:gd name="T67" fmla="*/ 5 h 5"/>
                <a:gd name="T68" fmla="*/ 4 w 6"/>
                <a:gd name="T69" fmla="*/ 3 h 5"/>
                <a:gd name="T70" fmla="*/ 4 w 6"/>
                <a:gd name="T71" fmla="*/ 1 h 5"/>
                <a:gd name="T72" fmla="*/ 4 w 6"/>
                <a:gd name="T73" fmla="*/ 1 h 5"/>
                <a:gd name="T74" fmla="*/ 4 w 6"/>
                <a:gd name="T75" fmla="*/ 1 h 5"/>
                <a:gd name="T76" fmla="*/ 4 w 6"/>
                <a:gd name="T77" fmla="*/ 1 h 5"/>
                <a:gd name="T78" fmla="*/ 3 w 6"/>
                <a:gd name="T79" fmla="*/ 2 h 5"/>
                <a:gd name="T80" fmla="*/ 2 w 6"/>
                <a:gd name="T81" fmla="*/ 3 h 5"/>
                <a:gd name="T82" fmla="*/ 2 w 6"/>
                <a:gd name="T83" fmla="*/ 4 h 5"/>
                <a:gd name="T84" fmla="*/ 2 w 6"/>
                <a:gd name="T85" fmla="*/ 5 h 5"/>
                <a:gd name="T86" fmla="*/ 1 w 6"/>
                <a:gd name="T8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4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09" name="Freeform 10489"/>
            <p:cNvSpPr>
              <a:spLocks/>
            </p:cNvSpPr>
            <p:nvPr/>
          </p:nvSpPr>
          <p:spPr bwMode="auto">
            <a:xfrm>
              <a:off x="8811680" y="6601795"/>
              <a:ext cx="25395" cy="25395"/>
            </a:xfrm>
            <a:custGeom>
              <a:avLst/>
              <a:gdLst>
                <a:gd name="T0" fmla="*/ 1 w 5"/>
                <a:gd name="T1" fmla="*/ 4 h 5"/>
                <a:gd name="T2" fmla="*/ 1 w 5"/>
                <a:gd name="T3" fmla="*/ 4 h 5"/>
                <a:gd name="T4" fmla="*/ 1 w 5"/>
                <a:gd name="T5" fmla="*/ 4 h 5"/>
                <a:gd name="T6" fmla="*/ 2 w 5"/>
                <a:gd name="T7" fmla="*/ 5 h 5"/>
                <a:gd name="T8" fmla="*/ 2 w 5"/>
                <a:gd name="T9" fmla="*/ 5 h 5"/>
                <a:gd name="T10" fmla="*/ 3 w 5"/>
                <a:gd name="T11" fmla="*/ 5 h 5"/>
                <a:gd name="T12" fmla="*/ 3 w 5"/>
                <a:gd name="T13" fmla="*/ 4 h 5"/>
                <a:gd name="T14" fmla="*/ 3 w 5"/>
                <a:gd name="T15" fmla="*/ 4 h 5"/>
                <a:gd name="T16" fmla="*/ 3 w 5"/>
                <a:gd name="T17" fmla="*/ 4 h 5"/>
                <a:gd name="T18" fmla="*/ 3 w 5"/>
                <a:gd name="T19" fmla="*/ 3 h 5"/>
                <a:gd name="T20" fmla="*/ 2 w 5"/>
                <a:gd name="T21" fmla="*/ 3 h 5"/>
                <a:gd name="T22" fmla="*/ 1 w 5"/>
                <a:gd name="T23" fmla="*/ 3 h 5"/>
                <a:gd name="T24" fmla="*/ 1 w 5"/>
                <a:gd name="T25" fmla="*/ 3 h 5"/>
                <a:gd name="T26" fmla="*/ 1 w 5"/>
                <a:gd name="T27" fmla="*/ 2 h 5"/>
                <a:gd name="T28" fmla="*/ 1 w 5"/>
                <a:gd name="T29" fmla="*/ 1 h 5"/>
                <a:gd name="T30" fmla="*/ 1 w 5"/>
                <a:gd name="T31" fmla="*/ 1 h 5"/>
                <a:gd name="T32" fmla="*/ 2 w 5"/>
                <a:gd name="T33" fmla="*/ 0 h 5"/>
                <a:gd name="T34" fmla="*/ 3 w 5"/>
                <a:gd name="T35" fmla="*/ 0 h 5"/>
                <a:gd name="T36" fmla="*/ 3 w 5"/>
                <a:gd name="T37" fmla="*/ 0 h 5"/>
                <a:gd name="T38" fmla="*/ 4 w 5"/>
                <a:gd name="T39" fmla="*/ 0 h 5"/>
                <a:gd name="T40" fmla="*/ 5 w 5"/>
                <a:gd name="T41" fmla="*/ 0 h 5"/>
                <a:gd name="T42" fmla="*/ 4 w 5"/>
                <a:gd name="T43" fmla="*/ 2 h 5"/>
                <a:gd name="T44" fmla="*/ 4 w 5"/>
                <a:gd name="T45" fmla="*/ 2 h 5"/>
                <a:gd name="T46" fmla="*/ 4 w 5"/>
                <a:gd name="T47" fmla="*/ 1 h 5"/>
                <a:gd name="T48" fmla="*/ 3 w 5"/>
                <a:gd name="T49" fmla="*/ 1 h 5"/>
                <a:gd name="T50" fmla="*/ 3 w 5"/>
                <a:gd name="T51" fmla="*/ 1 h 5"/>
                <a:gd name="T52" fmla="*/ 2 w 5"/>
                <a:gd name="T53" fmla="*/ 1 h 5"/>
                <a:gd name="T54" fmla="*/ 2 w 5"/>
                <a:gd name="T55" fmla="*/ 1 h 5"/>
                <a:gd name="T56" fmla="*/ 2 w 5"/>
                <a:gd name="T57" fmla="*/ 1 h 5"/>
                <a:gd name="T58" fmla="*/ 2 w 5"/>
                <a:gd name="T59" fmla="*/ 2 h 5"/>
                <a:gd name="T60" fmla="*/ 3 w 5"/>
                <a:gd name="T61" fmla="*/ 2 h 5"/>
                <a:gd name="T62" fmla="*/ 4 w 5"/>
                <a:gd name="T63" fmla="*/ 2 h 5"/>
                <a:gd name="T64" fmla="*/ 4 w 5"/>
                <a:gd name="T65" fmla="*/ 3 h 5"/>
                <a:gd name="T66" fmla="*/ 4 w 5"/>
                <a:gd name="T67" fmla="*/ 3 h 5"/>
                <a:gd name="T68" fmla="*/ 4 w 5"/>
                <a:gd name="T69" fmla="*/ 3 h 5"/>
                <a:gd name="T70" fmla="*/ 4 w 5"/>
                <a:gd name="T71" fmla="*/ 4 h 5"/>
                <a:gd name="T72" fmla="*/ 4 w 5"/>
                <a:gd name="T73" fmla="*/ 5 h 5"/>
                <a:gd name="T74" fmla="*/ 3 w 5"/>
                <a:gd name="T75" fmla="*/ 5 h 5"/>
                <a:gd name="T76" fmla="*/ 2 w 5"/>
                <a:gd name="T77" fmla="*/ 5 h 5"/>
                <a:gd name="T78" fmla="*/ 1 w 5"/>
                <a:gd name="T79" fmla="*/ 5 h 5"/>
                <a:gd name="T80" fmla="*/ 0 w 5"/>
                <a:gd name="T81" fmla="*/ 5 h 5"/>
                <a:gd name="T82" fmla="*/ 1 w 5"/>
                <a:gd name="T83" fmla="*/ 4 h 5"/>
                <a:gd name="T84" fmla="*/ 1 w 5"/>
                <a:gd name="T8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" h="5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1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0" name="Freeform 10490"/>
            <p:cNvSpPr>
              <a:spLocks/>
            </p:cNvSpPr>
            <p:nvPr/>
          </p:nvSpPr>
          <p:spPr bwMode="auto">
            <a:xfrm>
              <a:off x="8832843" y="6584865"/>
              <a:ext cx="29627" cy="57138"/>
            </a:xfrm>
            <a:custGeom>
              <a:avLst/>
              <a:gdLst>
                <a:gd name="T0" fmla="*/ 2 w 6"/>
                <a:gd name="T1" fmla="*/ 4 h 11"/>
                <a:gd name="T2" fmla="*/ 2 w 6"/>
                <a:gd name="T3" fmla="*/ 4 h 11"/>
                <a:gd name="T4" fmla="*/ 2 w 6"/>
                <a:gd name="T5" fmla="*/ 3 h 11"/>
                <a:gd name="T6" fmla="*/ 3 w 6"/>
                <a:gd name="T7" fmla="*/ 3 h 11"/>
                <a:gd name="T8" fmla="*/ 3 w 6"/>
                <a:gd name="T9" fmla="*/ 3 h 11"/>
                <a:gd name="T10" fmla="*/ 3 w 6"/>
                <a:gd name="T11" fmla="*/ 2 h 11"/>
                <a:gd name="T12" fmla="*/ 3 w 6"/>
                <a:gd name="T13" fmla="*/ 2 h 11"/>
                <a:gd name="T14" fmla="*/ 5 w 6"/>
                <a:gd name="T15" fmla="*/ 1 h 11"/>
                <a:gd name="T16" fmla="*/ 5 w 6"/>
                <a:gd name="T17" fmla="*/ 0 h 11"/>
                <a:gd name="T18" fmla="*/ 6 w 6"/>
                <a:gd name="T19" fmla="*/ 0 h 11"/>
                <a:gd name="T20" fmla="*/ 6 w 6"/>
                <a:gd name="T21" fmla="*/ 0 h 11"/>
                <a:gd name="T22" fmla="*/ 6 w 6"/>
                <a:gd name="T23" fmla="*/ 2 h 11"/>
                <a:gd name="T24" fmla="*/ 6 w 6"/>
                <a:gd name="T25" fmla="*/ 2 h 11"/>
                <a:gd name="T26" fmla="*/ 5 w 6"/>
                <a:gd name="T27" fmla="*/ 1 h 11"/>
                <a:gd name="T28" fmla="*/ 5 w 6"/>
                <a:gd name="T29" fmla="*/ 1 h 11"/>
                <a:gd name="T30" fmla="*/ 5 w 6"/>
                <a:gd name="T31" fmla="*/ 1 h 11"/>
                <a:gd name="T32" fmla="*/ 4 w 6"/>
                <a:gd name="T33" fmla="*/ 1 h 11"/>
                <a:gd name="T34" fmla="*/ 4 w 6"/>
                <a:gd name="T35" fmla="*/ 2 h 11"/>
                <a:gd name="T36" fmla="*/ 4 w 6"/>
                <a:gd name="T37" fmla="*/ 3 h 11"/>
                <a:gd name="T38" fmla="*/ 4 w 6"/>
                <a:gd name="T39" fmla="*/ 3 h 11"/>
                <a:gd name="T40" fmla="*/ 5 w 6"/>
                <a:gd name="T41" fmla="*/ 3 h 11"/>
                <a:gd name="T42" fmla="*/ 5 w 6"/>
                <a:gd name="T43" fmla="*/ 3 h 11"/>
                <a:gd name="T44" fmla="*/ 5 w 6"/>
                <a:gd name="T45" fmla="*/ 3 h 11"/>
                <a:gd name="T46" fmla="*/ 5 w 6"/>
                <a:gd name="T47" fmla="*/ 4 h 11"/>
                <a:gd name="T48" fmla="*/ 4 w 6"/>
                <a:gd name="T49" fmla="*/ 4 h 11"/>
                <a:gd name="T50" fmla="*/ 4 w 6"/>
                <a:gd name="T51" fmla="*/ 4 h 11"/>
                <a:gd name="T52" fmla="*/ 3 w 6"/>
                <a:gd name="T53" fmla="*/ 6 h 11"/>
                <a:gd name="T54" fmla="*/ 3 w 6"/>
                <a:gd name="T55" fmla="*/ 9 h 11"/>
                <a:gd name="T56" fmla="*/ 2 w 6"/>
                <a:gd name="T57" fmla="*/ 10 h 11"/>
                <a:gd name="T58" fmla="*/ 1 w 6"/>
                <a:gd name="T59" fmla="*/ 11 h 11"/>
                <a:gd name="T60" fmla="*/ 0 w 6"/>
                <a:gd name="T61" fmla="*/ 11 h 11"/>
                <a:gd name="T62" fmla="*/ 0 w 6"/>
                <a:gd name="T63" fmla="*/ 11 h 11"/>
                <a:gd name="T64" fmla="*/ 0 w 6"/>
                <a:gd name="T65" fmla="*/ 11 h 11"/>
                <a:gd name="T66" fmla="*/ 0 w 6"/>
                <a:gd name="T67" fmla="*/ 10 h 11"/>
                <a:gd name="T68" fmla="*/ 0 w 6"/>
                <a:gd name="T69" fmla="*/ 10 h 11"/>
                <a:gd name="T70" fmla="*/ 1 w 6"/>
                <a:gd name="T71" fmla="*/ 10 h 11"/>
                <a:gd name="T72" fmla="*/ 1 w 6"/>
                <a:gd name="T73" fmla="*/ 10 h 11"/>
                <a:gd name="T74" fmla="*/ 1 w 6"/>
                <a:gd name="T75" fmla="*/ 10 h 11"/>
                <a:gd name="T76" fmla="*/ 1 w 6"/>
                <a:gd name="T77" fmla="*/ 10 h 11"/>
                <a:gd name="T78" fmla="*/ 2 w 6"/>
                <a:gd name="T79" fmla="*/ 8 h 11"/>
                <a:gd name="T80" fmla="*/ 3 w 6"/>
                <a:gd name="T81" fmla="*/ 4 h 11"/>
                <a:gd name="T82" fmla="*/ 2 w 6"/>
                <a:gd name="T83" fmla="*/ 4 h 11"/>
                <a:gd name="T84" fmla="*/ 2 w 6"/>
                <a:gd name="T85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" h="11">
                  <a:moveTo>
                    <a:pt x="2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2" y="9"/>
                    <a:pt x="2" y="8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1" name="Freeform 10491"/>
            <p:cNvSpPr>
              <a:spLocks noEditPoints="1"/>
            </p:cNvSpPr>
            <p:nvPr/>
          </p:nvSpPr>
          <p:spPr bwMode="auto">
            <a:xfrm>
              <a:off x="8856121" y="6601795"/>
              <a:ext cx="25395" cy="25395"/>
            </a:xfrm>
            <a:custGeom>
              <a:avLst/>
              <a:gdLst>
                <a:gd name="T0" fmla="*/ 0 w 5"/>
                <a:gd name="T1" fmla="*/ 4 h 5"/>
                <a:gd name="T2" fmla="*/ 1 w 5"/>
                <a:gd name="T3" fmla="*/ 2 h 5"/>
                <a:gd name="T4" fmla="*/ 1 w 5"/>
                <a:gd name="T5" fmla="*/ 1 h 5"/>
                <a:gd name="T6" fmla="*/ 2 w 5"/>
                <a:gd name="T7" fmla="*/ 1 h 5"/>
                <a:gd name="T8" fmla="*/ 2 w 5"/>
                <a:gd name="T9" fmla="*/ 0 h 5"/>
                <a:gd name="T10" fmla="*/ 4 w 5"/>
                <a:gd name="T11" fmla="*/ 0 h 5"/>
                <a:gd name="T12" fmla="*/ 4 w 5"/>
                <a:gd name="T13" fmla="*/ 0 h 5"/>
                <a:gd name="T14" fmla="*/ 5 w 5"/>
                <a:gd name="T15" fmla="*/ 1 h 5"/>
                <a:gd name="T16" fmla="*/ 5 w 5"/>
                <a:gd name="T17" fmla="*/ 1 h 5"/>
                <a:gd name="T18" fmla="*/ 5 w 5"/>
                <a:gd name="T19" fmla="*/ 2 h 5"/>
                <a:gd name="T20" fmla="*/ 5 w 5"/>
                <a:gd name="T21" fmla="*/ 3 h 5"/>
                <a:gd name="T22" fmla="*/ 5 w 5"/>
                <a:gd name="T23" fmla="*/ 4 h 5"/>
                <a:gd name="T24" fmla="*/ 4 w 5"/>
                <a:gd name="T25" fmla="*/ 5 h 5"/>
                <a:gd name="T26" fmla="*/ 3 w 5"/>
                <a:gd name="T27" fmla="*/ 5 h 5"/>
                <a:gd name="T28" fmla="*/ 2 w 5"/>
                <a:gd name="T29" fmla="*/ 5 h 5"/>
                <a:gd name="T30" fmla="*/ 1 w 5"/>
                <a:gd name="T31" fmla="*/ 5 h 5"/>
                <a:gd name="T32" fmla="*/ 0 w 5"/>
                <a:gd name="T33" fmla="*/ 5 h 5"/>
                <a:gd name="T34" fmla="*/ 0 w 5"/>
                <a:gd name="T35" fmla="*/ 4 h 5"/>
                <a:gd name="T36" fmla="*/ 2 w 5"/>
                <a:gd name="T37" fmla="*/ 4 h 5"/>
                <a:gd name="T38" fmla="*/ 2 w 5"/>
                <a:gd name="T39" fmla="*/ 5 h 5"/>
                <a:gd name="T40" fmla="*/ 3 w 5"/>
                <a:gd name="T41" fmla="*/ 5 h 5"/>
                <a:gd name="T42" fmla="*/ 3 w 5"/>
                <a:gd name="T43" fmla="*/ 5 h 5"/>
                <a:gd name="T44" fmla="*/ 3 w 5"/>
                <a:gd name="T45" fmla="*/ 4 h 5"/>
                <a:gd name="T46" fmla="*/ 4 w 5"/>
                <a:gd name="T47" fmla="*/ 3 h 5"/>
                <a:gd name="T48" fmla="*/ 4 w 5"/>
                <a:gd name="T49" fmla="*/ 2 h 5"/>
                <a:gd name="T50" fmla="*/ 4 w 5"/>
                <a:gd name="T51" fmla="*/ 1 h 5"/>
                <a:gd name="T52" fmla="*/ 3 w 5"/>
                <a:gd name="T53" fmla="*/ 1 h 5"/>
                <a:gd name="T54" fmla="*/ 2 w 5"/>
                <a:gd name="T55" fmla="*/ 1 h 5"/>
                <a:gd name="T56" fmla="*/ 2 w 5"/>
                <a:gd name="T57" fmla="*/ 2 h 5"/>
                <a:gd name="T58" fmla="*/ 2 w 5"/>
                <a:gd name="T5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" h="5">
                  <a:moveTo>
                    <a:pt x="0" y="4"/>
                  </a:move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2" y="4"/>
                  </a:move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2" name="Freeform 10492"/>
            <p:cNvSpPr>
              <a:spLocks/>
            </p:cNvSpPr>
            <p:nvPr/>
          </p:nvSpPr>
          <p:spPr bwMode="auto">
            <a:xfrm>
              <a:off x="8887865" y="6601795"/>
              <a:ext cx="19046" cy="25395"/>
            </a:xfrm>
            <a:custGeom>
              <a:avLst/>
              <a:gdLst>
                <a:gd name="T0" fmla="*/ 1 w 4"/>
                <a:gd name="T1" fmla="*/ 5 h 5"/>
                <a:gd name="T2" fmla="*/ 0 w 4"/>
                <a:gd name="T3" fmla="*/ 5 h 5"/>
                <a:gd name="T4" fmla="*/ 1 w 4"/>
                <a:gd name="T5" fmla="*/ 4 h 5"/>
                <a:gd name="T6" fmla="*/ 1 w 4"/>
                <a:gd name="T7" fmla="*/ 3 h 5"/>
                <a:gd name="T8" fmla="*/ 1 w 4"/>
                <a:gd name="T9" fmla="*/ 2 h 5"/>
                <a:gd name="T10" fmla="*/ 1 w 4"/>
                <a:gd name="T11" fmla="*/ 1 h 5"/>
                <a:gd name="T12" fmla="*/ 1 w 4"/>
                <a:gd name="T13" fmla="*/ 1 h 5"/>
                <a:gd name="T14" fmla="*/ 1 w 4"/>
                <a:gd name="T15" fmla="*/ 1 h 5"/>
                <a:gd name="T16" fmla="*/ 0 w 4"/>
                <a:gd name="T17" fmla="*/ 2 h 5"/>
                <a:gd name="T18" fmla="*/ 0 w 4"/>
                <a:gd name="T19" fmla="*/ 1 h 5"/>
                <a:gd name="T20" fmla="*/ 1 w 4"/>
                <a:gd name="T21" fmla="*/ 0 h 5"/>
                <a:gd name="T22" fmla="*/ 2 w 4"/>
                <a:gd name="T23" fmla="*/ 0 h 5"/>
                <a:gd name="T24" fmla="*/ 2 w 4"/>
                <a:gd name="T25" fmla="*/ 0 h 5"/>
                <a:gd name="T26" fmla="*/ 2 w 4"/>
                <a:gd name="T27" fmla="*/ 0 h 5"/>
                <a:gd name="T28" fmla="*/ 2 w 4"/>
                <a:gd name="T29" fmla="*/ 0 h 5"/>
                <a:gd name="T30" fmla="*/ 2 w 4"/>
                <a:gd name="T31" fmla="*/ 1 h 5"/>
                <a:gd name="T32" fmla="*/ 2 w 4"/>
                <a:gd name="T33" fmla="*/ 3 h 5"/>
                <a:gd name="T34" fmla="*/ 2 w 4"/>
                <a:gd name="T35" fmla="*/ 3 h 5"/>
                <a:gd name="T36" fmla="*/ 3 w 4"/>
                <a:gd name="T37" fmla="*/ 1 h 5"/>
                <a:gd name="T38" fmla="*/ 4 w 4"/>
                <a:gd name="T39" fmla="*/ 0 h 5"/>
                <a:gd name="T40" fmla="*/ 4 w 4"/>
                <a:gd name="T41" fmla="*/ 0 h 5"/>
                <a:gd name="T42" fmla="*/ 4 w 4"/>
                <a:gd name="T43" fmla="*/ 0 h 5"/>
                <a:gd name="T44" fmla="*/ 4 w 4"/>
                <a:gd name="T45" fmla="*/ 1 h 5"/>
                <a:gd name="T46" fmla="*/ 4 w 4"/>
                <a:gd name="T47" fmla="*/ 2 h 5"/>
                <a:gd name="T48" fmla="*/ 4 w 4"/>
                <a:gd name="T49" fmla="*/ 2 h 5"/>
                <a:gd name="T50" fmla="*/ 4 w 4"/>
                <a:gd name="T51" fmla="*/ 1 h 5"/>
                <a:gd name="T52" fmla="*/ 3 w 4"/>
                <a:gd name="T53" fmla="*/ 2 h 5"/>
                <a:gd name="T54" fmla="*/ 2 w 4"/>
                <a:gd name="T55" fmla="*/ 3 h 5"/>
                <a:gd name="T56" fmla="*/ 2 w 4"/>
                <a:gd name="T57" fmla="*/ 5 h 5"/>
                <a:gd name="T58" fmla="*/ 1 w 4"/>
                <a:gd name="T59" fmla="*/ 5 h 5"/>
                <a:gd name="T60" fmla="*/ 1 w 4"/>
                <a:gd name="T6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" h="5">
                  <a:moveTo>
                    <a:pt x="1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2" y="3"/>
                    <a:pt x="2" y="4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3" name="Freeform 10493"/>
            <p:cNvSpPr>
              <a:spLocks/>
            </p:cNvSpPr>
            <p:nvPr/>
          </p:nvSpPr>
          <p:spPr bwMode="auto">
            <a:xfrm>
              <a:off x="8906911" y="6601795"/>
              <a:ext cx="44441" cy="25395"/>
            </a:xfrm>
            <a:custGeom>
              <a:avLst/>
              <a:gdLst>
                <a:gd name="T0" fmla="*/ 1 w 9"/>
                <a:gd name="T1" fmla="*/ 5 h 5"/>
                <a:gd name="T2" fmla="*/ 1 w 9"/>
                <a:gd name="T3" fmla="*/ 3 h 5"/>
                <a:gd name="T4" fmla="*/ 2 w 9"/>
                <a:gd name="T5" fmla="*/ 1 h 5"/>
                <a:gd name="T6" fmla="*/ 1 w 9"/>
                <a:gd name="T7" fmla="*/ 1 h 5"/>
                <a:gd name="T8" fmla="*/ 1 w 9"/>
                <a:gd name="T9" fmla="*/ 2 h 5"/>
                <a:gd name="T10" fmla="*/ 2 w 9"/>
                <a:gd name="T11" fmla="*/ 0 h 5"/>
                <a:gd name="T12" fmla="*/ 3 w 9"/>
                <a:gd name="T13" fmla="*/ 0 h 5"/>
                <a:gd name="T14" fmla="*/ 3 w 9"/>
                <a:gd name="T15" fmla="*/ 1 h 5"/>
                <a:gd name="T16" fmla="*/ 4 w 9"/>
                <a:gd name="T17" fmla="*/ 1 h 5"/>
                <a:gd name="T18" fmla="*/ 6 w 9"/>
                <a:gd name="T19" fmla="*/ 0 h 5"/>
                <a:gd name="T20" fmla="*/ 6 w 9"/>
                <a:gd name="T21" fmla="*/ 1 h 5"/>
                <a:gd name="T22" fmla="*/ 5 w 9"/>
                <a:gd name="T23" fmla="*/ 3 h 5"/>
                <a:gd name="T24" fmla="*/ 8 w 9"/>
                <a:gd name="T25" fmla="*/ 0 h 5"/>
                <a:gd name="T26" fmla="*/ 9 w 9"/>
                <a:gd name="T27" fmla="*/ 0 h 5"/>
                <a:gd name="T28" fmla="*/ 9 w 9"/>
                <a:gd name="T29" fmla="*/ 2 h 5"/>
                <a:gd name="T30" fmla="*/ 8 w 9"/>
                <a:gd name="T31" fmla="*/ 4 h 5"/>
                <a:gd name="T32" fmla="*/ 8 w 9"/>
                <a:gd name="T33" fmla="*/ 5 h 5"/>
                <a:gd name="T34" fmla="*/ 8 w 9"/>
                <a:gd name="T35" fmla="*/ 4 h 5"/>
                <a:gd name="T36" fmla="*/ 9 w 9"/>
                <a:gd name="T37" fmla="*/ 4 h 5"/>
                <a:gd name="T38" fmla="*/ 8 w 9"/>
                <a:gd name="T39" fmla="*/ 5 h 5"/>
                <a:gd name="T40" fmla="*/ 7 w 9"/>
                <a:gd name="T41" fmla="*/ 5 h 5"/>
                <a:gd name="T42" fmla="*/ 7 w 9"/>
                <a:gd name="T43" fmla="*/ 5 h 5"/>
                <a:gd name="T44" fmla="*/ 7 w 9"/>
                <a:gd name="T45" fmla="*/ 3 h 5"/>
                <a:gd name="T46" fmla="*/ 7 w 9"/>
                <a:gd name="T47" fmla="*/ 1 h 5"/>
                <a:gd name="T48" fmla="*/ 7 w 9"/>
                <a:gd name="T49" fmla="*/ 1 h 5"/>
                <a:gd name="T50" fmla="*/ 6 w 9"/>
                <a:gd name="T51" fmla="*/ 3 h 5"/>
                <a:gd name="T52" fmla="*/ 5 w 9"/>
                <a:gd name="T53" fmla="*/ 5 h 5"/>
                <a:gd name="T54" fmla="*/ 4 w 9"/>
                <a:gd name="T55" fmla="*/ 5 h 5"/>
                <a:gd name="T56" fmla="*/ 4 w 9"/>
                <a:gd name="T57" fmla="*/ 4 h 5"/>
                <a:gd name="T58" fmla="*/ 5 w 9"/>
                <a:gd name="T59" fmla="*/ 1 h 5"/>
                <a:gd name="T60" fmla="*/ 4 w 9"/>
                <a:gd name="T61" fmla="*/ 1 h 5"/>
                <a:gd name="T62" fmla="*/ 3 w 9"/>
                <a:gd name="T63" fmla="*/ 2 h 5"/>
                <a:gd name="T64" fmla="*/ 2 w 9"/>
                <a:gd name="T65" fmla="*/ 4 h 5"/>
                <a:gd name="T66" fmla="*/ 2 w 9"/>
                <a:gd name="T6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" h="5"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1"/>
                    <a:pt x="3" y="2"/>
                    <a:pt x="2" y="3"/>
                  </a:cubicBezTo>
                  <a:cubicBezTo>
                    <a:pt x="3" y="2"/>
                    <a:pt x="3" y="1"/>
                    <a:pt x="4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7" y="1"/>
                    <a:pt x="7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9" y="1"/>
                    <a:pt x="9" y="2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7" y="2"/>
                    <a:pt x="7" y="2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2"/>
                    <a:pt x="6" y="2"/>
                  </a:cubicBezTo>
                  <a:cubicBezTo>
                    <a:pt x="6" y="2"/>
                    <a:pt x="6" y="2"/>
                    <a:pt x="6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4" name="Freeform 10494"/>
            <p:cNvSpPr>
              <a:spLocks noEditPoints="1"/>
            </p:cNvSpPr>
            <p:nvPr/>
          </p:nvSpPr>
          <p:spPr bwMode="auto">
            <a:xfrm>
              <a:off x="8957700" y="6601795"/>
              <a:ext cx="25395" cy="25395"/>
            </a:xfrm>
            <a:custGeom>
              <a:avLst/>
              <a:gdLst>
                <a:gd name="T0" fmla="*/ 5 w 5"/>
                <a:gd name="T1" fmla="*/ 4 h 5"/>
                <a:gd name="T2" fmla="*/ 5 w 5"/>
                <a:gd name="T3" fmla="*/ 4 h 5"/>
                <a:gd name="T4" fmla="*/ 3 w 5"/>
                <a:gd name="T5" fmla="*/ 5 h 5"/>
                <a:gd name="T6" fmla="*/ 3 w 5"/>
                <a:gd name="T7" fmla="*/ 5 h 5"/>
                <a:gd name="T8" fmla="*/ 3 w 5"/>
                <a:gd name="T9" fmla="*/ 5 h 5"/>
                <a:gd name="T10" fmla="*/ 3 w 5"/>
                <a:gd name="T11" fmla="*/ 4 h 5"/>
                <a:gd name="T12" fmla="*/ 3 w 5"/>
                <a:gd name="T13" fmla="*/ 3 h 5"/>
                <a:gd name="T14" fmla="*/ 3 w 5"/>
                <a:gd name="T15" fmla="*/ 4 h 5"/>
                <a:gd name="T16" fmla="*/ 2 w 5"/>
                <a:gd name="T17" fmla="*/ 5 h 5"/>
                <a:gd name="T18" fmla="*/ 1 w 5"/>
                <a:gd name="T19" fmla="*/ 5 h 5"/>
                <a:gd name="T20" fmla="*/ 0 w 5"/>
                <a:gd name="T21" fmla="*/ 5 h 5"/>
                <a:gd name="T22" fmla="*/ 0 w 5"/>
                <a:gd name="T23" fmla="*/ 5 h 5"/>
                <a:gd name="T24" fmla="*/ 0 w 5"/>
                <a:gd name="T25" fmla="*/ 5 h 5"/>
                <a:gd name="T26" fmla="*/ 0 w 5"/>
                <a:gd name="T27" fmla="*/ 3 h 5"/>
                <a:gd name="T28" fmla="*/ 1 w 5"/>
                <a:gd name="T29" fmla="*/ 2 h 5"/>
                <a:gd name="T30" fmla="*/ 1 w 5"/>
                <a:gd name="T31" fmla="*/ 1 h 5"/>
                <a:gd name="T32" fmla="*/ 2 w 5"/>
                <a:gd name="T33" fmla="*/ 0 h 5"/>
                <a:gd name="T34" fmla="*/ 3 w 5"/>
                <a:gd name="T35" fmla="*/ 0 h 5"/>
                <a:gd name="T36" fmla="*/ 4 w 5"/>
                <a:gd name="T37" fmla="*/ 0 h 5"/>
                <a:gd name="T38" fmla="*/ 4 w 5"/>
                <a:gd name="T39" fmla="*/ 0 h 5"/>
                <a:gd name="T40" fmla="*/ 5 w 5"/>
                <a:gd name="T41" fmla="*/ 0 h 5"/>
                <a:gd name="T42" fmla="*/ 5 w 5"/>
                <a:gd name="T43" fmla="*/ 0 h 5"/>
                <a:gd name="T44" fmla="*/ 5 w 5"/>
                <a:gd name="T45" fmla="*/ 1 h 5"/>
                <a:gd name="T46" fmla="*/ 4 w 5"/>
                <a:gd name="T47" fmla="*/ 4 h 5"/>
                <a:gd name="T48" fmla="*/ 4 w 5"/>
                <a:gd name="T49" fmla="*/ 4 h 5"/>
                <a:gd name="T50" fmla="*/ 4 w 5"/>
                <a:gd name="T51" fmla="*/ 5 h 5"/>
                <a:gd name="T52" fmla="*/ 4 w 5"/>
                <a:gd name="T53" fmla="*/ 5 h 5"/>
                <a:gd name="T54" fmla="*/ 4 w 5"/>
                <a:gd name="T55" fmla="*/ 4 h 5"/>
                <a:gd name="T56" fmla="*/ 5 w 5"/>
                <a:gd name="T57" fmla="*/ 4 h 5"/>
                <a:gd name="T58" fmla="*/ 4 w 5"/>
                <a:gd name="T59" fmla="*/ 1 h 5"/>
                <a:gd name="T60" fmla="*/ 3 w 5"/>
                <a:gd name="T61" fmla="*/ 1 h 5"/>
                <a:gd name="T62" fmla="*/ 3 w 5"/>
                <a:gd name="T63" fmla="*/ 1 h 5"/>
                <a:gd name="T64" fmla="*/ 2 w 5"/>
                <a:gd name="T65" fmla="*/ 1 h 5"/>
                <a:gd name="T66" fmla="*/ 1 w 5"/>
                <a:gd name="T67" fmla="*/ 2 h 5"/>
                <a:gd name="T68" fmla="*/ 1 w 5"/>
                <a:gd name="T69" fmla="*/ 4 h 5"/>
                <a:gd name="T70" fmla="*/ 1 w 5"/>
                <a:gd name="T71" fmla="*/ 4 h 5"/>
                <a:gd name="T72" fmla="*/ 1 w 5"/>
                <a:gd name="T73" fmla="*/ 5 h 5"/>
                <a:gd name="T74" fmla="*/ 2 w 5"/>
                <a:gd name="T75" fmla="*/ 4 h 5"/>
                <a:gd name="T76" fmla="*/ 2 w 5"/>
                <a:gd name="T77" fmla="*/ 4 h 5"/>
                <a:gd name="T78" fmla="*/ 3 w 5"/>
                <a:gd name="T79" fmla="*/ 2 h 5"/>
                <a:gd name="T80" fmla="*/ 4 w 5"/>
                <a:gd name="T8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moveTo>
                    <a:pt x="4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1"/>
                    <a:pt x="4" y="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5" name="Freeform 10495"/>
            <p:cNvSpPr>
              <a:spLocks/>
            </p:cNvSpPr>
            <p:nvPr/>
          </p:nvSpPr>
          <p:spPr bwMode="auto">
            <a:xfrm>
              <a:off x="8987328" y="6591214"/>
              <a:ext cx="19046" cy="35976"/>
            </a:xfrm>
            <a:custGeom>
              <a:avLst/>
              <a:gdLst>
                <a:gd name="T0" fmla="*/ 3 w 4"/>
                <a:gd name="T1" fmla="*/ 6 h 7"/>
                <a:gd name="T2" fmla="*/ 3 w 4"/>
                <a:gd name="T3" fmla="*/ 6 h 7"/>
                <a:gd name="T4" fmla="*/ 3 w 4"/>
                <a:gd name="T5" fmla="*/ 7 h 7"/>
                <a:gd name="T6" fmla="*/ 2 w 4"/>
                <a:gd name="T7" fmla="*/ 7 h 7"/>
                <a:gd name="T8" fmla="*/ 1 w 4"/>
                <a:gd name="T9" fmla="*/ 7 h 7"/>
                <a:gd name="T10" fmla="*/ 1 w 4"/>
                <a:gd name="T11" fmla="*/ 7 h 7"/>
                <a:gd name="T12" fmla="*/ 0 w 4"/>
                <a:gd name="T13" fmla="*/ 7 h 7"/>
                <a:gd name="T14" fmla="*/ 1 w 4"/>
                <a:gd name="T15" fmla="*/ 6 h 7"/>
                <a:gd name="T16" fmla="*/ 1 w 4"/>
                <a:gd name="T17" fmla="*/ 4 h 7"/>
                <a:gd name="T18" fmla="*/ 1 w 4"/>
                <a:gd name="T19" fmla="*/ 3 h 7"/>
                <a:gd name="T20" fmla="*/ 0 w 4"/>
                <a:gd name="T21" fmla="*/ 3 h 7"/>
                <a:gd name="T22" fmla="*/ 0 w 4"/>
                <a:gd name="T23" fmla="*/ 3 h 7"/>
                <a:gd name="T24" fmla="*/ 1 w 4"/>
                <a:gd name="T25" fmla="*/ 2 h 7"/>
                <a:gd name="T26" fmla="*/ 2 w 4"/>
                <a:gd name="T27" fmla="*/ 2 h 7"/>
                <a:gd name="T28" fmla="*/ 2 w 4"/>
                <a:gd name="T29" fmla="*/ 1 h 7"/>
                <a:gd name="T30" fmla="*/ 2 w 4"/>
                <a:gd name="T31" fmla="*/ 1 h 7"/>
                <a:gd name="T32" fmla="*/ 3 w 4"/>
                <a:gd name="T33" fmla="*/ 0 h 7"/>
                <a:gd name="T34" fmla="*/ 3 w 4"/>
                <a:gd name="T35" fmla="*/ 0 h 7"/>
                <a:gd name="T36" fmla="*/ 3 w 4"/>
                <a:gd name="T37" fmla="*/ 2 h 7"/>
                <a:gd name="T38" fmla="*/ 3 w 4"/>
                <a:gd name="T39" fmla="*/ 2 h 7"/>
                <a:gd name="T40" fmla="*/ 4 w 4"/>
                <a:gd name="T41" fmla="*/ 2 h 7"/>
                <a:gd name="T42" fmla="*/ 4 w 4"/>
                <a:gd name="T43" fmla="*/ 2 h 7"/>
                <a:gd name="T44" fmla="*/ 4 w 4"/>
                <a:gd name="T45" fmla="*/ 3 h 7"/>
                <a:gd name="T46" fmla="*/ 3 w 4"/>
                <a:gd name="T47" fmla="*/ 3 h 7"/>
                <a:gd name="T48" fmla="*/ 2 w 4"/>
                <a:gd name="T49" fmla="*/ 3 h 7"/>
                <a:gd name="T50" fmla="*/ 2 w 4"/>
                <a:gd name="T51" fmla="*/ 4 h 7"/>
                <a:gd name="T52" fmla="*/ 2 w 4"/>
                <a:gd name="T53" fmla="*/ 5 h 7"/>
                <a:gd name="T54" fmla="*/ 2 w 4"/>
                <a:gd name="T55" fmla="*/ 6 h 7"/>
                <a:gd name="T56" fmla="*/ 2 w 4"/>
                <a:gd name="T57" fmla="*/ 6 h 7"/>
                <a:gd name="T58" fmla="*/ 2 w 4"/>
                <a:gd name="T59" fmla="*/ 7 h 7"/>
                <a:gd name="T60" fmla="*/ 2 w 4"/>
                <a:gd name="T61" fmla="*/ 7 h 7"/>
                <a:gd name="T62" fmla="*/ 2 w 4"/>
                <a:gd name="T63" fmla="*/ 6 h 7"/>
                <a:gd name="T64" fmla="*/ 3 w 4"/>
                <a:gd name="T6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6" name="Freeform 10496"/>
            <p:cNvSpPr>
              <a:spLocks noEditPoints="1"/>
            </p:cNvSpPr>
            <p:nvPr/>
          </p:nvSpPr>
          <p:spPr bwMode="auto">
            <a:xfrm>
              <a:off x="9006374" y="6591214"/>
              <a:ext cx="14814" cy="35976"/>
            </a:xfrm>
            <a:custGeom>
              <a:avLst/>
              <a:gdLst>
                <a:gd name="T0" fmla="*/ 0 w 3"/>
                <a:gd name="T1" fmla="*/ 4 h 7"/>
                <a:gd name="T2" fmla="*/ 0 w 3"/>
                <a:gd name="T3" fmla="*/ 3 h 7"/>
                <a:gd name="T4" fmla="*/ 1 w 3"/>
                <a:gd name="T5" fmla="*/ 3 h 7"/>
                <a:gd name="T6" fmla="*/ 2 w 3"/>
                <a:gd name="T7" fmla="*/ 2 h 7"/>
                <a:gd name="T8" fmla="*/ 2 w 3"/>
                <a:gd name="T9" fmla="*/ 2 h 7"/>
                <a:gd name="T10" fmla="*/ 3 w 3"/>
                <a:gd name="T11" fmla="*/ 2 h 7"/>
                <a:gd name="T12" fmla="*/ 3 w 3"/>
                <a:gd name="T13" fmla="*/ 2 h 7"/>
                <a:gd name="T14" fmla="*/ 3 w 3"/>
                <a:gd name="T15" fmla="*/ 2 h 7"/>
                <a:gd name="T16" fmla="*/ 3 w 3"/>
                <a:gd name="T17" fmla="*/ 3 h 7"/>
                <a:gd name="T18" fmla="*/ 2 w 3"/>
                <a:gd name="T19" fmla="*/ 4 h 7"/>
                <a:gd name="T20" fmla="*/ 2 w 3"/>
                <a:gd name="T21" fmla="*/ 6 h 7"/>
                <a:gd name="T22" fmla="*/ 2 w 3"/>
                <a:gd name="T23" fmla="*/ 6 h 7"/>
                <a:gd name="T24" fmla="*/ 2 w 3"/>
                <a:gd name="T25" fmla="*/ 6 h 7"/>
                <a:gd name="T26" fmla="*/ 2 w 3"/>
                <a:gd name="T27" fmla="*/ 7 h 7"/>
                <a:gd name="T28" fmla="*/ 2 w 3"/>
                <a:gd name="T29" fmla="*/ 6 h 7"/>
                <a:gd name="T30" fmla="*/ 3 w 3"/>
                <a:gd name="T31" fmla="*/ 6 h 7"/>
                <a:gd name="T32" fmla="*/ 3 w 3"/>
                <a:gd name="T33" fmla="*/ 6 h 7"/>
                <a:gd name="T34" fmla="*/ 2 w 3"/>
                <a:gd name="T35" fmla="*/ 7 h 7"/>
                <a:gd name="T36" fmla="*/ 1 w 3"/>
                <a:gd name="T37" fmla="*/ 7 h 7"/>
                <a:gd name="T38" fmla="*/ 1 w 3"/>
                <a:gd name="T39" fmla="*/ 7 h 7"/>
                <a:gd name="T40" fmla="*/ 1 w 3"/>
                <a:gd name="T41" fmla="*/ 7 h 7"/>
                <a:gd name="T42" fmla="*/ 1 w 3"/>
                <a:gd name="T43" fmla="*/ 7 h 7"/>
                <a:gd name="T44" fmla="*/ 1 w 3"/>
                <a:gd name="T45" fmla="*/ 6 h 7"/>
                <a:gd name="T46" fmla="*/ 1 w 3"/>
                <a:gd name="T47" fmla="*/ 5 h 7"/>
                <a:gd name="T48" fmla="*/ 1 w 3"/>
                <a:gd name="T49" fmla="*/ 3 h 7"/>
                <a:gd name="T50" fmla="*/ 1 w 3"/>
                <a:gd name="T51" fmla="*/ 3 h 7"/>
                <a:gd name="T52" fmla="*/ 1 w 3"/>
                <a:gd name="T53" fmla="*/ 3 h 7"/>
                <a:gd name="T54" fmla="*/ 0 w 3"/>
                <a:gd name="T55" fmla="*/ 4 h 7"/>
                <a:gd name="T56" fmla="*/ 2 w 3"/>
                <a:gd name="T57" fmla="*/ 0 h 7"/>
                <a:gd name="T58" fmla="*/ 2 w 3"/>
                <a:gd name="T59" fmla="*/ 0 h 7"/>
                <a:gd name="T60" fmla="*/ 3 w 3"/>
                <a:gd name="T61" fmla="*/ 0 h 7"/>
                <a:gd name="T62" fmla="*/ 3 w 3"/>
                <a:gd name="T63" fmla="*/ 0 h 7"/>
                <a:gd name="T64" fmla="*/ 3 w 3"/>
                <a:gd name="T65" fmla="*/ 0 h 7"/>
                <a:gd name="T66" fmla="*/ 3 w 3"/>
                <a:gd name="T67" fmla="*/ 1 h 7"/>
                <a:gd name="T68" fmla="*/ 3 w 3"/>
                <a:gd name="T69" fmla="*/ 1 h 7"/>
                <a:gd name="T70" fmla="*/ 2 w 3"/>
                <a:gd name="T71" fmla="*/ 1 h 7"/>
                <a:gd name="T72" fmla="*/ 2 w 3"/>
                <a:gd name="T7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" h="7">
                  <a:moveTo>
                    <a:pt x="0" y="4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0" y="4"/>
                  </a:cubicBezTo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7" name="Freeform 10497"/>
            <p:cNvSpPr>
              <a:spLocks noEditPoints="1"/>
            </p:cNvSpPr>
            <p:nvPr/>
          </p:nvSpPr>
          <p:spPr bwMode="auto">
            <a:xfrm>
              <a:off x="9027536" y="6601795"/>
              <a:ext cx="25395" cy="25395"/>
            </a:xfrm>
            <a:custGeom>
              <a:avLst/>
              <a:gdLst>
                <a:gd name="T0" fmla="*/ 0 w 5"/>
                <a:gd name="T1" fmla="*/ 4 h 5"/>
                <a:gd name="T2" fmla="*/ 0 w 5"/>
                <a:gd name="T3" fmla="*/ 2 h 5"/>
                <a:gd name="T4" fmla="*/ 1 w 5"/>
                <a:gd name="T5" fmla="*/ 1 h 5"/>
                <a:gd name="T6" fmla="*/ 1 w 5"/>
                <a:gd name="T7" fmla="*/ 1 h 5"/>
                <a:gd name="T8" fmla="*/ 2 w 5"/>
                <a:gd name="T9" fmla="*/ 0 h 5"/>
                <a:gd name="T10" fmla="*/ 3 w 5"/>
                <a:gd name="T11" fmla="*/ 0 h 5"/>
                <a:gd name="T12" fmla="*/ 4 w 5"/>
                <a:gd name="T13" fmla="*/ 0 h 5"/>
                <a:gd name="T14" fmla="*/ 5 w 5"/>
                <a:gd name="T15" fmla="*/ 1 h 5"/>
                <a:gd name="T16" fmla="*/ 5 w 5"/>
                <a:gd name="T17" fmla="*/ 1 h 5"/>
                <a:gd name="T18" fmla="*/ 5 w 5"/>
                <a:gd name="T19" fmla="*/ 2 h 5"/>
                <a:gd name="T20" fmla="*/ 5 w 5"/>
                <a:gd name="T21" fmla="*/ 3 h 5"/>
                <a:gd name="T22" fmla="*/ 4 w 5"/>
                <a:gd name="T23" fmla="*/ 4 h 5"/>
                <a:gd name="T24" fmla="*/ 4 w 5"/>
                <a:gd name="T25" fmla="*/ 5 h 5"/>
                <a:gd name="T26" fmla="*/ 3 w 5"/>
                <a:gd name="T27" fmla="*/ 5 h 5"/>
                <a:gd name="T28" fmla="*/ 2 w 5"/>
                <a:gd name="T29" fmla="*/ 5 h 5"/>
                <a:gd name="T30" fmla="*/ 1 w 5"/>
                <a:gd name="T31" fmla="*/ 5 h 5"/>
                <a:gd name="T32" fmla="*/ 0 w 5"/>
                <a:gd name="T33" fmla="*/ 5 h 5"/>
                <a:gd name="T34" fmla="*/ 0 w 5"/>
                <a:gd name="T35" fmla="*/ 4 h 5"/>
                <a:gd name="T36" fmla="*/ 1 w 5"/>
                <a:gd name="T37" fmla="*/ 4 h 5"/>
                <a:gd name="T38" fmla="*/ 2 w 5"/>
                <a:gd name="T39" fmla="*/ 5 h 5"/>
                <a:gd name="T40" fmla="*/ 2 w 5"/>
                <a:gd name="T41" fmla="*/ 5 h 5"/>
                <a:gd name="T42" fmla="*/ 3 w 5"/>
                <a:gd name="T43" fmla="*/ 5 h 5"/>
                <a:gd name="T44" fmla="*/ 3 w 5"/>
                <a:gd name="T45" fmla="*/ 4 h 5"/>
                <a:gd name="T46" fmla="*/ 4 w 5"/>
                <a:gd name="T47" fmla="*/ 3 h 5"/>
                <a:gd name="T48" fmla="*/ 4 w 5"/>
                <a:gd name="T49" fmla="*/ 2 h 5"/>
                <a:gd name="T50" fmla="*/ 4 w 5"/>
                <a:gd name="T51" fmla="*/ 1 h 5"/>
                <a:gd name="T52" fmla="*/ 3 w 5"/>
                <a:gd name="T53" fmla="*/ 1 h 5"/>
                <a:gd name="T54" fmla="*/ 2 w 5"/>
                <a:gd name="T55" fmla="*/ 1 h 5"/>
                <a:gd name="T56" fmla="*/ 2 w 5"/>
                <a:gd name="T57" fmla="*/ 2 h 5"/>
                <a:gd name="T58" fmla="*/ 1 w 5"/>
                <a:gd name="T5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" h="5">
                  <a:moveTo>
                    <a:pt x="0" y="4"/>
                  </a:move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moveTo>
                    <a:pt x="1" y="4"/>
                  </a:moveTo>
                  <a:cubicBezTo>
                    <a:pt x="1" y="4"/>
                    <a:pt x="1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4"/>
                    <a:pt x="4" y="4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3"/>
                    <a:pt x="1" y="3"/>
                    <a:pt x="1" y="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8" name="Freeform 10498"/>
            <p:cNvSpPr>
              <a:spLocks/>
            </p:cNvSpPr>
            <p:nvPr/>
          </p:nvSpPr>
          <p:spPr bwMode="auto">
            <a:xfrm>
              <a:off x="9057163" y="6601795"/>
              <a:ext cx="29627" cy="25395"/>
            </a:xfrm>
            <a:custGeom>
              <a:avLst/>
              <a:gdLst>
                <a:gd name="T0" fmla="*/ 0 w 6"/>
                <a:gd name="T1" fmla="*/ 5 h 5"/>
                <a:gd name="T2" fmla="*/ 0 w 6"/>
                <a:gd name="T3" fmla="*/ 5 h 5"/>
                <a:gd name="T4" fmla="*/ 0 w 6"/>
                <a:gd name="T5" fmla="*/ 5 h 5"/>
                <a:gd name="T6" fmla="*/ 1 w 6"/>
                <a:gd name="T7" fmla="*/ 3 h 5"/>
                <a:gd name="T8" fmla="*/ 1 w 6"/>
                <a:gd name="T9" fmla="*/ 2 h 5"/>
                <a:gd name="T10" fmla="*/ 1 w 6"/>
                <a:gd name="T11" fmla="*/ 1 h 5"/>
                <a:gd name="T12" fmla="*/ 1 w 6"/>
                <a:gd name="T13" fmla="*/ 1 h 5"/>
                <a:gd name="T14" fmla="*/ 1 w 6"/>
                <a:gd name="T15" fmla="*/ 1 h 5"/>
                <a:gd name="T16" fmla="*/ 0 w 6"/>
                <a:gd name="T17" fmla="*/ 2 h 5"/>
                <a:gd name="T18" fmla="*/ 0 w 6"/>
                <a:gd name="T19" fmla="*/ 1 h 5"/>
                <a:gd name="T20" fmla="*/ 1 w 6"/>
                <a:gd name="T21" fmla="*/ 0 h 5"/>
                <a:gd name="T22" fmla="*/ 2 w 6"/>
                <a:gd name="T23" fmla="*/ 0 h 5"/>
                <a:gd name="T24" fmla="*/ 2 w 6"/>
                <a:gd name="T25" fmla="*/ 0 h 5"/>
                <a:gd name="T26" fmla="*/ 2 w 6"/>
                <a:gd name="T27" fmla="*/ 0 h 5"/>
                <a:gd name="T28" fmla="*/ 2 w 6"/>
                <a:gd name="T29" fmla="*/ 1 h 5"/>
                <a:gd name="T30" fmla="*/ 2 w 6"/>
                <a:gd name="T31" fmla="*/ 3 h 5"/>
                <a:gd name="T32" fmla="*/ 3 w 6"/>
                <a:gd name="T33" fmla="*/ 1 h 5"/>
                <a:gd name="T34" fmla="*/ 4 w 6"/>
                <a:gd name="T35" fmla="*/ 0 h 5"/>
                <a:gd name="T36" fmla="*/ 5 w 6"/>
                <a:gd name="T37" fmla="*/ 0 h 5"/>
                <a:gd name="T38" fmla="*/ 5 w 6"/>
                <a:gd name="T39" fmla="*/ 0 h 5"/>
                <a:gd name="T40" fmla="*/ 5 w 6"/>
                <a:gd name="T41" fmla="*/ 1 h 5"/>
                <a:gd name="T42" fmla="*/ 5 w 6"/>
                <a:gd name="T43" fmla="*/ 1 h 5"/>
                <a:gd name="T44" fmla="*/ 5 w 6"/>
                <a:gd name="T45" fmla="*/ 3 h 5"/>
                <a:gd name="T46" fmla="*/ 5 w 6"/>
                <a:gd name="T47" fmla="*/ 4 h 5"/>
                <a:gd name="T48" fmla="*/ 4 w 6"/>
                <a:gd name="T49" fmla="*/ 4 h 5"/>
                <a:gd name="T50" fmla="*/ 4 w 6"/>
                <a:gd name="T51" fmla="*/ 4 h 5"/>
                <a:gd name="T52" fmla="*/ 5 w 6"/>
                <a:gd name="T53" fmla="*/ 5 h 5"/>
                <a:gd name="T54" fmla="*/ 5 w 6"/>
                <a:gd name="T55" fmla="*/ 4 h 5"/>
                <a:gd name="T56" fmla="*/ 5 w 6"/>
                <a:gd name="T57" fmla="*/ 4 h 5"/>
                <a:gd name="T58" fmla="*/ 6 w 6"/>
                <a:gd name="T59" fmla="*/ 4 h 5"/>
                <a:gd name="T60" fmla="*/ 4 w 6"/>
                <a:gd name="T61" fmla="*/ 5 h 5"/>
                <a:gd name="T62" fmla="*/ 4 w 6"/>
                <a:gd name="T63" fmla="*/ 5 h 5"/>
                <a:gd name="T64" fmla="*/ 3 w 6"/>
                <a:gd name="T65" fmla="*/ 5 h 5"/>
                <a:gd name="T66" fmla="*/ 3 w 6"/>
                <a:gd name="T67" fmla="*/ 5 h 5"/>
                <a:gd name="T68" fmla="*/ 4 w 6"/>
                <a:gd name="T69" fmla="*/ 3 h 5"/>
                <a:gd name="T70" fmla="*/ 4 w 6"/>
                <a:gd name="T71" fmla="*/ 1 h 5"/>
                <a:gd name="T72" fmla="*/ 4 w 6"/>
                <a:gd name="T73" fmla="*/ 1 h 5"/>
                <a:gd name="T74" fmla="*/ 4 w 6"/>
                <a:gd name="T75" fmla="*/ 1 h 5"/>
                <a:gd name="T76" fmla="*/ 3 w 6"/>
                <a:gd name="T77" fmla="*/ 1 h 5"/>
                <a:gd name="T78" fmla="*/ 3 w 6"/>
                <a:gd name="T79" fmla="*/ 2 h 5"/>
                <a:gd name="T80" fmla="*/ 2 w 6"/>
                <a:gd name="T81" fmla="*/ 3 h 5"/>
                <a:gd name="T82" fmla="*/ 2 w 6"/>
                <a:gd name="T83" fmla="*/ 4 h 5"/>
                <a:gd name="T84" fmla="*/ 1 w 6"/>
                <a:gd name="T85" fmla="*/ 5 h 5"/>
                <a:gd name="T86" fmla="*/ 0 w 6"/>
                <a:gd name="T8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19" name="Freeform 10499"/>
            <p:cNvSpPr>
              <a:spLocks/>
            </p:cNvSpPr>
            <p:nvPr/>
          </p:nvSpPr>
          <p:spPr bwMode="auto">
            <a:xfrm>
              <a:off x="8382085" y="6244152"/>
              <a:ext cx="268761" cy="258180"/>
            </a:xfrm>
            <a:custGeom>
              <a:avLst/>
              <a:gdLst>
                <a:gd name="T0" fmla="*/ 127 w 127"/>
                <a:gd name="T1" fmla="*/ 108 h 122"/>
                <a:gd name="T2" fmla="*/ 127 w 127"/>
                <a:gd name="T3" fmla="*/ 110 h 122"/>
                <a:gd name="T4" fmla="*/ 75 w 127"/>
                <a:gd name="T5" fmla="*/ 20 h 122"/>
                <a:gd name="T6" fmla="*/ 19 w 127"/>
                <a:gd name="T7" fmla="*/ 115 h 122"/>
                <a:gd name="T8" fmla="*/ 35 w 127"/>
                <a:gd name="T9" fmla="*/ 115 h 122"/>
                <a:gd name="T10" fmla="*/ 68 w 127"/>
                <a:gd name="T11" fmla="*/ 59 h 122"/>
                <a:gd name="T12" fmla="*/ 104 w 127"/>
                <a:gd name="T13" fmla="*/ 120 h 122"/>
                <a:gd name="T14" fmla="*/ 101 w 127"/>
                <a:gd name="T15" fmla="*/ 122 h 122"/>
                <a:gd name="T16" fmla="*/ 73 w 127"/>
                <a:gd name="T17" fmla="*/ 71 h 122"/>
                <a:gd name="T18" fmla="*/ 42 w 127"/>
                <a:gd name="T19" fmla="*/ 122 h 122"/>
                <a:gd name="T20" fmla="*/ 0 w 127"/>
                <a:gd name="T21" fmla="*/ 122 h 122"/>
                <a:gd name="T22" fmla="*/ 73 w 127"/>
                <a:gd name="T23" fmla="*/ 0 h 122"/>
                <a:gd name="T24" fmla="*/ 127 w 127"/>
                <a:gd name="T25" fmla="*/ 108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7" h="122">
                  <a:moveTo>
                    <a:pt x="127" y="108"/>
                  </a:moveTo>
                  <a:lnTo>
                    <a:pt x="127" y="110"/>
                  </a:lnTo>
                  <a:lnTo>
                    <a:pt x="75" y="20"/>
                  </a:lnTo>
                  <a:lnTo>
                    <a:pt x="19" y="115"/>
                  </a:lnTo>
                  <a:lnTo>
                    <a:pt x="35" y="115"/>
                  </a:lnTo>
                  <a:lnTo>
                    <a:pt x="68" y="59"/>
                  </a:lnTo>
                  <a:lnTo>
                    <a:pt x="104" y="120"/>
                  </a:lnTo>
                  <a:lnTo>
                    <a:pt x="101" y="122"/>
                  </a:lnTo>
                  <a:lnTo>
                    <a:pt x="73" y="71"/>
                  </a:lnTo>
                  <a:lnTo>
                    <a:pt x="42" y="122"/>
                  </a:lnTo>
                  <a:lnTo>
                    <a:pt x="0" y="122"/>
                  </a:lnTo>
                  <a:lnTo>
                    <a:pt x="73" y="0"/>
                  </a:lnTo>
                  <a:lnTo>
                    <a:pt x="127" y="10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0" name="Freeform 10500"/>
            <p:cNvSpPr>
              <a:spLocks/>
            </p:cNvSpPr>
            <p:nvPr/>
          </p:nvSpPr>
          <p:spPr bwMode="auto">
            <a:xfrm>
              <a:off x="8566197" y="6244152"/>
              <a:ext cx="275110" cy="258180"/>
            </a:xfrm>
            <a:custGeom>
              <a:avLst/>
              <a:gdLst>
                <a:gd name="T0" fmla="*/ 57 w 130"/>
                <a:gd name="T1" fmla="*/ 0 h 122"/>
                <a:gd name="T2" fmla="*/ 130 w 130"/>
                <a:gd name="T3" fmla="*/ 122 h 122"/>
                <a:gd name="T4" fmla="*/ 88 w 130"/>
                <a:gd name="T5" fmla="*/ 122 h 122"/>
                <a:gd name="T6" fmla="*/ 57 w 130"/>
                <a:gd name="T7" fmla="*/ 71 h 122"/>
                <a:gd name="T8" fmla="*/ 26 w 130"/>
                <a:gd name="T9" fmla="*/ 122 h 122"/>
                <a:gd name="T10" fmla="*/ 26 w 130"/>
                <a:gd name="T11" fmla="*/ 120 h 122"/>
                <a:gd name="T12" fmla="*/ 59 w 130"/>
                <a:gd name="T13" fmla="*/ 59 h 122"/>
                <a:gd name="T14" fmla="*/ 92 w 130"/>
                <a:gd name="T15" fmla="*/ 115 h 122"/>
                <a:gd name="T16" fmla="*/ 111 w 130"/>
                <a:gd name="T17" fmla="*/ 115 h 122"/>
                <a:gd name="T18" fmla="*/ 55 w 130"/>
                <a:gd name="T19" fmla="*/ 20 h 122"/>
                <a:gd name="T20" fmla="*/ 0 w 130"/>
                <a:gd name="T21" fmla="*/ 110 h 122"/>
                <a:gd name="T22" fmla="*/ 0 w 130"/>
                <a:gd name="T23" fmla="*/ 108 h 122"/>
                <a:gd name="T24" fmla="*/ 57 w 130"/>
                <a:gd name="T2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0" h="122">
                  <a:moveTo>
                    <a:pt x="57" y="0"/>
                  </a:moveTo>
                  <a:lnTo>
                    <a:pt x="130" y="122"/>
                  </a:lnTo>
                  <a:lnTo>
                    <a:pt x="88" y="122"/>
                  </a:lnTo>
                  <a:lnTo>
                    <a:pt x="57" y="7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59" y="59"/>
                  </a:lnTo>
                  <a:lnTo>
                    <a:pt x="92" y="115"/>
                  </a:lnTo>
                  <a:lnTo>
                    <a:pt x="111" y="115"/>
                  </a:lnTo>
                  <a:lnTo>
                    <a:pt x="55" y="2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006B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1" name="Freeform 10501"/>
            <p:cNvSpPr>
              <a:spLocks noEditPoints="1"/>
            </p:cNvSpPr>
            <p:nvPr/>
          </p:nvSpPr>
          <p:spPr bwMode="auto">
            <a:xfrm>
              <a:off x="8826494" y="6250501"/>
              <a:ext cx="80417" cy="55022"/>
            </a:xfrm>
            <a:custGeom>
              <a:avLst/>
              <a:gdLst>
                <a:gd name="T0" fmla="*/ 9 w 16"/>
                <a:gd name="T1" fmla="*/ 4 h 11"/>
                <a:gd name="T2" fmla="*/ 7 w 16"/>
                <a:gd name="T3" fmla="*/ 5 h 11"/>
                <a:gd name="T4" fmla="*/ 7 w 16"/>
                <a:gd name="T5" fmla="*/ 5 h 11"/>
                <a:gd name="T6" fmla="*/ 10 w 16"/>
                <a:gd name="T7" fmla="*/ 6 h 11"/>
                <a:gd name="T8" fmla="*/ 11 w 16"/>
                <a:gd name="T9" fmla="*/ 8 h 11"/>
                <a:gd name="T10" fmla="*/ 9 w 16"/>
                <a:gd name="T11" fmla="*/ 10 h 11"/>
                <a:gd name="T12" fmla="*/ 5 w 16"/>
                <a:gd name="T13" fmla="*/ 11 h 11"/>
                <a:gd name="T14" fmla="*/ 2 w 16"/>
                <a:gd name="T15" fmla="*/ 10 h 11"/>
                <a:gd name="T16" fmla="*/ 0 w 16"/>
                <a:gd name="T17" fmla="*/ 7 h 11"/>
                <a:gd name="T18" fmla="*/ 1 w 16"/>
                <a:gd name="T19" fmla="*/ 7 h 11"/>
                <a:gd name="T20" fmla="*/ 2 w 16"/>
                <a:gd name="T21" fmla="*/ 9 h 11"/>
                <a:gd name="T22" fmla="*/ 4 w 16"/>
                <a:gd name="T23" fmla="*/ 10 h 11"/>
                <a:gd name="T24" fmla="*/ 5 w 16"/>
                <a:gd name="T25" fmla="*/ 10 h 11"/>
                <a:gd name="T26" fmla="*/ 7 w 16"/>
                <a:gd name="T27" fmla="*/ 10 h 11"/>
                <a:gd name="T28" fmla="*/ 8 w 16"/>
                <a:gd name="T29" fmla="*/ 9 h 11"/>
                <a:gd name="T30" fmla="*/ 9 w 16"/>
                <a:gd name="T31" fmla="*/ 8 h 11"/>
                <a:gd name="T32" fmla="*/ 8 w 16"/>
                <a:gd name="T33" fmla="*/ 6 h 11"/>
                <a:gd name="T34" fmla="*/ 6 w 16"/>
                <a:gd name="T35" fmla="*/ 5 h 11"/>
                <a:gd name="T36" fmla="*/ 6 w 16"/>
                <a:gd name="T37" fmla="*/ 5 h 11"/>
                <a:gd name="T38" fmla="*/ 4 w 16"/>
                <a:gd name="T39" fmla="*/ 5 h 11"/>
                <a:gd name="T40" fmla="*/ 4 w 16"/>
                <a:gd name="T41" fmla="*/ 5 h 11"/>
                <a:gd name="T42" fmla="*/ 6 w 16"/>
                <a:gd name="T43" fmla="*/ 5 h 11"/>
                <a:gd name="T44" fmla="*/ 7 w 16"/>
                <a:gd name="T45" fmla="*/ 4 h 11"/>
                <a:gd name="T46" fmla="*/ 8 w 16"/>
                <a:gd name="T47" fmla="*/ 3 h 11"/>
                <a:gd name="T48" fmla="*/ 8 w 16"/>
                <a:gd name="T49" fmla="*/ 3 h 11"/>
                <a:gd name="T50" fmla="*/ 7 w 16"/>
                <a:gd name="T51" fmla="*/ 1 h 11"/>
                <a:gd name="T52" fmla="*/ 6 w 16"/>
                <a:gd name="T53" fmla="*/ 1 h 11"/>
                <a:gd name="T54" fmla="*/ 3 w 16"/>
                <a:gd name="T55" fmla="*/ 1 h 11"/>
                <a:gd name="T56" fmla="*/ 2 w 16"/>
                <a:gd name="T57" fmla="*/ 2 h 11"/>
                <a:gd name="T58" fmla="*/ 1 w 16"/>
                <a:gd name="T59" fmla="*/ 1 h 11"/>
                <a:gd name="T60" fmla="*/ 4 w 16"/>
                <a:gd name="T61" fmla="*/ 0 h 11"/>
                <a:gd name="T62" fmla="*/ 6 w 16"/>
                <a:gd name="T63" fmla="*/ 0 h 11"/>
                <a:gd name="T64" fmla="*/ 9 w 16"/>
                <a:gd name="T65" fmla="*/ 0 h 11"/>
                <a:gd name="T66" fmla="*/ 10 w 16"/>
                <a:gd name="T67" fmla="*/ 3 h 11"/>
                <a:gd name="T68" fmla="*/ 9 w 16"/>
                <a:gd name="T69" fmla="*/ 4 h 11"/>
                <a:gd name="T70" fmla="*/ 16 w 16"/>
                <a:gd name="T71" fmla="*/ 0 h 11"/>
                <a:gd name="T72" fmla="*/ 14 w 16"/>
                <a:gd name="T73" fmla="*/ 0 h 11"/>
                <a:gd name="T74" fmla="*/ 14 w 16"/>
                <a:gd name="T75" fmla="*/ 10 h 11"/>
                <a:gd name="T76" fmla="*/ 15 w 16"/>
                <a:gd name="T77" fmla="*/ 10 h 11"/>
                <a:gd name="T78" fmla="*/ 15 w 16"/>
                <a:gd name="T79" fmla="*/ 11 h 11"/>
                <a:gd name="T80" fmla="*/ 16 w 16"/>
                <a:gd name="T81" fmla="*/ 11 h 11"/>
                <a:gd name="T82" fmla="*/ 16 w 16"/>
                <a:gd name="T83" fmla="*/ 11 h 11"/>
                <a:gd name="T84" fmla="*/ 11 w 16"/>
                <a:gd name="T85" fmla="*/ 11 h 11"/>
                <a:gd name="T86" fmla="*/ 11 w 16"/>
                <a:gd name="T87" fmla="*/ 11 h 11"/>
                <a:gd name="T88" fmla="*/ 11 w 16"/>
                <a:gd name="T89" fmla="*/ 11 h 11"/>
                <a:gd name="T90" fmla="*/ 11 w 16"/>
                <a:gd name="T91" fmla="*/ 11 h 11"/>
                <a:gd name="T92" fmla="*/ 12 w 16"/>
                <a:gd name="T93" fmla="*/ 11 h 11"/>
                <a:gd name="T94" fmla="*/ 12 w 16"/>
                <a:gd name="T95" fmla="*/ 10 h 11"/>
                <a:gd name="T96" fmla="*/ 12 w 16"/>
                <a:gd name="T97" fmla="*/ 10 h 11"/>
                <a:gd name="T98" fmla="*/ 12 w 16"/>
                <a:gd name="T99" fmla="*/ 10 h 11"/>
                <a:gd name="T100" fmla="*/ 12 w 16"/>
                <a:gd name="T101" fmla="*/ 5 h 11"/>
                <a:gd name="T102" fmla="*/ 10 w 16"/>
                <a:gd name="T103" fmla="*/ 5 h 11"/>
                <a:gd name="T104" fmla="*/ 10 w 16"/>
                <a:gd name="T105" fmla="*/ 5 h 11"/>
                <a:gd name="T106" fmla="*/ 12 w 16"/>
                <a:gd name="T107" fmla="*/ 5 h 11"/>
                <a:gd name="T108" fmla="*/ 12 w 16"/>
                <a:gd name="T109" fmla="*/ 0 h 11"/>
                <a:gd name="T110" fmla="*/ 11 w 16"/>
                <a:gd name="T111" fmla="*/ 0 h 11"/>
                <a:gd name="T112" fmla="*/ 11 w 16"/>
                <a:gd name="T113" fmla="*/ 0 h 11"/>
                <a:gd name="T114" fmla="*/ 16 w 16"/>
                <a:gd name="T11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" h="11">
                  <a:moveTo>
                    <a:pt x="9" y="4"/>
                  </a:moveTo>
                  <a:cubicBezTo>
                    <a:pt x="9" y="4"/>
                    <a:pt x="8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9" y="6"/>
                    <a:pt x="10" y="6"/>
                  </a:cubicBezTo>
                  <a:cubicBezTo>
                    <a:pt x="10" y="7"/>
                    <a:pt x="11" y="7"/>
                    <a:pt x="11" y="8"/>
                  </a:cubicBezTo>
                  <a:cubicBezTo>
                    <a:pt x="11" y="9"/>
                    <a:pt x="10" y="10"/>
                    <a:pt x="9" y="10"/>
                  </a:cubicBezTo>
                  <a:cubicBezTo>
                    <a:pt x="8" y="11"/>
                    <a:pt x="7" y="11"/>
                    <a:pt x="5" y="11"/>
                  </a:cubicBezTo>
                  <a:cubicBezTo>
                    <a:pt x="4" y="11"/>
                    <a:pt x="3" y="11"/>
                    <a:pt x="2" y="10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2" y="9"/>
                  </a:cubicBezTo>
                  <a:cubicBezTo>
                    <a:pt x="3" y="10"/>
                    <a:pt x="3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7" y="10"/>
                  </a:cubicBezTo>
                  <a:cubicBezTo>
                    <a:pt x="8" y="10"/>
                    <a:pt x="8" y="9"/>
                    <a:pt x="8" y="9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9" y="7"/>
                    <a:pt x="8" y="7"/>
                    <a:pt x="8" y="6"/>
                  </a:cubicBezTo>
                  <a:cubicBezTo>
                    <a:pt x="7" y="6"/>
                    <a:pt x="7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7" y="5"/>
                    <a:pt x="7" y="4"/>
                  </a:cubicBezTo>
                  <a:cubicBezTo>
                    <a:pt x="7" y="4"/>
                    <a:pt x="8" y="4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7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10" y="1"/>
                    <a:pt x="10" y="2"/>
                    <a:pt x="10" y="3"/>
                  </a:cubicBezTo>
                  <a:cubicBezTo>
                    <a:pt x="10" y="3"/>
                    <a:pt x="10" y="4"/>
                    <a:pt x="9" y="4"/>
                  </a:cubicBezTo>
                  <a:moveTo>
                    <a:pt x="1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5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6" y="0"/>
                    <a:pt x="16" y="0"/>
                    <a:pt x="16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2" name="Freeform 10502"/>
            <p:cNvSpPr>
              <a:spLocks noEditPoints="1"/>
            </p:cNvSpPr>
            <p:nvPr/>
          </p:nvSpPr>
          <p:spPr bwMode="auto">
            <a:xfrm>
              <a:off x="8902678" y="6250501"/>
              <a:ext cx="74068" cy="55022"/>
            </a:xfrm>
            <a:custGeom>
              <a:avLst/>
              <a:gdLst>
                <a:gd name="T0" fmla="*/ 15 w 15"/>
                <a:gd name="T1" fmla="*/ 0 h 11"/>
                <a:gd name="T2" fmla="*/ 13 w 15"/>
                <a:gd name="T3" fmla="*/ 0 h 11"/>
                <a:gd name="T4" fmla="*/ 13 w 15"/>
                <a:gd name="T5" fmla="*/ 10 h 11"/>
                <a:gd name="T6" fmla="*/ 14 w 15"/>
                <a:gd name="T7" fmla="*/ 10 h 11"/>
                <a:gd name="T8" fmla="*/ 14 w 15"/>
                <a:gd name="T9" fmla="*/ 11 h 11"/>
                <a:gd name="T10" fmla="*/ 15 w 15"/>
                <a:gd name="T11" fmla="*/ 11 h 11"/>
                <a:gd name="T12" fmla="*/ 15 w 15"/>
                <a:gd name="T13" fmla="*/ 11 h 11"/>
                <a:gd name="T14" fmla="*/ 10 w 15"/>
                <a:gd name="T15" fmla="*/ 11 h 11"/>
                <a:gd name="T16" fmla="*/ 10 w 15"/>
                <a:gd name="T17" fmla="*/ 11 h 11"/>
                <a:gd name="T18" fmla="*/ 10 w 15"/>
                <a:gd name="T19" fmla="*/ 11 h 11"/>
                <a:gd name="T20" fmla="*/ 11 w 15"/>
                <a:gd name="T21" fmla="*/ 10 h 11"/>
                <a:gd name="T22" fmla="*/ 11 w 15"/>
                <a:gd name="T23" fmla="*/ 10 h 11"/>
                <a:gd name="T24" fmla="*/ 11 w 15"/>
                <a:gd name="T25" fmla="*/ 5 h 11"/>
                <a:gd name="T26" fmla="*/ 7 w 15"/>
                <a:gd name="T27" fmla="*/ 5 h 11"/>
                <a:gd name="T28" fmla="*/ 7 w 15"/>
                <a:gd name="T29" fmla="*/ 7 h 11"/>
                <a:gd name="T30" fmla="*/ 6 w 15"/>
                <a:gd name="T31" fmla="*/ 9 h 11"/>
                <a:gd name="T32" fmla="*/ 5 w 15"/>
                <a:gd name="T33" fmla="*/ 10 h 11"/>
                <a:gd name="T34" fmla="*/ 4 w 15"/>
                <a:gd name="T35" fmla="*/ 10 h 11"/>
                <a:gd name="T36" fmla="*/ 2 w 15"/>
                <a:gd name="T37" fmla="*/ 9 h 11"/>
                <a:gd name="T38" fmla="*/ 2 w 15"/>
                <a:gd name="T39" fmla="*/ 9 h 11"/>
                <a:gd name="T40" fmla="*/ 1 w 15"/>
                <a:gd name="T41" fmla="*/ 8 h 11"/>
                <a:gd name="T42" fmla="*/ 1 w 15"/>
                <a:gd name="T43" fmla="*/ 8 h 11"/>
                <a:gd name="T44" fmla="*/ 1 w 15"/>
                <a:gd name="T45" fmla="*/ 7 h 11"/>
                <a:gd name="T46" fmla="*/ 1 w 15"/>
                <a:gd name="T47" fmla="*/ 6 h 11"/>
                <a:gd name="T48" fmla="*/ 4 w 15"/>
                <a:gd name="T49" fmla="*/ 4 h 11"/>
                <a:gd name="T50" fmla="*/ 5 w 15"/>
                <a:gd name="T51" fmla="*/ 4 h 11"/>
                <a:gd name="T52" fmla="*/ 5 w 15"/>
                <a:gd name="T53" fmla="*/ 0 h 11"/>
                <a:gd name="T54" fmla="*/ 0 w 15"/>
                <a:gd name="T55" fmla="*/ 0 h 11"/>
                <a:gd name="T56" fmla="*/ 0 w 15"/>
                <a:gd name="T57" fmla="*/ 0 h 11"/>
                <a:gd name="T58" fmla="*/ 15 w 15"/>
                <a:gd name="T59" fmla="*/ 0 h 11"/>
                <a:gd name="T60" fmla="*/ 5 w 15"/>
                <a:gd name="T61" fmla="*/ 8 h 11"/>
                <a:gd name="T62" fmla="*/ 5 w 15"/>
                <a:gd name="T63" fmla="*/ 7 h 11"/>
                <a:gd name="T64" fmla="*/ 5 w 15"/>
                <a:gd name="T65" fmla="*/ 5 h 11"/>
                <a:gd name="T66" fmla="*/ 4 w 15"/>
                <a:gd name="T67" fmla="*/ 5 h 11"/>
                <a:gd name="T68" fmla="*/ 3 w 15"/>
                <a:gd name="T69" fmla="*/ 7 h 11"/>
                <a:gd name="T70" fmla="*/ 3 w 15"/>
                <a:gd name="T71" fmla="*/ 7 h 11"/>
                <a:gd name="T72" fmla="*/ 3 w 15"/>
                <a:gd name="T73" fmla="*/ 9 h 11"/>
                <a:gd name="T74" fmla="*/ 4 w 15"/>
                <a:gd name="T75" fmla="*/ 9 h 11"/>
                <a:gd name="T76" fmla="*/ 5 w 15"/>
                <a:gd name="T77" fmla="*/ 8 h 11"/>
                <a:gd name="T78" fmla="*/ 11 w 15"/>
                <a:gd name="T79" fmla="*/ 0 h 11"/>
                <a:gd name="T80" fmla="*/ 7 w 15"/>
                <a:gd name="T81" fmla="*/ 0 h 11"/>
                <a:gd name="T82" fmla="*/ 7 w 15"/>
                <a:gd name="T83" fmla="*/ 4 h 11"/>
                <a:gd name="T84" fmla="*/ 11 w 15"/>
                <a:gd name="T85" fmla="*/ 4 h 11"/>
                <a:gd name="T86" fmla="*/ 11 w 15"/>
                <a:gd name="T8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" h="11">
                  <a:moveTo>
                    <a:pt x="15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4" y="10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7" y="8"/>
                    <a:pt x="6" y="9"/>
                  </a:cubicBezTo>
                  <a:cubicBezTo>
                    <a:pt x="6" y="9"/>
                    <a:pt x="6" y="10"/>
                    <a:pt x="5" y="10"/>
                  </a:cubicBezTo>
                  <a:cubicBezTo>
                    <a:pt x="5" y="10"/>
                    <a:pt x="5" y="10"/>
                    <a:pt x="4" y="10"/>
                  </a:cubicBezTo>
                  <a:cubicBezTo>
                    <a:pt x="3" y="10"/>
                    <a:pt x="3" y="10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2" y="5"/>
                    <a:pt x="3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lose/>
                  <a:moveTo>
                    <a:pt x="5" y="8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3" y="6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8"/>
                  </a:cubicBezTo>
                  <a:moveTo>
                    <a:pt x="11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4"/>
                    <a:pt x="11" y="4"/>
                    <a:pt x="11" y="4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3" name="Freeform 10503"/>
            <p:cNvSpPr>
              <a:spLocks/>
            </p:cNvSpPr>
            <p:nvPr/>
          </p:nvSpPr>
          <p:spPr bwMode="auto">
            <a:xfrm>
              <a:off x="8936538" y="6311871"/>
              <a:ext cx="35976" cy="25395"/>
            </a:xfrm>
            <a:custGeom>
              <a:avLst/>
              <a:gdLst>
                <a:gd name="T0" fmla="*/ 7 w 7"/>
                <a:gd name="T1" fmla="*/ 0 h 5"/>
                <a:gd name="T2" fmla="*/ 7 w 7"/>
                <a:gd name="T3" fmla="*/ 0 h 5"/>
                <a:gd name="T4" fmla="*/ 5 w 7"/>
                <a:gd name="T5" fmla="*/ 0 h 5"/>
                <a:gd name="T6" fmla="*/ 3 w 7"/>
                <a:gd name="T7" fmla="*/ 0 h 5"/>
                <a:gd name="T8" fmla="*/ 2 w 7"/>
                <a:gd name="T9" fmla="*/ 1 h 5"/>
                <a:gd name="T10" fmla="*/ 2 w 7"/>
                <a:gd name="T11" fmla="*/ 2 h 5"/>
                <a:gd name="T12" fmla="*/ 3 w 7"/>
                <a:gd name="T13" fmla="*/ 3 h 5"/>
                <a:gd name="T14" fmla="*/ 5 w 7"/>
                <a:gd name="T15" fmla="*/ 4 h 5"/>
                <a:gd name="T16" fmla="*/ 7 w 7"/>
                <a:gd name="T17" fmla="*/ 4 h 5"/>
                <a:gd name="T18" fmla="*/ 7 w 7"/>
                <a:gd name="T19" fmla="*/ 5 h 5"/>
                <a:gd name="T20" fmla="*/ 5 w 7"/>
                <a:gd name="T21" fmla="*/ 5 h 5"/>
                <a:gd name="T22" fmla="*/ 0 w 7"/>
                <a:gd name="T23" fmla="*/ 3 h 5"/>
                <a:gd name="T24" fmla="*/ 0 w 7"/>
                <a:gd name="T25" fmla="*/ 2 h 5"/>
                <a:gd name="T26" fmla="*/ 1 w 7"/>
                <a:gd name="T27" fmla="*/ 0 h 5"/>
                <a:gd name="T28" fmla="*/ 4 w 7"/>
                <a:gd name="T29" fmla="*/ 0 h 5"/>
                <a:gd name="T30" fmla="*/ 5 w 7"/>
                <a:gd name="T31" fmla="*/ 0 h 5"/>
                <a:gd name="T32" fmla="*/ 7 w 7"/>
                <a:gd name="T3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4"/>
                    <a:pt x="4" y="4"/>
                    <a:pt x="5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5"/>
                    <a:pt x="1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4" name="Freeform 10504"/>
            <p:cNvSpPr>
              <a:spLocks/>
            </p:cNvSpPr>
            <p:nvPr/>
          </p:nvSpPr>
          <p:spPr bwMode="auto">
            <a:xfrm>
              <a:off x="8976746" y="6250501"/>
              <a:ext cx="76184" cy="55022"/>
            </a:xfrm>
            <a:custGeom>
              <a:avLst/>
              <a:gdLst>
                <a:gd name="T0" fmla="*/ 15 w 15"/>
                <a:gd name="T1" fmla="*/ 0 h 11"/>
                <a:gd name="T2" fmla="*/ 12 w 15"/>
                <a:gd name="T3" fmla="*/ 0 h 11"/>
                <a:gd name="T4" fmla="*/ 12 w 15"/>
                <a:gd name="T5" fmla="*/ 10 h 11"/>
                <a:gd name="T6" fmla="*/ 13 w 15"/>
                <a:gd name="T7" fmla="*/ 10 h 11"/>
                <a:gd name="T8" fmla="*/ 13 w 15"/>
                <a:gd name="T9" fmla="*/ 11 h 11"/>
                <a:gd name="T10" fmla="*/ 14 w 15"/>
                <a:gd name="T11" fmla="*/ 11 h 11"/>
                <a:gd name="T12" fmla="*/ 14 w 15"/>
                <a:gd name="T13" fmla="*/ 11 h 11"/>
                <a:gd name="T14" fmla="*/ 9 w 15"/>
                <a:gd name="T15" fmla="*/ 11 h 11"/>
                <a:gd name="T16" fmla="*/ 9 w 15"/>
                <a:gd name="T17" fmla="*/ 11 h 11"/>
                <a:gd name="T18" fmla="*/ 9 w 15"/>
                <a:gd name="T19" fmla="*/ 11 h 11"/>
                <a:gd name="T20" fmla="*/ 10 w 15"/>
                <a:gd name="T21" fmla="*/ 10 h 11"/>
                <a:gd name="T22" fmla="*/ 10 w 15"/>
                <a:gd name="T23" fmla="*/ 10 h 11"/>
                <a:gd name="T24" fmla="*/ 10 w 15"/>
                <a:gd name="T25" fmla="*/ 4 h 11"/>
                <a:gd name="T26" fmla="*/ 8 w 15"/>
                <a:gd name="T27" fmla="*/ 3 h 11"/>
                <a:gd name="T28" fmla="*/ 7 w 15"/>
                <a:gd name="T29" fmla="*/ 3 h 11"/>
                <a:gd name="T30" fmla="*/ 4 w 15"/>
                <a:gd name="T31" fmla="*/ 4 h 11"/>
                <a:gd name="T32" fmla="*/ 3 w 15"/>
                <a:gd name="T33" fmla="*/ 6 h 11"/>
                <a:gd name="T34" fmla="*/ 4 w 15"/>
                <a:gd name="T35" fmla="*/ 8 h 11"/>
                <a:gd name="T36" fmla="*/ 5 w 15"/>
                <a:gd name="T37" fmla="*/ 10 h 11"/>
                <a:gd name="T38" fmla="*/ 3 w 15"/>
                <a:gd name="T39" fmla="*/ 11 h 11"/>
                <a:gd name="T40" fmla="*/ 1 w 15"/>
                <a:gd name="T41" fmla="*/ 7 h 11"/>
                <a:gd name="T42" fmla="*/ 3 w 15"/>
                <a:gd name="T43" fmla="*/ 4 h 11"/>
                <a:gd name="T44" fmla="*/ 7 w 15"/>
                <a:gd name="T45" fmla="*/ 3 h 11"/>
                <a:gd name="T46" fmla="*/ 8 w 15"/>
                <a:gd name="T47" fmla="*/ 3 h 11"/>
                <a:gd name="T48" fmla="*/ 8 w 15"/>
                <a:gd name="T49" fmla="*/ 3 h 11"/>
                <a:gd name="T50" fmla="*/ 8 w 15"/>
                <a:gd name="T51" fmla="*/ 3 h 11"/>
                <a:gd name="T52" fmla="*/ 8 w 15"/>
                <a:gd name="T53" fmla="*/ 3 h 11"/>
                <a:gd name="T54" fmla="*/ 9 w 15"/>
                <a:gd name="T55" fmla="*/ 3 h 11"/>
                <a:gd name="T56" fmla="*/ 10 w 15"/>
                <a:gd name="T57" fmla="*/ 3 h 11"/>
                <a:gd name="T58" fmla="*/ 10 w 15"/>
                <a:gd name="T59" fmla="*/ 3 h 11"/>
                <a:gd name="T60" fmla="*/ 10 w 15"/>
                <a:gd name="T61" fmla="*/ 0 h 11"/>
                <a:gd name="T62" fmla="*/ 0 w 15"/>
                <a:gd name="T63" fmla="*/ 0 h 11"/>
                <a:gd name="T64" fmla="*/ 0 w 15"/>
                <a:gd name="T65" fmla="*/ 0 h 11"/>
                <a:gd name="T66" fmla="*/ 14 w 15"/>
                <a:gd name="T67" fmla="*/ 0 h 11"/>
                <a:gd name="T68" fmla="*/ 15 w 15"/>
                <a:gd name="T6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" h="11">
                  <a:moveTo>
                    <a:pt x="15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9" y="3"/>
                    <a:pt x="8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6" y="3"/>
                    <a:pt x="5" y="4"/>
                    <a:pt x="4" y="4"/>
                  </a:cubicBezTo>
                  <a:cubicBezTo>
                    <a:pt x="4" y="5"/>
                    <a:pt x="3" y="5"/>
                    <a:pt x="3" y="6"/>
                  </a:cubicBezTo>
                  <a:cubicBezTo>
                    <a:pt x="3" y="7"/>
                    <a:pt x="3" y="8"/>
                    <a:pt x="4" y="8"/>
                  </a:cubicBezTo>
                  <a:cubicBezTo>
                    <a:pt x="4" y="9"/>
                    <a:pt x="4" y="10"/>
                    <a:pt x="5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0"/>
                    <a:pt x="1" y="8"/>
                    <a:pt x="1" y="7"/>
                  </a:cubicBezTo>
                  <a:cubicBezTo>
                    <a:pt x="1" y="5"/>
                    <a:pt x="2" y="5"/>
                    <a:pt x="3" y="4"/>
                  </a:cubicBezTo>
                  <a:cubicBezTo>
                    <a:pt x="4" y="3"/>
                    <a:pt x="5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" y="0"/>
                    <a:pt x="14" y="0"/>
                    <a:pt x="14" y="0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5" name="Freeform 10505"/>
            <p:cNvSpPr>
              <a:spLocks/>
            </p:cNvSpPr>
            <p:nvPr/>
          </p:nvSpPr>
          <p:spPr bwMode="auto">
            <a:xfrm>
              <a:off x="8928073" y="6233571"/>
              <a:ext cx="165066" cy="275110"/>
            </a:xfrm>
            <a:custGeom>
              <a:avLst/>
              <a:gdLst>
                <a:gd name="T0" fmla="*/ 33 w 33"/>
                <a:gd name="T1" fmla="*/ 4 h 53"/>
                <a:gd name="T2" fmla="*/ 21 w 33"/>
                <a:gd name="T3" fmla="*/ 52 h 53"/>
                <a:gd name="T4" fmla="*/ 19 w 33"/>
                <a:gd name="T5" fmla="*/ 52 h 53"/>
                <a:gd name="T6" fmla="*/ 0 w 33"/>
                <a:gd name="T7" fmla="*/ 25 h 53"/>
                <a:gd name="T8" fmla="*/ 0 w 33"/>
                <a:gd name="T9" fmla="*/ 25 h 53"/>
                <a:gd name="T10" fmla="*/ 19 w 33"/>
                <a:gd name="T11" fmla="*/ 49 h 53"/>
                <a:gd name="T12" fmla="*/ 29 w 33"/>
                <a:gd name="T13" fmla="*/ 0 h 53"/>
                <a:gd name="T14" fmla="*/ 33 w 33"/>
                <a:gd name="T15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53">
                  <a:moveTo>
                    <a:pt x="33" y="4"/>
                  </a:moveTo>
                  <a:cubicBezTo>
                    <a:pt x="32" y="29"/>
                    <a:pt x="31" y="48"/>
                    <a:pt x="21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1" y="53"/>
                    <a:pt x="3" y="35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33"/>
                    <a:pt x="13" y="50"/>
                    <a:pt x="19" y="49"/>
                  </a:cubicBezTo>
                  <a:cubicBezTo>
                    <a:pt x="30" y="46"/>
                    <a:pt x="29" y="6"/>
                    <a:pt x="29" y="0"/>
                  </a:cubicBezTo>
                  <a:lnTo>
                    <a:pt x="33" y="4"/>
                  </a:lnTo>
                  <a:close/>
                </a:path>
              </a:pathLst>
            </a:custGeom>
            <a:solidFill>
              <a:srgbClr val="006B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6" name="Freeform 10506"/>
            <p:cNvSpPr>
              <a:spLocks/>
            </p:cNvSpPr>
            <p:nvPr/>
          </p:nvSpPr>
          <p:spPr bwMode="auto">
            <a:xfrm>
              <a:off x="9038117" y="6239919"/>
              <a:ext cx="143904" cy="97347"/>
            </a:xfrm>
            <a:custGeom>
              <a:avLst/>
              <a:gdLst>
                <a:gd name="T0" fmla="*/ 29 w 29"/>
                <a:gd name="T1" fmla="*/ 5 h 19"/>
                <a:gd name="T2" fmla="*/ 1 w 29"/>
                <a:gd name="T3" fmla="*/ 19 h 19"/>
                <a:gd name="T4" fmla="*/ 0 w 29"/>
                <a:gd name="T5" fmla="*/ 15 h 19"/>
                <a:gd name="T6" fmla="*/ 28 w 29"/>
                <a:gd name="T7" fmla="*/ 4 h 19"/>
                <a:gd name="T8" fmla="*/ 29 w 29"/>
                <a:gd name="T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5"/>
                  </a:moveTo>
                  <a:cubicBezTo>
                    <a:pt x="22" y="0"/>
                    <a:pt x="4" y="17"/>
                    <a:pt x="1" y="1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1" y="6"/>
                    <a:pt x="21" y="0"/>
                    <a:pt x="28" y="4"/>
                  </a:cubicBezTo>
                  <a:cubicBezTo>
                    <a:pt x="29" y="5"/>
                    <a:pt x="29" y="5"/>
                    <a:pt x="29" y="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7" name="Freeform 10507"/>
            <p:cNvSpPr>
              <a:spLocks/>
            </p:cNvSpPr>
            <p:nvPr/>
          </p:nvSpPr>
          <p:spPr bwMode="auto">
            <a:xfrm>
              <a:off x="8877283" y="6358428"/>
              <a:ext cx="114277" cy="143904"/>
            </a:xfrm>
            <a:custGeom>
              <a:avLst/>
              <a:gdLst>
                <a:gd name="T0" fmla="*/ 23 w 23"/>
                <a:gd name="T1" fmla="*/ 27 h 28"/>
                <a:gd name="T2" fmla="*/ 4 w 23"/>
                <a:gd name="T3" fmla="*/ 1 h 28"/>
                <a:gd name="T4" fmla="*/ 4 w 23"/>
                <a:gd name="T5" fmla="*/ 0 h 28"/>
                <a:gd name="T6" fmla="*/ 0 w 23"/>
                <a:gd name="T7" fmla="*/ 1 h 28"/>
                <a:gd name="T8" fmla="*/ 0 w 23"/>
                <a:gd name="T9" fmla="*/ 2 h 28"/>
                <a:gd name="T10" fmla="*/ 21 w 23"/>
                <a:gd name="T11" fmla="*/ 28 h 28"/>
                <a:gd name="T12" fmla="*/ 23 w 23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28">
                  <a:moveTo>
                    <a:pt x="23" y="27"/>
                  </a:moveTo>
                  <a:cubicBezTo>
                    <a:pt x="15" y="28"/>
                    <a:pt x="8" y="13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5" y="17"/>
                    <a:pt x="11" y="27"/>
                    <a:pt x="21" y="28"/>
                  </a:cubicBezTo>
                  <a:cubicBezTo>
                    <a:pt x="23" y="27"/>
                    <a:pt x="23" y="27"/>
                    <a:pt x="23" y="27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8" name="Freeform 10508"/>
            <p:cNvSpPr>
              <a:spLocks/>
            </p:cNvSpPr>
            <p:nvPr/>
          </p:nvSpPr>
          <p:spPr bwMode="auto">
            <a:xfrm>
              <a:off x="9012722" y="6358428"/>
              <a:ext cx="114277" cy="143904"/>
            </a:xfrm>
            <a:custGeom>
              <a:avLst/>
              <a:gdLst>
                <a:gd name="T0" fmla="*/ 23 w 23"/>
                <a:gd name="T1" fmla="*/ 27 h 28"/>
                <a:gd name="T2" fmla="*/ 5 w 23"/>
                <a:gd name="T3" fmla="*/ 0 h 28"/>
                <a:gd name="T4" fmla="*/ 4 w 23"/>
                <a:gd name="T5" fmla="*/ 0 h 28"/>
                <a:gd name="T6" fmla="*/ 0 w 23"/>
                <a:gd name="T7" fmla="*/ 1 h 28"/>
                <a:gd name="T8" fmla="*/ 0 w 23"/>
                <a:gd name="T9" fmla="*/ 2 h 28"/>
                <a:gd name="T10" fmla="*/ 21 w 23"/>
                <a:gd name="T11" fmla="*/ 27 h 28"/>
                <a:gd name="T12" fmla="*/ 23 w 23"/>
                <a:gd name="T13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28">
                  <a:moveTo>
                    <a:pt x="23" y="27"/>
                  </a:moveTo>
                  <a:cubicBezTo>
                    <a:pt x="15" y="28"/>
                    <a:pt x="8" y="13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5" y="17"/>
                    <a:pt x="11" y="27"/>
                    <a:pt x="21" y="27"/>
                  </a:cubicBezTo>
                  <a:cubicBezTo>
                    <a:pt x="23" y="27"/>
                    <a:pt x="23" y="27"/>
                    <a:pt x="23" y="27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29" name="Freeform 10509"/>
            <p:cNvSpPr>
              <a:spLocks noEditPoints="1"/>
            </p:cNvSpPr>
            <p:nvPr/>
          </p:nvSpPr>
          <p:spPr bwMode="auto">
            <a:xfrm>
              <a:off x="8760891" y="6297058"/>
              <a:ext cx="146020" cy="201042"/>
            </a:xfrm>
            <a:custGeom>
              <a:avLst/>
              <a:gdLst>
                <a:gd name="T0" fmla="*/ 15 w 29"/>
                <a:gd name="T1" fmla="*/ 20 h 39"/>
                <a:gd name="T2" fmla="*/ 15 w 29"/>
                <a:gd name="T3" fmla="*/ 20 h 39"/>
                <a:gd name="T4" fmla="*/ 9 w 29"/>
                <a:gd name="T5" fmla="*/ 8 h 39"/>
                <a:gd name="T6" fmla="*/ 15 w 29"/>
                <a:gd name="T7" fmla="*/ 11 h 39"/>
                <a:gd name="T8" fmla="*/ 15 w 29"/>
                <a:gd name="T9" fmla="*/ 20 h 39"/>
                <a:gd name="T10" fmla="*/ 14 w 29"/>
                <a:gd name="T11" fmla="*/ 22 h 39"/>
                <a:gd name="T12" fmla="*/ 6 w 29"/>
                <a:gd name="T13" fmla="*/ 39 h 39"/>
                <a:gd name="T14" fmla="*/ 7 w 29"/>
                <a:gd name="T15" fmla="*/ 39 h 39"/>
                <a:gd name="T16" fmla="*/ 7 w 29"/>
                <a:gd name="T17" fmla="*/ 39 h 39"/>
                <a:gd name="T18" fmla="*/ 18 w 29"/>
                <a:gd name="T19" fmla="*/ 23 h 39"/>
                <a:gd name="T20" fmla="*/ 29 w 29"/>
                <a:gd name="T21" fmla="*/ 24 h 39"/>
                <a:gd name="T22" fmla="*/ 29 w 29"/>
                <a:gd name="T23" fmla="*/ 24 h 39"/>
                <a:gd name="T24" fmla="*/ 19 w 29"/>
                <a:gd name="T25" fmla="*/ 21 h 39"/>
                <a:gd name="T26" fmla="*/ 19 w 29"/>
                <a:gd name="T27" fmla="*/ 20 h 39"/>
                <a:gd name="T28" fmla="*/ 6 w 29"/>
                <a:gd name="T29" fmla="*/ 4 h 39"/>
                <a:gd name="T30" fmla="*/ 13 w 29"/>
                <a:gd name="T31" fmla="*/ 22 h 39"/>
                <a:gd name="T32" fmla="*/ 14 w 29"/>
                <a:gd name="T33" fmla="*/ 2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" h="39">
                  <a:moveTo>
                    <a:pt x="15" y="20"/>
                  </a:moveTo>
                  <a:cubicBezTo>
                    <a:pt x="15" y="20"/>
                    <a:pt x="15" y="20"/>
                    <a:pt x="15" y="20"/>
                  </a:cubicBezTo>
                  <a:cubicBezTo>
                    <a:pt x="6" y="16"/>
                    <a:pt x="7" y="9"/>
                    <a:pt x="9" y="8"/>
                  </a:cubicBezTo>
                  <a:cubicBezTo>
                    <a:pt x="11" y="6"/>
                    <a:pt x="15" y="7"/>
                    <a:pt x="15" y="11"/>
                  </a:cubicBezTo>
                  <a:cubicBezTo>
                    <a:pt x="16" y="13"/>
                    <a:pt x="16" y="17"/>
                    <a:pt x="15" y="20"/>
                  </a:cubicBezTo>
                  <a:moveTo>
                    <a:pt x="14" y="22"/>
                  </a:moveTo>
                  <a:cubicBezTo>
                    <a:pt x="12" y="31"/>
                    <a:pt x="6" y="39"/>
                    <a:pt x="6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12" y="34"/>
                    <a:pt x="16" y="27"/>
                    <a:pt x="18" y="23"/>
                  </a:cubicBezTo>
                  <a:cubicBezTo>
                    <a:pt x="24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5" y="23"/>
                    <a:pt x="19" y="21"/>
                  </a:cubicBezTo>
                  <a:cubicBezTo>
                    <a:pt x="19" y="21"/>
                    <a:pt x="19" y="20"/>
                    <a:pt x="19" y="20"/>
                  </a:cubicBezTo>
                  <a:cubicBezTo>
                    <a:pt x="24" y="5"/>
                    <a:pt x="11" y="0"/>
                    <a:pt x="6" y="4"/>
                  </a:cubicBezTo>
                  <a:cubicBezTo>
                    <a:pt x="0" y="10"/>
                    <a:pt x="4" y="19"/>
                    <a:pt x="13" y="22"/>
                  </a:cubicBezTo>
                  <a:cubicBezTo>
                    <a:pt x="14" y="22"/>
                    <a:pt x="14" y="22"/>
                    <a:pt x="14" y="2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0" name="Freeform 10510"/>
            <p:cNvSpPr>
              <a:spLocks/>
            </p:cNvSpPr>
            <p:nvPr/>
          </p:nvSpPr>
          <p:spPr bwMode="auto">
            <a:xfrm>
              <a:off x="8606406" y="6419799"/>
              <a:ext cx="110044" cy="93114"/>
            </a:xfrm>
            <a:custGeom>
              <a:avLst/>
              <a:gdLst>
                <a:gd name="T0" fmla="*/ 9 w 22"/>
                <a:gd name="T1" fmla="*/ 18 h 18"/>
                <a:gd name="T2" fmla="*/ 1 w 22"/>
                <a:gd name="T3" fmla="*/ 12 h 18"/>
                <a:gd name="T4" fmla="*/ 2 w 22"/>
                <a:gd name="T5" fmla="*/ 4 h 18"/>
                <a:gd name="T6" fmla="*/ 8 w 22"/>
                <a:gd name="T7" fmla="*/ 0 h 18"/>
                <a:gd name="T8" fmla="*/ 10 w 22"/>
                <a:gd name="T9" fmla="*/ 0 h 18"/>
                <a:gd name="T10" fmla="*/ 22 w 22"/>
                <a:gd name="T11" fmla="*/ 5 h 18"/>
                <a:gd name="T12" fmla="*/ 22 w 22"/>
                <a:gd name="T13" fmla="*/ 5 h 18"/>
                <a:gd name="T14" fmla="*/ 22 w 22"/>
                <a:gd name="T15" fmla="*/ 5 h 18"/>
                <a:gd name="T16" fmla="*/ 22 w 22"/>
                <a:gd name="T17" fmla="*/ 5 h 18"/>
                <a:gd name="T18" fmla="*/ 13 w 22"/>
                <a:gd name="T19" fmla="*/ 17 h 18"/>
                <a:gd name="T20" fmla="*/ 9 w 22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18">
                  <a:moveTo>
                    <a:pt x="9" y="18"/>
                  </a:moveTo>
                  <a:cubicBezTo>
                    <a:pt x="5" y="18"/>
                    <a:pt x="2" y="15"/>
                    <a:pt x="1" y="12"/>
                  </a:cubicBezTo>
                  <a:cubicBezTo>
                    <a:pt x="0" y="9"/>
                    <a:pt x="0" y="6"/>
                    <a:pt x="2" y="4"/>
                  </a:cubicBezTo>
                  <a:cubicBezTo>
                    <a:pt x="2" y="3"/>
                    <a:pt x="4" y="1"/>
                    <a:pt x="8" y="0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6" y="0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6"/>
                    <a:pt x="20" y="14"/>
                    <a:pt x="13" y="17"/>
                  </a:cubicBezTo>
                  <a:cubicBezTo>
                    <a:pt x="12" y="18"/>
                    <a:pt x="10" y="18"/>
                    <a:pt x="9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1" name="Freeform 10511"/>
            <p:cNvSpPr>
              <a:spLocks/>
            </p:cNvSpPr>
            <p:nvPr/>
          </p:nvSpPr>
          <p:spPr bwMode="auto">
            <a:xfrm>
              <a:off x="8606406" y="6419799"/>
              <a:ext cx="110044" cy="103695"/>
            </a:xfrm>
            <a:custGeom>
              <a:avLst/>
              <a:gdLst>
                <a:gd name="T0" fmla="*/ 1 w 22"/>
                <a:gd name="T1" fmla="*/ 12 h 20"/>
                <a:gd name="T2" fmla="*/ 13 w 22"/>
                <a:gd name="T3" fmla="*/ 17 h 20"/>
                <a:gd name="T4" fmla="*/ 22 w 22"/>
                <a:gd name="T5" fmla="*/ 5 h 20"/>
                <a:gd name="T6" fmla="*/ 22 w 22"/>
                <a:gd name="T7" fmla="*/ 5 h 20"/>
                <a:gd name="T8" fmla="*/ 8 w 22"/>
                <a:gd name="T9" fmla="*/ 1 h 20"/>
                <a:gd name="T10" fmla="*/ 1 w 22"/>
                <a:gd name="T1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0">
                  <a:moveTo>
                    <a:pt x="1" y="12"/>
                  </a:moveTo>
                  <a:cubicBezTo>
                    <a:pt x="2" y="16"/>
                    <a:pt x="7" y="20"/>
                    <a:pt x="13" y="17"/>
                  </a:cubicBezTo>
                  <a:cubicBezTo>
                    <a:pt x="20" y="13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15" y="0"/>
                    <a:pt x="8" y="1"/>
                  </a:cubicBezTo>
                  <a:cubicBezTo>
                    <a:pt x="1" y="2"/>
                    <a:pt x="0" y="7"/>
                    <a:pt x="1" y="12"/>
                  </a:cubicBezTo>
                </a:path>
              </a:pathLst>
            </a:custGeom>
            <a:solidFill>
              <a:srgbClr val="CBDB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2" name="Freeform 10512"/>
            <p:cNvSpPr>
              <a:spLocks/>
            </p:cNvSpPr>
            <p:nvPr/>
          </p:nvSpPr>
          <p:spPr bwMode="auto">
            <a:xfrm>
              <a:off x="8606406" y="6430380"/>
              <a:ext cx="80417" cy="78301"/>
            </a:xfrm>
            <a:custGeom>
              <a:avLst/>
              <a:gdLst>
                <a:gd name="T0" fmla="*/ 9 w 16"/>
                <a:gd name="T1" fmla="*/ 15 h 15"/>
                <a:gd name="T2" fmla="*/ 1 w 16"/>
                <a:gd name="T3" fmla="*/ 10 h 15"/>
                <a:gd name="T4" fmla="*/ 6 w 16"/>
                <a:gd name="T5" fmla="*/ 0 h 15"/>
                <a:gd name="T6" fmla="*/ 9 w 16"/>
                <a:gd name="T7" fmla="*/ 0 h 15"/>
                <a:gd name="T8" fmla="*/ 16 w 16"/>
                <a:gd name="T9" fmla="*/ 5 h 15"/>
                <a:gd name="T10" fmla="*/ 15 w 16"/>
                <a:gd name="T11" fmla="*/ 11 h 15"/>
                <a:gd name="T12" fmla="*/ 11 w 16"/>
                <a:gd name="T13" fmla="*/ 15 h 15"/>
                <a:gd name="T14" fmla="*/ 9 w 16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9" y="15"/>
                  </a:moveTo>
                  <a:cubicBezTo>
                    <a:pt x="5" y="15"/>
                    <a:pt x="2" y="13"/>
                    <a:pt x="1" y="10"/>
                  </a:cubicBezTo>
                  <a:cubicBezTo>
                    <a:pt x="0" y="6"/>
                    <a:pt x="2" y="2"/>
                    <a:pt x="6" y="0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12" y="0"/>
                    <a:pt x="15" y="2"/>
                    <a:pt x="16" y="5"/>
                  </a:cubicBezTo>
                  <a:cubicBezTo>
                    <a:pt x="16" y="7"/>
                    <a:pt x="16" y="9"/>
                    <a:pt x="15" y="11"/>
                  </a:cubicBezTo>
                  <a:cubicBezTo>
                    <a:pt x="14" y="13"/>
                    <a:pt x="13" y="14"/>
                    <a:pt x="11" y="15"/>
                  </a:cubicBezTo>
                  <a:cubicBezTo>
                    <a:pt x="10" y="15"/>
                    <a:pt x="9" y="15"/>
                    <a:pt x="9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3" name="Freeform 10513"/>
            <p:cNvSpPr>
              <a:spLocks/>
            </p:cNvSpPr>
            <p:nvPr/>
          </p:nvSpPr>
          <p:spPr bwMode="auto">
            <a:xfrm>
              <a:off x="8610638" y="6430380"/>
              <a:ext cx="80417" cy="82533"/>
            </a:xfrm>
            <a:custGeom>
              <a:avLst/>
              <a:gdLst>
                <a:gd name="T0" fmla="*/ 10 w 16"/>
                <a:gd name="T1" fmla="*/ 14 h 16"/>
                <a:gd name="T2" fmla="*/ 1 w 16"/>
                <a:gd name="T3" fmla="*/ 10 h 16"/>
                <a:gd name="T4" fmla="*/ 5 w 16"/>
                <a:gd name="T5" fmla="*/ 1 h 16"/>
                <a:gd name="T6" fmla="*/ 14 w 16"/>
                <a:gd name="T7" fmla="*/ 5 h 16"/>
                <a:gd name="T8" fmla="*/ 10 w 16"/>
                <a:gd name="T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0" y="14"/>
                  </a:moveTo>
                  <a:cubicBezTo>
                    <a:pt x="6" y="16"/>
                    <a:pt x="2" y="14"/>
                    <a:pt x="1" y="10"/>
                  </a:cubicBezTo>
                  <a:cubicBezTo>
                    <a:pt x="0" y="6"/>
                    <a:pt x="2" y="2"/>
                    <a:pt x="5" y="1"/>
                  </a:cubicBezTo>
                  <a:cubicBezTo>
                    <a:pt x="9" y="0"/>
                    <a:pt x="13" y="2"/>
                    <a:pt x="14" y="5"/>
                  </a:cubicBezTo>
                  <a:cubicBezTo>
                    <a:pt x="16" y="9"/>
                    <a:pt x="14" y="13"/>
                    <a:pt x="10" y="14"/>
                  </a:cubicBezTo>
                </a:path>
              </a:pathLst>
            </a:custGeom>
            <a:solidFill>
              <a:srgbClr val="58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4" name="Freeform 10514"/>
            <p:cNvSpPr>
              <a:spLocks/>
            </p:cNvSpPr>
            <p:nvPr/>
          </p:nvSpPr>
          <p:spPr bwMode="auto">
            <a:xfrm>
              <a:off x="8616987" y="6445194"/>
              <a:ext cx="50790" cy="52906"/>
            </a:xfrm>
            <a:custGeom>
              <a:avLst/>
              <a:gdLst>
                <a:gd name="T0" fmla="*/ 5 w 10"/>
                <a:gd name="T1" fmla="*/ 10 h 10"/>
                <a:gd name="T2" fmla="*/ 2 w 10"/>
                <a:gd name="T3" fmla="*/ 9 h 10"/>
                <a:gd name="T4" fmla="*/ 2 w 10"/>
                <a:gd name="T5" fmla="*/ 7 h 10"/>
                <a:gd name="T6" fmla="*/ 2 w 10"/>
                <a:gd name="T7" fmla="*/ 6 h 10"/>
                <a:gd name="T8" fmla="*/ 1 w 10"/>
                <a:gd name="T9" fmla="*/ 5 h 10"/>
                <a:gd name="T10" fmla="*/ 0 w 10"/>
                <a:gd name="T11" fmla="*/ 4 h 10"/>
                <a:gd name="T12" fmla="*/ 4 w 10"/>
                <a:gd name="T13" fmla="*/ 0 h 10"/>
                <a:gd name="T14" fmla="*/ 5 w 10"/>
                <a:gd name="T15" fmla="*/ 0 h 10"/>
                <a:gd name="T16" fmla="*/ 10 w 10"/>
                <a:gd name="T17" fmla="*/ 3 h 10"/>
                <a:gd name="T18" fmla="*/ 9 w 10"/>
                <a:gd name="T19" fmla="*/ 7 h 10"/>
                <a:gd name="T20" fmla="*/ 7 w 10"/>
                <a:gd name="T21" fmla="*/ 10 h 10"/>
                <a:gd name="T22" fmla="*/ 5 w 10"/>
                <a:gd name="T2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4" y="10"/>
                    <a:pt x="3" y="9"/>
                    <a:pt x="2" y="9"/>
                  </a:cubicBezTo>
                  <a:cubicBezTo>
                    <a:pt x="2" y="8"/>
                    <a:pt x="2" y="8"/>
                    <a:pt x="2" y="7"/>
                  </a:cubicBezTo>
                  <a:cubicBezTo>
                    <a:pt x="2" y="7"/>
                    <a:pt x="2" y="6"/>
                    <a:pt x="2" y="6"/>
                  </a:cubicBezTo>
                  <a:cubicBezTo>
                    <a:pt x="2" y="6"/>
                    <a:pt x="2" y="5"/>
                    <a:pt x="1" y="5"/>
                  </a:cubicBezTo>
                  <a:cubicBezTo>
                    <a:pt x="1" y="5"/>
                    <a:pt x="0" y="5"/>
                    <a:pt x="0" y="4"/>
                  </a:cubicBezTo>
                  <a:cubicBezTo>
                    <a:pt x="1" y="2"/>
                    <a:pt x="2" y="1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7" y="0"/>
                    <a:pt x="9" y="1"/>
                    <a:pt x="10" y="3"/>
                  </a:cubicBezTo>
                  <a:cubicBezTo>
                    <a:pt x="10" y="5"/>
                    <a:pt x="10" y="6"/>
                    <a:pt x="9" y="7"/>
                  </a:cubicBezTo>
                  <a:cubicBezTo>
                    <a:pt x="9" y="8"/>
                    <a:pt x="8" y="9"/>
                    <a:pt x="7" y="10"/>
                  </a:cubicBezTo>
                  <a:cubicBezTo>
                    <a:pt x="6" y="10"/>
                    <a:pt x="6" y="10"/>
                    <a:pt x="5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5" name="Freeform 10515"/>
            <p:cNvSpPr>
              <a:spLocks/>
            </p:cNvSpPr>
            <p:nvPr/>
          </p:nvSpPr>
          <p:spPr bwMode="auto">
            <a:xfrm>
              <a:off x="8621219" y="6445194"/>
              <a:ext cx="46557" cy="52906"/>
            </a:xfrm>
            <a:custGeom>
              <a:avLst/>
              <a:gdLst>
                <a:gd name="T0" fmla="*/ 5 w 9"/>
                <a:gd name="T1" fmla="*/ 9 h 10"/>
                <a:gd name="T2" fmla="*/ 1 w 9"/>
                <a:gd name="T3" fmla="*/ 8 h 10"/>
                <a:gd name="T4" fmla="*/ 2 w 9"/>
                <a:gd name="T5" fmla="*/ 6 h 10"/>
                <a:gd name="T6" fmla="*/ 0 w 9"/>
                <a:gd name="T7" fmla="*/ 4 h 10"/>
                <a:gd name="T8" fmla="*/ 3 w 9"/>
                <a:gd name="T9" fmla="*/ 1 h 10"/>
                <a:gd name="T10" fmla="*/ 8 w 9"/>
                <a:gd name="T11" fmla="*/ 4 h 10"/>
                <a:gd name="T12" fmla="*/ 5 w 9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5" y="9"/>
                  </a:moveTo>
                  <a:cubicBezTo>
                    <a:pt x="4" y="10"/>
                    <a:pt x="2" y="9"/>
                    <a:pt x="1" y="8"/>
                  </a:cubicBezTo>
                  <a:cubicBezTo>
                    <a:pt x="1" y="8"/>
                    <a:pt x="2" y="7"/>
                    <a:pt x="2" y="6"/>
                  </a:cubicBezTo>
                  <a:cubicBezTo>
                    <a:pt x="1" y="5"/>
                    <a:pt x="0" y="5"/>
                    <a:pt x="0" y="4"/>
                  </a:cubicBezTo>
                  <a:cubicBezTo>
                    <a:pt x="0" y="2"/>
                    <a:pt x="1" y="1"/>
                    <a:pt x="3" y="1"/>
                  </a:cubicBezTo>
                  <a:cubicBezTo>
                    <a:pt x="5" y="0"/>
                    <a:pt x="8" y="1"/>
                    <a:pt x="8" y="4"/>
                  </a:cubicBezTo>
                  <a:cubicBezTo>
                    <a:pt x="9" y="6"/>
                    <a:pt x="8" y="8"/>
                    <a:pt x="5" y="9"/>
                  </a:cubicBezTo>
                </a:path>
              </a:pathLst>
            </a:custGeom>
            <a:solidFill>
              <a:srgbClr val="3927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6" name="Freeform 10516"/>
            <p:cNvSpPr>
              <a:spLocks/>
            </p:cNvSpPr>
            <p:nvPr/>
          </p:nvSpPr>
          <p:spPr bwMode="auto">
            <a:xfrm>
              <a:off x="8500594" y="6419799"/>
              <a:ext cx="110044" cy="93114"/>
            </a:xfrm>
            <a:custGeom>
              <a:avLst/>
              <a:gdLst>
                <a:gd name="T0" fmla="*/ 13 w 22"/>
                <a:gd name="T1" fmla="*/ 18 h 18"/>
                <a:gd name="T2" fmla="*/ 9 w 22"/>
                <a:gd name="T3" fmla="*/ 17 h 18"/>
                <a:gd name="T4" fmla="*/ 0 w 22"/>
                <a:gd name="T5" fmla="*/ 5 h 18"/>
                <a:gd name="T6" fmla="*/ 0 w 22"/>
                <a:gd name="T7" fmla="*/ 5 h 18"/>
                <a:gd name="T8" fmla="*/ 0 w 22"/>
                <a:gd name="T9" fmla="*/ 5 h 18"/>
                <a:gd name="T10" fmla="*/ 0 w 22"/>
                <a:gd name="T11" fmla="*/ 5 h 18"/>
                <a:gd name="T12" fmla="*/ 12 w 22"/>
                <a:gd name="T13" fmla="*/ 0 h 18"/>
                <a:gd name="T14" fmla="*/ 14 w 22"/>
                <a:gd name="T15" fmla="*/ 0 h 18"/>
                <a:gd name="T16" fmla="*/ 21 w 22"/>
                <a:gd name="T17" fmla="*/ 4 h 18"/>
                <a:gd name="T18" fmla="*/ 22 w 22"/>
                <a:gd name="T19" fmla="*/ 12 h 18"/>
                <a:gd name="T20" fmla="*/ 13 w 22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18">
                  <a:moveTo>
                    <a:pt x="13" y="18"/>
                  </a:moveTo>
                  <a:cubicBezTo>
                    <a:pt x="12" y="18"/>
                    <a:pt x="10" y="18"/>
                    <a:pt x="9" y="17"/>
                  </a:cubicBezTo>
                  <a:cubicBezTo>
                    <a:pt x="2" y="14"/>
                    <a:pt x="0" y="6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6" y="0"/>
                    <a:pt x="12" y="0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8" y="1"/>
                    <a:pt x="20" y="3"/>
                    <a:pt x="21" y="4"/>
                  </a:cubicBezTo>
                  <a:cubicBezTo>
                    <a:pt x="22" y="6"/>
                    <a:pt x="22" y="9"/>
                    <a:pt x="22" y="12"/>
                  </a:cubicBezTo>
                  <a:cubicBezTo>
                    <a:pt x="21" y="15"/>
                    <a:pt x="18" y="18"/>
                    <a:pt x="13" y="1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7" name="Freeform 10517"/>
            <p:cNvSpPr>
              <a:spLocks/>
            </p:cNvSpPr>
            <p:nvPr/>
          </p:nvSpPr>
          <p:spPr bwMode="auto">
            <a:xfrm>
              <a:off x="8506943" y="6419799"/>
              <a:ext cx="110044" cy="103695"/>
            </a:xfrm>
            <a:custGeom>
              <a:avLst/>
              <a:gdLst>
                <a:gd name="T0" fmla="*/ 20 w 22"/>
                <a:gd name="T1" fmla="*/ 12 h 20"/>
                <a:gd name="T2" fmla="*/ 8 w 22"/>
                <a:gd name="T3" fmla="*/ 17 h 20"/>
                <a:gd name="T4" fmla="*/ 0 w 22"/>
                <a:gd name="T5" fmla="*/ 5 h 20"/>
                <a:gd name="T6" fmla="*/ 0 w 22"/>
                <a:gd name="T7" fmla="*/ 5 h 20"/>
                <a:gd name="T8" fmla="*/ 13 w 22"/>
                <a:gd name="T9" fmla="*/ 1 h 20"/>
                <a:gd name="T10" fmla="*/ 20 w 22"/>
                <a:gd name="T11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0">
                  <a:moveTo>
                    <a:pt x="20" y="12"/>
                  </a:moveTo>
                  <a:cubicBezTo>
                    <a:pt x="19" y="16"/>
                    <a:pt x="14" y="20"/>
                    <a:pt x="8" y="17"/>
                  </a:cubicBezTo>
                  <a:cubicBezTo>
                    <a:pt x="2" y="13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6" y="0"/>
                    <a:pt x="13" y="1"/>
                  </a:cubicBezTo>
                  <a:cubicBezTo>
                    <a:pt x="20" y="2"/>
                    <a:pt x="22" y="7"/>
                    <a:pt x="20" y="12"/>
                  </a:cubicBezTo>
                </a:path>
              </a:pathLst>
            </a:custGeom>
            <a:solidFill>
              <a:srgbClr val="CBDB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8" name="Freeform 10518"/>
            <p:cNvSpPr>
              <a:spLocks/>
            </p:cNvSpPr>
            <p:nvPr/>
          </p:nvSpPr>
          <p:spPr bwMode="auto">
            <a:xfrm>
              <a:off x="8532338" y="6430380"/>
              <a:ext cx="78301" cy="78301"/>
            </a:xfrm>
            <a:custGeom>
              <a:avLst/>
              <a:gdLst>
                <a:gd name="T0" fmla="*/ 8 w 16"/>
                <a:gd name="T1" fmla="*/ 15 h 15"/>
                <a:gd name="T2" fmla="*/ 5 w 16"/>
                <a:gd name="T3" fmla="*/ 15 h 15"/>
                <a:gd name="T4" fmla="*/ 1 w 16"/>
                <a:gd name="T5" fmla="*/ 11 h 15"/>
                <a:gd name="T6" fmla="*/ 1 w 16"/>
                <a:gd name="T7" fmla="*/ 5 h 15"/>
                <a:gd name="T8" fmla="*/ 8 w 16"/>
                <a:gd name="T9" fmla="*/ 0 h 15"/>
                <a:gd name="T10" fmla="*/ 10 w 16"/>
                <a:gd name="T11" fmla="*/ 0 h 15"/>
                <a:gd name="T12" fmla="*/ 15 w 16"/>
                <a:gd name="T13" fmla="*/ 10 h 15"/>
                <a:gd name="T14" fmla="*/ 8 w 16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8" y="15"/>
                  </a:moveTo>
                  <a:cubicBezTo>
                    <a:pt x="7" y="15"/>
                    <a:pt x="6" y="15"/>
                    <a:pt x="5" y="15"/>
                  </a:cubicBezTo>
                  <a:cubicBezTo>
                    <a:pt x="3" y="14"/>
                    <a:pt x="2" y="13"/>
                    <a:pt x="1" y="11"/>
                  </a:cubicBezTo>
                  <a:cubicBezTo>
                    <a:pt x="0" y="9"/>
                    <a:pt x="0" y="7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9" y="0"/>
                    <a:pt x="9" y="0"/>
                    <a:pt x="10" y="0"/>
                  </a:cubicBezTo>
                  <a:cubicBezTo>
                    <a:pt x="14" y="2"/>
                    <a:pt x="16" y="6"/>
                    <a:pt x="15" y="10"/>
                  </a:cubicBezTo>
                  <a:cubicBezTo>
                    <a:pt x="14" y="13"/>
                    <a:pt x="11" y="15"/>
                    <a:pt x="8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39" name="Freeform 10519"/>
            <p:cNvSpPr>
              <a:spLocks/>
            </p:cNvSpPr>
            <p:nvPr/>
          </p:nvSpPr>
          <p:spPr bwMode="auto">
            <a:xfrm>
              <a:off x="8532338" y="6430380"/>
              <a:ext cx="78301" cy="82533"/>
            </a:xfrm>
            <a:custGeom>
              <a:avLst/>
              <a:gdLst>
                <a:gd name="T0" fmla="*/ 6 w 16"/>
                <a:gd name="T1" fmla="*/ 14 h 16"/>
                <a:gd name="T2" fmla="*/ 15 w 16"/>
                <a:gd name="T3" fmla="*/ 10 h 16"/>
                <a:gd name="T4" fmla="*/ 10 w 16"/>
                <a:gd name="T5" fmla="*/ 1 h 16"/>
                <a:gd name="T6" fmla="*/ 1 w 16"/>
                <a:gd name="T7" fmla="*/ 5 h 16"/>
                <a:gd name="T8" fmla="*/ 6 w 16"/>
                <a:gd name="T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6" y="14"/>
                  </a:moveTo>
                  <a:cubicBezTo>
                    <a:pt x="9" y="16"/>
                    <a:pt x="13" y="14"/>
                    <a:pt x="15" y="10"/>
                  </a:cubicBezTo>
                  <a:cubicBezTo>
                    <a:pt x="16" y="6"/>
                    <a:pt x="14" y="2"/>
                    <a:pt x="10" y="1"/>
                  </a:cubicBezTo>
                  <a:cubicBezTo>
                    <a:pt x="6" y="0"/>
                    <a:pt x="2" y="2"/>
                    <a:pt x="1" y="5"/>
                  </a:cubicBezTo>
                  <a:cubicBezTo>
                    <a:pt x="0" y="9"/>
                    <a:pt x="2" y="13"/>
                    <a:pt x="6" y="14"/>
                  </a:cubicBezTo>
                </a:path>
              </a:pathLst>
            </a:custGeom>
            <a:solidFill>
              <a:srgbClr val="58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0" name="Freeform 10520"/>
            <p:cNvSpPr>
              <a:spLocks/>
            </p:cNvSpPr>
            <p:nvPr/>
          </p:nvSpPr>
          <p:spPr bwMode="auto">
            <a:xfrm>
              <a:off x="8551384" y="6445194"/>
              <a:ext cx="50790" cy="52906"/>
            </a:xfrm>
            <a:custGeom>
              <a:avLst/>
              <a:gdLst>
                <a:gd name="T0" fmla="*/ 5 w 10"/>
                <a:gd name="T1" fmla="*/ 10 h 10"/>
                <a:gd name="T2" fmla="*/ 4 w 10"/>
                <a:gd name="T3" fmla="*/ 10 h 10"/>
                <a:gd name="T4" fmla="*/ 1 w 10"/>
                <a:gd name="T5" fmla="*/ 7 h 10"/>
                <a:gd name="T6" fmla="*/ 1 w 10"/>
                <a:gd name="T7" fmla="*/ 3 h 10"/>
                <a:gd name="T8" fmla="*/ 5 w 10"/>
                <a:gd name="T9" fmla="*/ 0 h 10"/>
                <a:gd name="T10" fmla="*/ 7 w 10"/>
                <a:gd name="T11" fmla="*/ 0 h 10"/>
                <a:gd name="T12" fmla="*/ 10 w 10"/>
                <a:gd name="T13" fmla="*/ 4 h 10"/>
                <a:gd name="T14" fmla="*/ 9 w 10"/>
                <a:gd name="T15" fmla="*/ 5 h 10"/>
                <a:gd name="T16" fmla="*/ 8 w 10"/>
                <a:gd name="T17" fmla="*/ 6 h 10"/>
                <a:gd name="T18" fmla="*/ 8 w 10"/>
                <a:gd name="T19" fmla="*/ 7 h 10"/>
                <a:gd name="T20" fmla="*/ 8 w 10"/>
                <a:gd name="T21" fmla="*/ 9 h 10"/>
                <a:gd name="T22" fmla="*/ 5 w 10"/>
                <a:gd name="T2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5" y="10"/>
                    <a:pt x="4" y="10"/>
                    <a:pt x="4" y="10"/>
                  </a:cubicBezTo>
                  <a:cubicBezTo>
                    <a:pt x="2" y="9"/>
                    <a:pt x="1" y="8"/>
                    <a:pt x="1" y="7"/>
                  </a:cubicBezTo>
                  <a:cubicBezTo>
                    <a:pt x="0" y="6"/>
                    <a:pt x="0" y="5"/>
                    <a:pt x="1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8" y="1"/>
                    <a:pt x="10" y="2"/>
                    <a:pt x="10" y="4"/>
                  </a:cubicBezTo>
                  <a:cubicBezTo>
                    <a:pt x="10" y="5"/>
                    <a:pt x="9" y="5"/>
                    <a:pt x="9" y="5"/>
                  </a:cubicBezTo>
                  <a:cubicBezTo>
                    <a:pt x="9" y="5"/>
                    <a:pt x="8" y="6"/>
                    <a:pt x="8" y="6"/>
                  </a:cubicBezTo>
                  <a:cubicBezTo>
                    <a:pt x="8" y="6"/>
                    <a:pt x="8" y="7"/>
                    <a:pt x="8" y="7"/>
                  </a:cubicBezTo>
                  <a:cubicBezTo>
                    <a:pt x="9" y="8"/>
                    <a:pt x="9" y="8"/>
                    <a:pt x="8" y="9"/>
                  </a:cubicBezTo>
                  <a:cubicBezTo>
                    <a:pt x="7" y="9"/>
                    <a:pt x="6" y="10"/>
                    <a:pt x="5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1" name="Freeform 10521"/>
            <p:cNvSpPr>
              <a:spLocks/>
            </p:cNvSpPr>
            <p:nvPr/>
          </p:nvSpPr>
          <p:spPr bwMode="auto">
            <a:xfrm>
              <a:off x="8551384" y="6445194"/>
              <a:ext cx="50790" cy="52906"/>
            </a:xfrm>
            <a:custGeom>
              <a:avLst/>
              <a:gdLst>
                <a:gd name="T0" fmla="*/ 4 w 10"/>
                <a:gd name="T1" fmla="*/ 9 h 10"/>
                <a:gd name="T2" fmla="*/ 8 w 10"/>
                <a:gd name="T3" fmla="*/ 8 h 10"/>
                <a:gd name="T4" fmla="*/ 8 w 10"/>
                <a:gd name="T5" fmla="*/ 6 h 10"/>
                <a:gd name="T6" fmla="*/ 10 w 10"/>
                <a:gd name="T7" fmla="*/ 4 h 10"/>
                <a:gd name="T8" fmla="*/ 7 w 10"/>
                <a:gd name="T9" fmla="*/ 1 h 10"/>
                <a:gd name="T10" fmla="*/ 1 w 10"/>
                <a:gd name="T11" fmla="*/ 4 h 10"/>
                <a:gd name="T12" fmla="*/ 4 w 10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4" y="9"/>
                  </a:moveTo>
                  <a:cubicBezTo>
                    <a:pt x="5" y="10"/>
                    <a:pt x="7" y="9"/>
                    <a:pt x="8" y="8"/>
                  </a:cubicBezTo>
                  <a:cubicBezTo>
                    <a:pt x="9" y="8"/>
                    <a:pt x="7" y="7"/>
                    <a:pt x="8" y="6"/>
                  </a:cubicBezTo>
                  <a:cubicBezTo>
                    <a:pt x="8" y="5"/>
                    <a:pt x="10" y="5"/>
                    <a:pt x="10" y="4"/>
                  </a:cubicBezTo>
                  <a:cubicBezTo>
                    <a:pt x="9" y="2"/>
                    <a:pt x="8" y="1"/>
                    <a:pt x="7" y="1"/>
                  </a:cubicBezTo>
                  <a:cubicBezTo>
                    <a:pt x="4" y="0"/>
                    <a:pt x="2" y="1"/>
                    <a:pt x="1" y="4"/>
                  </a:cubicBezTo>
                  <a:cubicBezTo>
                    <a:pt x="0" y="6"/>
                    <a:pt x="1" y="8"/>
                    <a:pt x="4" y="9"/>
                  </a:cubicBezTo>
                </a:path>
              </a:pathLst>
            </a:custGeom>
            <a:solidFill>
              <a:srgbClr val="3927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2" name="Freeform 10522"/>
            <p:cNvSpPr>
              <a:spLocks/>
            </p:cNvSpPr>
            <p:nvPr/>
          </p:nvSpPr>
          <p:spPr bwMode="auto">
            <a:xfrm>
              <a:off x="8561965" y="6369010"/>
              <a:ext cx="95230" cy="114277"/>
            </a:xfrm>
            <a:custGeom>
              <a:avLst/>
              <a:gdLst>
                <a:gd name="T0" fmla="*/ 10 w 19"/>
                <a:gd name="T1" fmla="*/ 22 h 22"/>
                <a:gd name="T2" fmla="*/ 3 w 19"/>
                <a:gd name="T3" fmla="*/ 19 h 22"/>
                <a:gd name="T4" fmla="*/ 1 w 19"/>
                <a:gd name="T5" fmla="*/ 12 h 22"/>
                <a:gd name="T6" fmla="*/ 9 w 19"/>
                <a:gd name="T7" fmla="*/ 0 h 22"/>
                <a:gd name="T8" fmla="*/ 10 w 19"/>
                <a:gd name="T9" fmla="*/ 0 h 22"/>
                <a:gd name="T10" fmla="*/ 10 w 19"/>
                <a:gd name="T11" fmla="*/ 0 h 22"/>
                <a:gd name="T12" fmla="*/ 10 w 19"/>
                <a:gd name="T13" fmla="*/ 0 h 22"/>
                <a:gd name="T14" fmla="*/ 18 w 19"/>
                <a:gd name="T15" fmla="*/ 12 h 22"/>
                <a:gd name="T16" fmla="*/ 17 w 19"/>
                <a:gd name="T17" fmla="*/ 19 h 22"/>
                <a:gd name="T18" fmla="*/ 10 w 19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2">
                  <a:moveTo>
                    <a:pt x="10" y="22"/>
                  </a:moveTo>
                  <a:cubicBezTo>
                    <a:pt x="7" y="22"/>
                    <a:pt x="4" y="21"/>
                    <a:pt x="3" y="19"/>
                  </a:cubicBezTo>
                  <a:cubicBezTo>
                    <a:pt x="1" y="17"/>
                    <a:pt x="0" y="15"/>
                    <a:pt x="1" y="12"/>
                  </a:cubicBezTo>
                  <a:cubicBezTo>
                    <a:pt x="2" y="5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7" y="5"/>
                    <a:pt x="18" y="12"/>
                  </a:cubicBezTo>
                  <a:cubicBezTo>
                    <a:pt x="19" y="15"/>
                    <a:pt x="18" y="17"/>
                    <a:pt x="17" y="19"/>
                  </a:cubicBezTo>
                  <a:cubicBezTo>
                    <a:pt x="15" y="21"/>
                    <a:pt x="12" y="2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3" name="Freeform 10523"/>
            <p:cNvSpPr>
              <a:spLocks/>
            </p:cNvSpPr>
            <p:nvPr/>
          </p:nvSpPr>
          <p:spPr bwMode="auto">
            <a:xfrm>
              <a:off x="8561965" y="6369010"/>
              <a:ext cx="95230" cy="114277"/>
            </a:xfrm>
            <a:custGeom>
              <a:avLst/>
              <a:gdLst>
                <a:gd name="T0" fmla="*/ 10 w 19"/>
                <a:gd name="T1" fmla="*/ 22 h 22"/>
                <a:gd name="T2" fmla="*/ 18 w 19"/>
                <a:gd name="T3" fmla="*/ 12 h 22"/>
                <a:gd name="T4" fmla="*/ 10 w 19"/>
                <a:gd name="T5" fmla="*/ 0 h 22"/>
                <a:gd name="T6" fmla="*/ 10 w 19"/>
                <a:gd name="T7" fmla="*/ 0 h 22"/>
                <a:gd name="T8" fmla="*/ 1 w 19"/>
                <a:gd name="T9" fmla="*/ 12 h 22"/>
                <a:gd name="T10" fmla="*/ 10 w 19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2">
                  <a:moveTo>
                    <a:pt x="10" y="22"/>
                  </a:moveTo>
                  <a:cubicBezTo>
                    <a:pt x="14" y="22"/>
                    <a:pt x="19" y="18"/>
                    <a:pt x="18" y="12"/>
                  </a:cubicBezTo>
                  <a:cubicBezTo>
                    <a:pt x="17" y="5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2" y="5"/>
                    <a:pt x="1" y="12"/>
                  </a:cubicBezTo>
                  <a:cubicBezTo>
                    <a:pt x="0" y="18"/>
                    <a:pt x="5" y="22"/>
                    <a:pt x="10" y="22"/>
                  </a:cubicBezTo>
                </a:path>
              </a:pathLst>
            </a:custGeom>
            <a:solidFill>
              <a:srgbClr val="CBDB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4" name="Oval 10524"/>
            <p:cNvSpPr>
              <a:spLocks noChangeArrowheads="1"/>
            </p:cNvSpPr>
            <p:nvPr/>
          </p:nvSpPr>
          <p:spPr bwMode="auto">
            <a:xfrm>
              <a:off x="8572546" y="6404985"/>
              <a:ext cx="74068" cy="7830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5" name="Oval 10525"/>
            <p:cNvSpPr>
              <a:spLocks noChangeArrowheads="1"/>
            </p:cNvSpPr>
            <p:nvPr/>
          </p:nvSpPr>
          <p:spPr bwMode="auto">
            <a:xfrm>
              <a:off x="8576779" y="6404986"/>
              <a:ext cx="69836" cy="71952"/>
            </a:xfrm>
            <a:prstGeom prst="ellipse">
              <a:avLst/>
            </a:prstGeom>
            <a:solidFill>
              <a:srgbClr val="58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6" name="Freeform 10526"/>
            <p:cNvSpPr>
              <a:spLocks/>
            </p:cNvSpPr>
            <p:nvPr/>
          </p:nvSpPr>
          <p:spPr bwMode="auto">
            <a:xfrm>
              <a:off x="8587360" y="6426148"/>
              <a:ext cx="48673" cy="46557"/>
            </a:xfrm>
            <a:custGeom>
              <a:avLst/>
              <a:gdLst>
                <a:gd name="T0" fmla="*/ 3 w 10"/>
                <a:gd name="T1" fmla="*/ 9 h 9"/>
                <a:gd name="T2" fmla="*/ 2 w 10"/>
                <a:gd name="T3" fmla="*/ 9 h 9"/>
                <a:gd name="T4" fmla="*/ 0 w 10"/>
                <a:gd name="T5" fmla="*/ 5 h 9"/>
                <a:gd name="T6" fmla="*/ 5 w 10"/>
                <a:gd name="T7" fmla="*/ 0 h 9"/>
                <a:gd name="T8" fmla="*/ 10 w 10"/>
                <a:gd name="T9" fmla="*/ 5 h 9"/>
                <a:gd name="T10" fmla="*/ 7 w 10"/>
                <a:gd name="T11" fmla="*/ 9 h 9"/>
                <a:gd name="T12" fmla="*/ 7 w 10"/>
                <a:gd name="T13" fmla="*/ 9 h 9"/>
                <a:gd name="T14" fmla="*/ 6 w 10"/>
                <a:gd name="T15" fmla="*/ 8 h 9"/>
                <a:gd name="T16" fmla="*/ 5 w 10"/>
                <a:gd name="T17" fmla="*/ 8 h 9"/>
                <a:gd name="T18" fmla="*/ 4 w 10"/>
                <a:gd name="T19" fmla="*/ 8 h 9"/>
                <a:gd name="T20" fmla="*/ 3 w 10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9">
                  <a:moveTo>
                    <a:pt x="3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0" y="6"/>
                    <a:pt x="9" y="8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9"/>
                    <a:pt x="3" y="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7" name="Freeform 10527"/>
            <p:cNvSpPr>
              <a:spLocks/>
            </p:cNvSpPr>
            <p:nvPr/>
          </p:nvSpPr>
          <p:spPr bwMode="auto">
            <a:xfrm>
              <a:off x="8587360" y="6426148"/>
              <a:ext cx="44441" cy="46557"/>
            </a:xfrm>
            <a:custGeom>
              <a:avLst/>
              <a:gdLst>
                <a:gd name="T0" fmla="*/ 9 w 9"/>
                <a:gd name="T1" fmla="*/ 5 h 9"/>
                <a:gd name="T2" fmla="*/ 7 w 9"/>
                <a:gd name="T3" fmla="*/ 8 h 9"/>
                <a:gd name="T4" fmla="*/ 5 w 9"/>
                <a:gd name="T5" fmla="*/ 7 h 9"/>
                <a:gd name="T6" fmla="*/ 2 w 9"/>
                <a:gd name="T7" fmla="*/ 8 h 9"/>
                <a:gd name="T8" fmla="*/ 0 w 9"/>
                <a:gd name="T9" fmla="*/ 5 h 9"/>
                <a:gd name="T10" fmla="*/ 5 w 9"/>
                <a:gd name="T11" fmla="*/ 0 h 9"/>
                <a:gd name="T12" fmla="*/ 9 w 9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9">
                  <a:moveTo>
                    <a:pt x="9" y="5"/>
                  </a:moveTo>
                  <a:cubicBezTo>
                    <a:pt x="9" y="6"/>
                    <a:pt x="8" y="7"/>
                    <a:pt x="7" y="8"/>
                  </a:cubicBezTo>
                  <a:cubicBezTo>
                    <a:pt x="6" y="9"/>
                    <a:pt x="6" y="7"/>
                    <a:pt x="5" y="7"/>
                  </a:cubicBezTo>
                  <a:cubicBezTo>
                    <a:pt x="4" y="7"/>
                    <a:pt x="3" y="9"/>
                    <a:pt x="2" y="8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5"/>
                  </a:cubicBezTo>
                </a:path>
              </a:pathLst>
            </a:custGeom>
            <a:solidFill>
              <a:srgbClr val="3927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8" name="Oval 10528"/>
            <p:cNvSpPr>
              <a:spLocks noChangeArrowheads="1"/>
            </p:cNvSpPr>
            <p:nvPr/>
          </p:nvSpPr>
          <p:spPr bwMode="auto">
            <a:xfrm>
              <a:off x="8591592" y="6476937"/>
              <a:ext cx="35976" cy="3597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49" name="Oval 10529"/>
            <p:cNvSpPr>
              <a:spLocks noChangeArrowheads="1"/>
            </p:cNvSpPr>
            <p:nvPr/>
          </p:nvSpPr>
          <p:spPr bwMode="auto">
            <a:xfrm>
              <a:off x="8595825" y="6483286"/>
              <a:ext cx="31743" cy="29627"/>
            </a:xfrm>
            <a:prstGeom prst="ellipse">
              <a:avLst/>
            </a:prstGeom>
            <a:solidFill>
              <a:srgbClr val="ED1C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4164" name="Group 34163"/>
          <p:cNvGrpSpPr/>
          <p:nvPr/>
        </p:nvGrpSpPr>
        <p:grpSpPr>
          <a:xfrm>
            <a:off x="10619114" y="1901536"/>
            <a:ext cx="1096208" cy="359759"/>
            <a:chOff x="602817" y="6172200"/>
            <a:chExt cx="1096208" cy="359759"/>
          </a:xfrm>
        </p:grpSpPr>
        <p:sp>
          <p:nvSpPr>
            <p:cNvPr id="34050" name="Freeform 10530"/>
            <p:cNvSpPr>
              <a:spLocks noEditPoints="1"/>
            </p:cNvSpPr>
            <p:nvPr/>
          </p:nvSpPr>
          <p:spPr bwMode="auto">
            <a:xfrm>
              <a:off x="607049" y="6176432"/>
              <a:ext cx="131206" cy="146020"/>
            </a:xfrm>
            <a:custGeom>
              <a:avLst/>
              <a:gdLst>
                <a:gd name="T0" fmla="*/ 0 w 26"/>
                <a:gd name="T1" fmla="*/ 0 h 28"/>
                <a:gd name="T2" fmla="*/ 11 w 26"/>
                <a:gd name="T3" fmla="*/ 0 h 28"/>
                <a:gd name="T4" fmla="*/ 26 w 26"/>
                <a:gd name="T5" fmla="*/ 14 h 28"/>
                <a:gd name="T6" fmla="*/ 26 w 26"/>
                <a:gd name="T7" fmla="*/ 14 h 28"/>
                <a:gd name="T8" fmla="*/ 11 w 26"/>
                <a:gd name="T9" fmla="*/ 28 h 28"/>
                <a:gd name="T10" fmla="*/ 0 w 26"/>
                <a:gd name="T11" fmla="*/ 28 h 28"/>
                <a:gd name="T12" fmla="*/ 0 w 26"/>
                <a:gd name="T13" fmla="*/ 0 h 28"/>
                <a:gd name="T14" fmla="*/ 11 w 26"/>
                <a:gd name="T15" fmla="*/ 22 h 28"/>
                <a:gd name="T16" fmla="*/ 19 w 26"/>
                <a:gd name="T17" fmla="*/ 14 h 28"/>
                <a:gd name="T18" fmla="*/ 19 w 26"/>
                <a:gd name="T19" fmla="*/ 14 h 28"/>
                <a:gd name="T20" fmla="*/ 11 w 26"/>
                <a:gd name="T21" fmla="*/ 5 h 28"/>
                <a:gd name="T22" fmla="*/ 6 w 26"/>
                <a:gd name="T23" fmla="*/ 5 h 28"/>
                <a:gd name="T24" fmla="*/ 6 w 26"/>
                <a:gd name="T25" fmla="*/ 22 h 28"/>
                <a:gd name="T26" fmla="*/ 11 w 26"/>
                <a:gd name="T27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28">
                  <a:moveTo>
                    <a:pt x="0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20" y="0"/>
                    <a:pt x="26" y="6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22"/>
                    <a:pt x="20" y="28"/>
                    <a:pt x="11" y="28"/>
                  </a:cubicBezTo>
                  <a:cubicBezTo>
                    <a:pt x="0" y="28"/>
                    <a:pt x="0" y="28"/>
                    <a:pt x="0" y="28"/>
                  </a:cubicBezTo>
                  <a:lnTo>
                    <a:pt x="0" y="0"/>
                  </a:lnTo>
                  <a:close/>
                  <a:moveTo>
                    <a:pt x="11" y="22"/>
                  </a:moveTo>
                  <a:cubicBezTo>
                    <a:pt x="16" y="22"/>
                    <a:pt x="19" y="19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9"/>
                    <a:pt x="16" y="5"/>
                    <a:pt x="11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22"/>
                    <a:pt x="6" y="22"/>
                    <a:pt x="6" y="22"/>
                  </a:cubicBezTo>
                  <a:lnTo>
                    <a:pt x="11" y="2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1" name="Freeform 10531"/>
            <p:cNvSpPr>
              <a:spLocks noEditPoints="1"/>
            </p:cNvSpPr>
            <p:nvPr/>
          </p:nvSpPr>
          <p:spPr bwMode="auto">
            <a:xfrm>
              <a:off x="742488" y="6172200"/>
              <a:ext cx="150252" cy="150252"/>
            </a:xfrm>
            <a:custGeom>
              <a:avLst/>
              <a:gdLst>
                <a:gd name="T0" fmla="*/ 29 w 71"/>
                <a:gd name="T1" fmla="*/ 0 h 71"/>
                <a:gd name="T2" fmla="*/ 43 w 71"/>
                <a:gd name="T3" fmla="*/ 0 h 71"/>
                <a:gd name="T4" fmla="*/ 71 w 71"/>
                <a:gd name="T5" fmla="*/ 71 h 71"/>
                <a:gd name="T6" fmla="*/ 57 w 71"/>
                <a:gd name="T7" fmla="*/ 71 h 71"/>
                <a:gd name="T8" fmla="*/ 50 w 71"/>
                <a:gd name="T9" fmla="*/ 56 h 71"/>
                <a:gd name="T10" fmla="*/ 22 w 71"/>
                <a:gd name="T11" fmla="*/ 56 h 71"/>
                <a:gd name="T12" fmla="*/ 14 w 71"/>
                <a:gd name="T13" fmla="*/ 71 h 71"/>
                <a:gd name="T14" fmla="*/ 0 w 71"/>
                <a:gd name="T15" fmla="*/ 71 h 71"/>
                <a:gd name="T16" fmla="*/ 29 w 71"/>
                <a:gd name="T17" fmla="*/ 0 h 71"/>
                <a:gd name="T18" fmla="*/ 45 w 71"/>
                <a:gd name="T19" fmla="*/ 42 h 71"/>
                <a:gd name="T20" fmla="*/ 36 w 71"/>
                <a:gd name="T21" fmla="*/ 20 h 71"/>
                <a:gd name="T22" fmla="*/ 26 w 71"/>
                <a:gd name="T23" fmla="*/ 42 h 71"/>
                <a:gd name="T24" fmla="*/ 45 w 71"/>
                <a:gd name="T25" fmla="*/ 4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71">
                  <a:moveTo>
                    <a:pt x="29" y="0"/>
                  </a:moveTo>
                  <a:lnTo>
                    <a:pt x="43" y="0"/>
                  </a:lnTo>
                  <a:lnTo>
                    <a:pt x="71" y="71"/>
                  </a:lnTo>
                  <a:lnTo>
                    <a:pt x="57" y="71"/>
                  </a:lnTo>
                  <a:lnTo>
                    <a:pt x="50" y="56"/>
                  </a:lnTo>
                  <a:lnTo>
                    <a:pt x="22" y="56"/>
                  </a:lnTo>
                  <a:lnTo>
                    <a:pt x="14" y="71"/>
                  </a:lnTo>
                  <a:lnTo>
                    <a:pt x="0" y="71"/>
                  </a:lnTo>
                  <a:lnTo>
                    <a:pt x="29" y="0"/>
                  </a:lnTo>
                  <a:close/>
                  <a:moveTo>
                    <a:pt x="45" y="42"/>
                  </a:moveTo>
                  <a:lnTo>
                    <a:pt x="36" y="20"/>
                  </a:lnTo>
                  <a:lnTo>
                    <a:pt x="26" y="42"/>
                  </a:lnTo>
                  <a:lnTo>
                    <a:pt x="45" y="4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2" name="Freeform 10532"/>
            <p:cNvSpPr>
              <a:spLocks/>
            </p:cNvSpPr>
            <p:nvPr/>
          </p:nvSpPr>
          <p:spPr bwMode="auto">
            <a:xfrm>
              <a:off x="877927" y="6176432"/>
              <a:ext cx="146020" cy="146020"/>
            </a:xfrm>
            <a:custGeom>
              <a:avLst/>
              <a:gdLst>
                <a:gd name="T0" fmla="*/ 26 w 69"/>
                <a:gd name="T1" fmla="*/ 42 h 69"/>
                <a:gd name="T2" fmla="*/ 0 w 69"/>
                <a:gd name="T3" fmla="*/ 0 h 69"/>
                <a:gd name="T4" fmla="*/ 19 w 69"/>
                <a:gd name="T5" fmla="*/ 0 h 69"/>
                <a:gd name="T6" fmla="*/ 36 w 69"/>
                <a:gd name="T7" fmla="*/ 27 h 69"/>
                <a:gd name="T8" fmla="*/ 52 w 69"/>
                <a:gd name="T9" fmla="*/ 0 h 69"/>
                <a:gd name="T10" fmla="*/ 69 w 69"/>
                <a:gd name="T11" fmla="*/ 0 h 69"/>
                <a:gd name="T12" fmla="*/ 43 w 69"/>
                <a:gd name="T13" fmla="*/ 42 h 69"/>
                <a:gd name="T14" fmla="*/ 43 w 69"/>
                <a:gd name="T15" fmla="*/ 69 h 69"/>
                <a:gd name="T16" fmla="*/ 26 w 69"/>
                <a:gd name="T17" fmla="*/ 69 h 69"/>
                <a:gd name="T18" fmla="*/ 26 w 69"/>
                <a:gd name="T19" fmla="*/ 4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26" y="42"/>
                  </a:moveTo>
                  <a:lnTo>
                    <a:pt x="0" y="0"/>
                  </a:lnTo>
                  <a:lnTo>
                    <a:pt x="19" y="0"/>
                  </a:lnTo>
                  <a:lnTo>
                    <a:pt x="36" y="27"/>
                  </a:lnTo>
                  <a:lnTo>
                    <a:pt x="52" y="0"/>
                  </a:lnTo>
                  <a:lnTo>
                    <a:pt x="69" y="0"/>
                  </a:lnTo>
                  <a:lnTo>
                    <a:pt x="43" y="42"/>
                  </a:lnTo>
                  <a:lnTo>
                    <a:pt x="43" y="69"/>
                  </a:lnTo>
                  <a:lnTo>
                    <a:pt x="26" y="69"/>
                  </a:lnTo>
                  <a:lnTo>
                    <a:pt x="26" y="4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3" name="Rectangle 10533"/>
            <p:cNvSpPr>
              <a:spLocks noChangeArrowheads="1"/>
            </p:cNvSpPr>
            <p:nvPr/>
          </p:nvSpPr>
          <p:spPr bwMode="auto">
            <a:xfrm>
              <a:off x="1017598" y="6239919"/>
              <a:ext cx="65603" cy="29627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4" name="Freeform 10534"/>
            <p:cNvSpPr>
              <a:spLocks/>
            </p:cNvSpPr>
            <p:nvPr/>
          </p:nvSpPr>
          <p:spPr bwMode="auto">
            <a:xfrm>
              <a:off x="1108596" y="6176432"/>
              <a:ext cx="124858" cy="146020"/>
            </a:xfrm>
            <a:custGeom>
              <a:avLst/>
              <a:gdLst>
                <a:gd name="T0" fmla="*/ 0 w 59"/>
                <a:gd name="T1" fmla="*/ 0 h 69"/>
                <a:gd name="T2" fmla="*/ 14 w 59"/>
                <a:gd name="T3" fmla="*/ 0 h 69"/>
                <a:gd name="T4" fmla="*/ 45 w 59"/>
                <a:gd name="T5" fmla="*/ 42 h 69"/>
                <a:gd name="T6" fmla="*/ 45 w 59"/>
                <a:gd name="T7" fmla="*/ 0 h 69"/>
                <a:gd name="T8" fmla="*/ 59 w 59"/>
                <a:gd name="T9" fmla="*/ 0 h 69"/>
                <a:gd name="T10" fmla="*/ 59 w 59"/>
                <a:gd name="T11" fmla="*/ 69 h 69"/>
                <a:gd name="T12" fmla="*/ 47 w 59"/>
                <a:gd name="T13" fmla="*/ 69 h 69"/>
                <a:gd name="T14" fmla="*/ 14 w 59"/>
                <a:gd name="T15" fmla="*/ 25 h 69"/>
                <a:gd name="T16" fmla="*/ 14 w 59"/>
                <a:gd name="T17" fmla="*/ 69 h 69"/>
                <a:gd name="T18" fmla="*/ 0 w 59"/>
                <a:gd name="T19" fmla="*/ 69 h 69"/>
                <a:gd name="T20" fmla="*/ 0 w 59"/>
                <a:gd name="T2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69">
                  <a:moveTo>
                    <a:pt x="0" y="0"/>
                  </a:moveTo>
                  <a:lnTo>
                    <a:pt x="14" y="0"/>
                  </a:lnTo>
                  <a:lnTo>
                    <a:pt x="45" y="42"/>
                  </a:lnTo>
                  <a:lnTo>
                    <a:pt x="45" y="0"/>
                  </a:lnTo>
                  <a:lnTo>
                    <a:pt x="59" y="0"/>
                  </a:lnTo>
                  <a:lnTo>
                    <a:pt x="59" y="69"/>
                  </a:lnTo>
                  <a:lnTo>
                    <a:pt x="47" y="69"/>
                  </a:lnTo>
                  <a:lnTo>
                    <a:pt x="14" y="25"/>
                  </a:lnTo>
                  <a:lnTo>
                    <a:pt x="14" y="69"/>
                  </a:lnTo>
                  <a:lnTo>
                    <a:pt x="0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5" name="Freeform 10535"/>
            <p:cNvSpPr>
              <a:spLocks/>
            </p:cNvSpPr>
            <p:nvPr/>
          </p:nvSpPr>
          <p:spPr bwMode="auto">
            <a:xfrm>
              <a:off x="1269430" y="6176432"/>
              <a:ext cx="124858" cy="150252"/>
            </a:xfrm>
            <a:custGeom>
              <a:avLst/>
              <a:gdLst>
                <a:gd name="T0" fmla="*/ 0 w 25"/>
                <a:gd name="T1" fmla="*/ 16 h 29"/>
                <a:gd name="T2" fmla="*/ 0 w 25"/>
                <a:gd name="T3" fmla="*/ 0 h 29"/>
                <a:gd name="T4" fmla="*/ 6 w 25"/>
                <a:gd name="T5" fmla="*/ 0 h 29"/>
                <a:gd name="T6" fmla="*/ 6 w 25"/>
                <a:gd name="T7" fmla="*/ 16 h 29"/>
                <a:gd name="T8" fmla="*/ 12 w 25"/>
                <a:gd name="T9" fmla="*/ 23 h 29"/>
                <a:gd name="T10" fmla="*/ 18 w 25"/>
                <a:gd name="T11" fmla="*/ 16 h 29"/>
                <a:gd name="T12" fmla="*/ 18 w 25"/>
                <a:gd name="T13" fmla="*/ 0 h 29"/>
                <a:gd name="T14" fmla="*/ 25 w 25"/>
                <a:gd name="T15" fmla="*/ 0 h 29"/>
                <a:gd name="T16" fmla="*/ 25 w 25"/>
                <a:gd name="T17" fmla="*/ 16 h 29"/>
                <a:gd name="T18" fmla="*/ 12 w 25"/>
                <a:gd name="T19" fmla="*/ 29 h 29"/>
                <a:gd name="T20" fmla="*/ 0 w 25"/>
                <a:gd name="T21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9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20"/>
                    <a:pt x="8" y="23"/>
                    <a:pt x="12" y="23"/>
                  </a:cubicBezTo>
                  <a:cubicBezTo>
                    <a:pt x="16" y="23"/>
                    <a:pt x="18" y="20"/>
                    <a:pt x="18" y="16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24"/>
                    <a:pt x="20" y="29"/>
                    <a:pt x="12" y="29"/>
                  </a:cubicBezTo>
                  <a:cubicBezTo>
                    <a:pt x="5" y="29"/>
                    <a:pt x="0" y="24"/>
                    <a:pt x="0" y="1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6" name="Freeform 10536"/>
            <p:cNvSpPr>
              <a:spLocks/>
            </p:cNvSpPr>
            <p:nvPr/>
          </p:nvSpPr>
          <p:spPr bwMode="auto">
            <a:xfrm>
              <a:off x="1423915" y="6176432"/>
              <a:ext cx="105812" cy="146020"/>
            </a:xfrm>
            <a:custGeom>
              <a:avLst/>
              <a:gdLst>
                <a:gd name="T0" fmla="*/ 0 w 50"/>
                <a:gd name="T1" fmla="*/ 0 h 69"/>
                <a:gd name="T2" fmla="*/ 16 w 50"/>
                <a:gd name="T3" fmla="*/ 0 h 69"/>
                <a:gd name="T4" fmla="*/ 16 w 50"/>
                <a:gd name="T5" fmla="*/ 54 h 69"/>
                <a:gd name="T6" fmla="*/ 50 w 50"/>
                <a:gd name="T7" fmla="*/ 54 h 69"/>
                <a:gd name="T8" fmla="*/ 50 w 50"/>
                <a:gd name="T9" fmla="*/ 69 h 69"/>
                <a:gd name="T10" fmla="*/ 0 w 50"/>
                <a:gd name="T11" fmla="*/ 69 h 69"/>
                <a:gd name="T12" fmla="*/ 0 w 50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69">
                  <a:moveTo>
                    <a:pt x="0" y="0"/>
                  </a:moveTo>
                  <a:lnTo>
                    <a:pt x="16" y="0"/>
                  </a:lnTo>
                  <a:lnTo>
                    <a:pt x="16" y="54"/>
                  </a:lnTo>
                  <a:lnTo>
                    <a:pt x="50" y="54"/>
                  </a:lnTo>
                  <a:lnTo>
                    <a:pt x="50" y="69"/>
                  </a:lnTo>
                  <a:lnTo>
                    <a:pt x="0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7" name="Freeform 10537"/>
            <p:cNvSpPr>
              <a:spLocks/>
            </p:cNvSpPr>
            <p:nvPr/>
          </p:nvSpPr>
          <p:spPr bwMode="auto">
            <a:xfrm>
              <a:off x="1553005" y="6176432"/>
              <a:ext cx="141788" cy="146020"/>
            </a:xfrm>
            <a:custGeom>
              <a:avLst/>
              <a:gdLst>
                <a:gd name="T0" fmla="*/ 0 w 67"/>
                <a:gd name="T1" fmla="*/ 0 h 69"/>
                <a:gd name="T2" fmla="*/ 15 w 67"/>
                <a:gd name="T3" fmla="*/ 0 h 69"/>
                <a:gd name="T4" fmla="*/ 34 w 67"/>
                <a:gd name="T5" fmla="*/ 30 h 69"/>
                <a:gd name="T6" fmla="*/ 50 w 67"/>
                <a:gd name="T7" fmla="*/ 0 h 69"/>
                <a:gd name="T8" fmla="*/ 67 w 67"/>
                <a:gd name="T9" fmla="*/ 0 h 69"/>
                <a:gd name="T10" fmla="*/ 67 w 67"/>
                <a:gd name="T11" fmla="*/ 69 h 69"/>
                <a:gd name="T12" fmla="*/ 52 w 67"/>
                <a:gd name="T13" fmla="*/ 69 h 69"/>
                <a:gd name="T14" fmla="*/ 52 w 67"/>
                <a:gd name="T15" fmla="*/ 22 h 69"/>
                <a:gd name="T16" fmla="*/ 34 w 67"/>
                <a:gd name="T17" fmla="*/ 54 h 69"/>
                <a:gd name="T18" fmla="*/ 34 w 67"/>
                <a:gd name="T19" fmla="*/ 54 h 69"/>
                <a:gd name="T20" fmla="*/ 15 w 67"/>
                <a:gd name="T21" fmla="*/ 25 h 69"/>
                <a:gd name="T22" fmla="*/ 15 w 67"/>
                <a:gd name="T23" fmla="*/ 69 h 69"/>
                <a:gd name="T24" fmla="*/ 0 w 67"/>
                <a:gd name="T25" fmla="*/ 69 h 69"/>
                <a:gd name="T26" fmla="*/ 0 w 67"/>
                <a:gd name="T2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" h="69">
                  <a:moveTo>
                    <a:pt x="0" y="0"/>
                  </a:moveTo>
                  <a:lnTo>
                    <a:pt x="15" y="0"/>
                  </a:lnTo>
                  <a:lnTo>
                    <a:pt x="34" y="30"/>
                  </a:lnTo>
                  <a:lnTo>
                    <a:pt x="50" y="0"/>
                  </a:lnTo>
                  <a:lnTo>
                    <a:pt x="67" y="0"/>
                  </a:lnTo>
                  <a:lnTo>
                    <a:pt x="67" y="69"/>
                  </a:lnTo>
                  <a:lnTo>
                    <a:pt x="52" y="69"/>
                  </a:lnTo>
                  <a:lnTo>
                    <a:pt x="52" y="22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15" y="25"/>
                  </a:lnTo>
                  <a:lnTo>
                    <a:pt x="15" y="69"/>
                  </a:lnTo>
                  <a:lnTo>
                    <a:pt x="0" y="6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8" name="Rectangle 10538"/>
            <p:cNvSpPr>
              <a:spLocks noChangeArrowheads="1"/>
            </p:cNvSpPr>
            <p:nvPr/>
          </p:nvSpPr>
          <p:spPr bwMode="auto">
            <a:xfrm>
              <a:off x="602817" y="6352080"/>
              <a:ext cx="1096208" cy="6349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59" name="Rectangle 10539"/>
            <p:cNvSpPr>
              <a:spLocks noChangeArrowheads="1"/>
            </p:cNvSpPr>
            <p:nvPr/>
          </p:nvSpPr>
          <p:spPr bwMode="auto">
            <a:xfrm>
              <a:off x="602817" y="6529843"/>
              <a:ext cx="1096208" cy="211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0" name="Freeform 10540"/>
            <p:cNvSpPr>
              <a:spLocks noEditPoints="1"/>
            </p:cNvSpPr>
            <p:nvPr/>
          </p:nvSpPr>
          <p:spPr bwMode="auto">
            <a:xfrm>
              <a:off x="617631" y="6383823"/>
              <a:ext cx="35976" cy="42325"/>
            </a:xfrm>
            <a:custGeom>
              <a:avLst/>
              <a:gdLst>
                <a:gd name="T0" fmla="*/ 0 w 7"/>
                <a:gd name="T1" fmla="*/ 0 h 8"/>
                <a:gd name="T2" fmla="*/ 3 w 7"/>
                <a:gd name="T3" fmla="*/ 0 h 8"/>
                <a:gd name="T4" fmla="*/ 7 w 7"/>
                <a:gd name="T5" fmla="*/ 4 h 8"/>
                <a:gd name="T6" fmla="*/ 7 w 7"/>
                <a:gd name="T7" fmla="*/ 4 h 8"/>
                <a:gd name="T8" fmla="*/ 3 w 7"/>
                <a:gd name="T9" fmla="*/ 8 h 8"/>
                <a:gd name="T10" fmla="*/ 0 w 7"/>
                <a:gd name="T11" fmla="*/ 8 h 8"/>
                <a:gd name="T12" fmla="*/ 0 w 7"/>
                <a:gd name="T13" fmla="*/ 0 h 8"/>
                <a:gd name="T14" fmla="*/ 1 w 7"/>
                <a:gd name="T15" fmla="*/ 1 h 8"/>
                <a:gd name="T16" fmla="*/ 1 w 7"/>
                <a:gd name="T17" fmla="*/ 7 h 8"/>
                <a:gd name="T18" fmla="*/ 3 w 7"/>
                <a:gd name="T19" fmla="*/ 7 h 8"/>
                <a:gd name="T20" fmla="*/ 6 w 7"/>
                <a:gd name="T21" fmla="*/ 4 h 8"/>
                <a:gd name="T22" fmla="*/ 6 w 7"/>
                <a:gd name="T23" fmla="*/ 4 h 8"/>
                <a:gd name="T24" fmla="*/ 3 w 7"/>
                <a:gd name="T25" fmla="*/ 1 h 8"/>
                <a:gd name="T26" fmla="*/ 1 w 7"/>
                <a:gd name="T27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8">
                  <a:moveTo>
                    <a:pt x="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6"/>
                    <a:pt x="5" y="8"/>
                    <a:pt x="3" y="8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0"/>
                  </a:lnTo>
                  <a:close/>
                  <a:moveTo>
                    <a:pt x="1" y="1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5" y="7"/>
                    <a:pt x="6" y="6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5" y="1"/>
                    <a:pt x="3" y="1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1" name="Freeform 10541"/>
            <p:cNvSpPr>
              <a:spLocks noEditPoints="1"/>
            </p:cNvSpPr>
            <p:nvPr/>
          </p:nvSpPr>
          <p:spPr bwMode="auto">
            <a:xfrm>
              <a:off x="657839" y="6394404"/>
              <a:ext cx="29627" cy="31743"/>
            </a:xfrm>
            <a:custGeom>
              <a:avLst/>
              <a:gdLst>
                <a:gd name="T0" fmla="*/ 0 w 6"/>
                <a:gd name="T1" fmla="*/ 3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6 w 6"/>
                <a:gd name="T9" fmla="*/ 3 h 6"/>
                <a:gd name="T10" fmla="*/ 1 w 6"/>
                <a:gd name="T11" fmla="*/ 3 h 6"/>
                <a:gd name="T12" fmla="*/ 3 w 6"/>
                <a:gd name="T13" fmla="*/ 5 h 6"/>
                <a:gd name="T14" fmla="*/ 5 w 6"/>
                <a:gd name="T15" fmla="*/ 4 h 6"/>
                <a:gd name="T16" fmla="*/ 5 w 6"/>
                <a:gd name="T17" fmla="*/ 5 h 6"/>
                <a:gd name="T18" fmla="*/ 3 w 6"/>
                <a:gd name="T19" fmla="*/ 6 h 6"/>
                <a:gd name="T20" fmla="*/ 0 w 6"/>
                <a:gd name="T21" fmla="*/ 3 h 6"/>
                <a:gd name="T22" fmla="*/ 5 w 6"/>
                <a:gd name="T23" fmla="*/ 3 h 6"/>
                <a:gd name="T24" fmla="*/ 3 w 6"/>
                <a:gd name="T25" fmla="*/ 1 h 6"/>
                <a:gd name="T26" fmla="*/ 1 w 6"/>
                <a:gd name="T27" fmla="*/ 3 h 6"/>
                <a:gd name="T28" fmla="*/ 5 w 6"/>
                <a:gd name="T2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4" y="5"/>
                    <a:pt x="4" y="5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lose/>
                  <a:moveTo>
                    <a:pt x="5" y="3"/>
                  </a:moveTo>
                  <a:cubicBezTo>
                    <a:pt x="5" y="2"/>
                    <a:pt x="4" y="1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2" name="Freeform 10542"/>
            <p:cNvSpPr>
              <a:spLocks noEditPoints="1"/>
            </p:cNvSpPr>
            <p:nvPr/>
          </p:nvSpPr>
          <p:spPr bwMode="auto">
            <a:xfrm>
              <a:off x="693815" y="6394404"/>
              <a:ext cx="23279" cy="31743"/>
            </a:xfrm>
            <a:custGeom>
              <a:avLst/>
              <a:gdLst>
                <a:gd name="T0" fmla="*/ 0 w 5"/>
                <a:gd name="T1" fmla="*/ 3 h 6"/>
                <a:gd name="T2" fmla="*/ 0 w 5"/>
                <a:gd name="T3" fmla="*/ 3 h 6"/>
                <a:gd name="T4" fmla="*/ 3 w 5"/>
                <a:gd name="T5" fmla="*/ 0 h 6"/>
                <a:gd name="T6" fmla="*/ 5 w 5"/>
                <a:gd name="T7" fmla="*/ 3 h 6"/>
                <a:gd name="T8" fmla="*/ 5 w 5"/>
                <a:gd name="T9" fmla="*/ 3 h 6"/>
                <a:gd name="T10" fmla="*/ 1 w 5"/>
                <a:gd name="T11" fmla="*/ 3 h 6"/>
                <a:gd name="T12" fmla="*/ 3 w 5"/>
                <a:gd name="T13" fmla="*/ 5 h 6"/>
                <a:gd name="T14" fmla="*/ 5 w 5"/>
                <a:gd name="T15" fmla="*/ 4 h 6"/>
                <a:gd name="T16" fmla="*/ 5 w 5"/>
                <a:gd name="T17" fmla="*/ 5 h 6"/>
                <a:gd name="T18" fmla="*/ 3 w 5"/>
                <a:gd name="T19" fmla="*/ 6 h 6"/>
                <a:gd name="T20" fmla="*/ 0 w 5"/>
                <a:gd name="T21" fmla="*/ 3 h 6"/>
                <a:gd name="T22" fmla="*/ 4 w 5"/>
                <a:gd name="T23" fmla="*/ 3 h 6"/>
                <a:gd name="T24" fmla="*/ 3 w 5"/>
                <a:gd name="T25" fmla="*/ 1 h 6"/>
                <a:gd name="T26" fmla="*/ 1 w 5"/>
                <a:gd name="T27" fmla="*/ 3 h 6"/>
                <a:gd name="T28" fmla="*/ 4 w 5"/>
                <a:gd name="T2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4" y="5"/>
                    <a:pt x="4" y="5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lose/>
                  <a:moveTo>
                    <a:pt x="4" y="3"/>
                  </a:moveTo>
                  <a:cubicBezTo>
                    <a:pt x="4" y="2"/>
                    <a:pt x="4" y="1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lnTo>
                    <a:pt x="4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3" name="Freeform 10543"/>
            <p:cNvSpPr>
              <a:spLocks/>
            </p:cNvSpPr>
            <p:nvPr/>
          </p:nvSpPr>
          <p:spPr bwMode="auto">
            <a:xfrm>
              <a:off x="727675" y="6394404"/>
              <a:ext cx="25395" cy="31743"/>
            </a:xfrm>
            <a:custGeom>
              <a:avLst/>
              <a:gdLst>
                <a:gd name="T0" fmla="*/ 0 w 5"/>
                <a:gd name="T1" fmla="*/ 0 h 6"/>
                <a:gd name="T2" fmla="*/ 1 w 5"/>
                <a:gd name="T3" fmla="*/ 0 h 6"/>
                <a:gd name="T4" fmla="*/ 1 w 5"/>
                <a:gd name="T5" fmla="*/ 1 h 6"/>
                <a:gd name="T6" fmla="*/ 3 w 5"/>
                <a:gd name="T7" fmla="*/ 0 h 6"/>
                <a:gd name="T8" fmla="*/ 5 w 5"/>
                <a:gd name="T9" fmla="*/ 2 h 6"/>
                <a:gd name="T10" fmla="*/ 5 w 5"/>
                <a:gd name="T11" fmla="*/ 6 h 6"/>
                <a:gd name="T12" fmla="*/ 4 w 5"/>
                <a:gd name="T13" fmla="*/ 6 h 6"/>
                <a:gd name="T14" fmla="*/ 4 w 5"/>
                <a:gd name="T15" fmla="*/ 2 h 6"/>
                <a:gd name="T16" fmla="*/ 2 w 5"/>
                <a:gd name="T17" fmla="*/ 1 h 6"/>
                <a:gd name="T18" fmla="*/ 1 w 5"/>
                <a:gd name="T19" fmla="*/ 3 h 6"/>
                <a:gd name="T20" fmla="*/ 1 w 5"/>
                <a:gd name="T21" fmla="*/ 6 h 6"/>
                <a:gd name="T22" fmla="*/ 0 w 5"/>
                <a:gd name="T23" fmla="*/ 6 h 6"/>
                <a:gd name="T24" fmla="*/ 0 w 5"/>
                <a:gd name="T2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1"/>
                    <a:pt x="1" y="1"/>
                    <a:pt x="1" y="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4" name="Freeform 10544"/>
            <p:cNvSpPr>
              <a:spLocks noEditPoints="1"/>
            </p:cNvSpPr>
            <p:nvPr/>
          </p:nvSpPr>
          <p:spPr bwMode="auto">
            <a:xfrm>
              <a:off x="757302" y="6383823"/>
              <a:ext cx="31743" cy="42325"/>
            </a:xfrm>
            <a:custGeom>
              <a:avLst/>
              <a:gdLst>
                <a:gd name="T0" fmla="*/ 0 w 6"/>
                <a:gd name="T1" fmla="*/ 5 h 8"/>
                <a:gd name="T2" fmla="*/ 0 w 6"/>
                <a:gd name="T3" fmla="*/ 5 h 8"/>
                <a:gd name="T4" fmla="*/ 3 w 6"/>
                <a:gd name="T5" fmla="*/ 2 h 8"/>
                <a:gd name="T6" fmla="*/ 5 w 6"/>
                <a:gd name="T7" fmla="*/ 3 h 8"/>
                <a:gd name="T8" fmla="*/ 5 w 6"/>
                <a:gd name="T9" fmla="*/ 0 h 8"/>
                <a:gd name="T10" fmla="*/ 6 w 6"/>
                <a:gd name="T11" fmla="*/ 0 h 8"/>
                <a:gd name="T12" fmla="*/ 6 w 6"/>
                <a:gd name="T13" fmla="*/ 8 h 8"/>
                <a:gd name="T14" fmla="*/ 5 w 6"/>
                <a:gd name="T15" fmla="*/ 8 h 8"/>
                <a:gd name="T16" fmla="*/ 5 w 6"/>
                <a:gd name="T17" fmla="*/ 7 h 8"/>
                <a:gd name="T18" fmla="*/ 3 w 6"/>
                <a:gd name="T19" fmla="*/ 8 h 8"/>
                <a:gd name="T20" fmla="*/ 0 w 6"/>
                <a:gd name="T21" fmla="*/ 5 h 8"/>
                <a:gd name="T22" fmla="*/ 5 w 6"/>
                <a:gd name="T23" fmla="*/ 5 h 8"/>
                <a:gd name="T24" fmla="*/ 5 w 6"/>
                <a:gd name="T25" fmla="*/ 5 h 8"/>
                <a:gd name="T26" fmla="*/ 3 w 6"/>
                <a:gd name="T27" fmla="*/ 3 h 8"/>
                <a:gd name="T28" fmla="*/ 1 w 6"/>
                <a:gd name="T29" fmla="*/ 5 h 8"/>
                <a:gd name="T30" fmla="*/ 1 w 6"/>
                <a:gd name="T31" fmla="*/ 5 h 8"/>
                <a:gd name="T32" fmla="*/ 3 w 6"/>
                <a:gd name="T33" fmla="*/ 7 h 8"/>
                <a:gd name="T34" fmla="*/ 5 w 6"/>
                <a:gd name="T3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8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2"/>
                    <a:pt x="3" y="2"/>
                  </a:cubicBezTo>
                  <a:cubicBezTo>
                    <a:pt x="4" y="2"/>
                    <a:pt x="5" y="3"/>
                    <a:pt x="5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8"/>
                    <a:pt x="3" y="8"/>
                  </a:cubicBezTo>
                  <a:cubicBezTo>
                    <a:pt x="2" y="8"/>
                    <a:pt x="0" y="7"/>
                    <a:pt x="0" y="5"/>
                  </a:cubicBezTo>
                  <a:close/>
                  <a:moveTo>
                    <a:pt x="5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2" y="7"/>
                    <a:pt x="3" y="7"/>
                  </a:cubicBezTo>
                  <a:cubicBezTo>
                    <a:pt x="4" y="7"/>
                    <a:pt x="5" y="6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5" name="Freeform 10545"/>
            <p:cNvSpPr>
              <a:spLocks noEditPoints="1"/>
            </p:cNvSpPr>
            <p:nvPr/>
          </p:nvSpPr>
          <p:spPr bwMode="auto">
            <a:xfrm>
              <a:off x="797510" y="6394404"/>
              <a:ext cx="25395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2 w 5"/>
                <a:gd name="T5" fmla="*/ 2 h 6"/>
                <a:gd name="T6" fmla="*/ 4 w 5"/>
                <a:gd name="T7" fmla="*/ 3 h 6"/>
                <a:gd name="T8" fmla="*/ 4 w 5"/>
                <a:gd name="T9" fmla="*/ 2 h 6"/>
                <a:gd name="T10" fmla="*/ 2 w 5"/>
                <a:gd name="T11" fmla="*/ 1 h 6"/>
                <a:gd name="T12" fmla="*/ 0 w 5"/>
                <a:gd name="T13" fmla="*/ 1 h 6"/>
                <a:gd name="T14" fmla="*/ 0 w 5"/>
                <a:gd name="T15" fmla="*/ 0 h 6"/>
                <a:gd name="T16" fmla="*/ 2 w 5"/>
                <a:gd name="T17" fmla="*/ 0 h 6"/>
                <a:gd name="T18" fmla="*/ 4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4 w 5"/>
                <a:gd name="T25" fmla="*/ 6 h 6"/>
                <a:gd name="T26" fmla="*/ 4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4 w 5"/>
                <a:gd name="T33" fmla="*/ 4 h 6"/>
                <a:gd name="T34" fmla="*/ 4 w 5"/>
                <a:gd name="T35" fmla="*/ 3 h 6"/>
                <a:gd name="T36" fmla="*/ 2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2 w 5"/>
                <a:gd name="T43" fmla="*/ 5 h 6"/>
                <a:gd name="T44" fmla="*/ 4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2"/>
                    <a:pt x="3" y="2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3" y="5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6" name="Freeform 10546"/>
            <p:cNvSpPr>
              <a:spLocks/>
            </p:cNvSpPr>
            <p:nvPr/>
          </p:nvSpPr>
          <p:spPr bwMode="auto">
            <a:xfrm>
              <a:off x="827138" y="6394404"/>
              <a:ext cx="31743" cy="42325"/>
            </a:xfrm>
            <a:custGeom>
              <a:avLst/>
              <a:gdLst>
                <a:gd name="T0" fmla="*/ 5 w 6"/>
                <a:gd name="T1" fmla="*/ 0 h 8"/>
                <a:gd name="T2" fmla="*/ 6 w 6"/>
                <a:gd name="T3" fmla="*/ 0 h 8"/>
                <a:gd name="T4" fmla="*/ 3 w 6"/>
                <a:gd name="T5" fmla="*/ 6 h 8"/>
                <a:gd name="T6" fmla="*/ 1 w 6"/>
                <a:gd name="T7" fmla="*/ 8 h 8"/>
                <a:gd name="T8" fmla="*/ 0 w 6"/>
                <a:gd name="T9" fmla="*/ 7 h 8"/>
                <a:gd name="T10" fmla="*/ 0 w 6"/>
                <a:gd name="T11" fmla="*/ 7 h 8"/>
                <a:gd name="T12" fmla="*/ 1 w 6"/>
                <a:gd name="T13" fmla="*/ 7 h 8"/>
                <a:gd name="T14" fmla="*/ 2 w 6"/>
                <a:gd name="T15" fmla="*/ 6 h 8"/>
                <a:gd name="T16" fmla="*/ 0 w 6"/>
                <a:gd name="T17" fmla="*/ 0 h 8"/>
                <a:gd name="T18" fmla="*/ 1 w 6"/>
                <a:gd name="T19" fmla="*/ 0 h 8"/>
                <a:gd name="T20" fmla="*/ 3 w 6"/>
                <a:gd name="T21" fmla="*/ 5 h 8"/>
                <a:gd name="T22" fmla="*/ 5 w 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8">
                  <a:moveTo>
                    <a:pt x="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2" y="8"/>
                    <a:pt x="1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7" name="Freeform 10547"/>
            <p:cNvSpPr>
              <a:spLocks noEditPoints="1"/>
            </p:cNvSpPr>
            <p:nvPr/>
          </p:nvSpPr>
          <p:spPr bwMode="auto">
            <a:xfrm>
              <a:off x="858881" y="6394404"/>
              <a:ext cx="23279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3 w 5"/>
                <a:gd name="T5" fmla="*/ 2 h 6"/>
                <a:gd name="T6" fmla="*/ 5 w 5"/>
                <a:gd name="T7" fmla="*/ 3 h 6"/>
                <a:gd name="T8" fmla="*/ 5 w 5"/>
                <a:gd name="T9" fmla="*/ 2 h 6"/>
                <a:gd name="T10" fmla="*/ 3 w 5"/>
                <a:gd name="T11" fmla="*/ 1 h 6"/>
                <a:gd name="T12" fmla="*/ 1 w 5"/>
                <a:gd name="T13" fmla="*/ 1 h 6"/>
                <a:gd name="T14" fmla="*/ 1 w 5"/>
                <a:gd name="T15" fmla="*/ 0 h 6"/>
                <a:gd name="T16" fmla="*/ 3 w 5"/>
                <a:gd name="T17" fmla="*/ 0 h 6"/>
                <a:gd name="T18" fmla="*/ 5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5 w 5"/>
                <a:gd name="T25" fmla="*/ 6 h 6"/>
                <a:gd name="T26" fmla="*/ 5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5 w 5"/>
                <a:gd name="T33" fmla="*/ 4 h 6"/>
                <a:gd name="T34" fmla="*/ 5 w 5"/>
                <a:gd name="T35" fmla="*/ 3 h 6"/>
                <a:gd name="T36" fmla="*/ 3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3 w 5"/>
                <a:gd name="T43" fmla="*/ 5 h 6"/>
                <a:gd name="T44" fmla="*/ 5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3" y="2"/>
                    <a:pt x="4" y="2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5" y="4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3" y="3"/>
                  </a:cubicBezTo>
                  <a:cubicBezTo>
                    <a:pt x="2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4" y="5"/>
                    <a:pt x="5" y="5"/>
                    <a:pt x="5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8" name="Rectangle 10548"/>
            <p:cNvSpPr>
              <a:spLocks noChangeArrowheads="1"/>
            </p:cNvSpPr>
            <p:nvPr/>
          </p:nvSpPr>
          <p:spPr bwMode="auto">
            <a:xfrm>
              <a:off x="892741" y="6383823"/>
              <a:ext cx="6349" cy="423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69" name="Freeform 10549"/>
            <p:cNvSpPr>
              <a:spLocks noEditPoints="1"/>
            </p:cNvSpPr>
            <p:nvPr/>
          </p:nvSpPr>
          <p:spPr bwMode="auto">
            <a:xfrm>
              <a:off x="922368" y="6383823"/>
              <a:ext cx="40208" cy="42325"/>
            </a:xfrm>
            <a:custGeom>
              <a:avLst/>
              <a:gdLst>
                <a:gd name="T0" fmla="*/ 10 w 19"/>
                <a:gd name="T1" fmla="*/ 0 h 20"/>
                <a:gd name="T2" fmla="*/ 10 w 19"/>
                <a:gd name="T3" fmla="*/ 0 h 20"/>
                <a:gd name="T4" fmla="*/ 19 w 19"/>
                <a:gd name="T5" fmla="*/ 20 h 20"/>
                <a:gd name="T6" fmla="*/ 17 w 19"/>
                <a:gd name="T7" fmla="*/ 20 h 20"/>
                <a:gd name="T8" fmla="*/ 15 w 19"/>
                <a:gd name="T9" fmla="*/ 15 h 20"/>
                <a:gd name="T10" fmla="*/ 5 w 19"/>
                <a:gd name="T11" fmla="*/ 15 h 20"/>
                <a:gd name="T12" fmla="*/ 3 w 19"/>
                <a:gd name="T13" fmla="*/ 20 h 20"/>
                <a:gd name="T14" fmla="*/ 0 w 19"/>
                <a:gd name="T15" fmla="*/ 20 h 20"/>
                <a:gd name="T16" fmla="*/ 10 w 19"/>
                <a:gd name="T17" fmla="*/ 0 h 20"/>
                <a:gd name="T18" fmla="*/ 15 w 19"/>
                <a:gd name="T19" fmla="*/ 12 h 20"/>
                <a:gd name="T20" fmla="*/ 10 w 19"/>
                <a:gd name="T21" fmla="*/ 3 h 20"/>
                <a:gd name="T22" fmla="*/ 5 w 19"/>
                <a:gd name="T23" fmla="*/ 12 h 20"/>
                <a:gd name="T24" fmla="*/ 15 w 19"/>
                <a:gd name="T25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20">
                  <a:moveTo>
                    <a:pt x="10" y="0"/>
                  </a:moveTo>
                  <a:lnTo>
                    <a:pt x="10" y="0"/>
                  </a:lnTo>
                  <a:lnTo>
                    <a:pt x="19" y="20"/>
                  </a:lnTo>
                  <a:lnTo>
                    <a:pt x="17" y="20"/>
                  </a:lnTo>
                  <a:lnTo>
                    <a:pt x="15" y="15"/>
                  </a:lnTo>
                  <a:lnTo>
                    <a:pt x="5" y="15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10" y="0"/>
                  </a:lnTo>
                  <a:close/>
                  <a:moveTo>
                    <a:pt x="15" y="12"/>
                  </a:moveTo>
                  <a:lnTo>
                    <a:pt x="10" y="3"/>
                  </a:lnTo>
                  <a:lnTo>
                    <a:pt x="5" y="12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0" name="Freeform 10550"/>
            <p:cNvSpPr>
              <a:spLocks/>
            </p:cNvSpPr>
            <p:nvPr/>
          </p:nvSpPr>
          <p:spPr bwMode="auto">
            <a:xfrm>
              <a:off x="968925" y="6394404"/>
              <a:ext cx="25395" cy="31743"/>
            </a:xfrm>
            <a:custGeom>
              <a:avLst/>
              <a:gdLst>
                <a:gd name="T0" fmla="*/ 0 w 5"/>
                <a:gd name="T1" fmla="*/ 0 h 6"/>
                <a:gd name="T2" fmla="*/ 1 w 5"/>
                <a:gd name="T3" fmla="*/ 0 h 6"/>
                <a:gd name="T4" fmla="*/ 1 w 5"/>
                <a:gd name="T5" fmla="*/ 1 h 6"/>
                <a:gd name="T6" fmla="*/ 3 w 5"/>
                <a:gd name="T7" fmla="*/ 0 h 6"/>
                <a:gd name="T8" fmla="*/ 5 w 5"/>
                <a:gd name="T9" fmla="*/ 2 h 6"/>
                <a:gd name="T10" fmla="*/ 5 w 5"/>
                <a:gd name="T11" fmla="*/ 6 h 6"/>
                <a:gd name="T12" fmla="*/ 5 w 5"/>
                <a:gd name="T13" fmla="*/ 6 h 6"/>
                <a:gd name="T14" fmla="*/ 5 w 5"/>
                <a:gd name="T15" fmla="*/ 2 h 6"/>
                <a:gd name="T16" fmla="*/ 3 w 5"/>
                <a:gd name="T17" fmla="*/ 1 h 6"/>
                <a:gd name="T18" fmla="*/ 1 w 5"/>
                <a:gd name="T19" fmla="*/ 3 h 6"/>
                <a:gd name="T20" fmla="*/ 1 w 5"/>
                <a:gd name="T21" fmla="*/ 6 h 6"/>
                <a:gd name="T22" fmla="*/ 0 w 5"/>
                <a:gd name="T23" fmla="*/ 6 h 6"/>
                <a:gd name="T24" fmla="*/ 0 w 5"/>
                <a:gd name="T2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1" y="1"/>
                    <a:pt x="1" y="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1" name="Freeform 10551"/>
            <p:cNvSpPr>
              <a:spLocks/>
            </p:cNvSpPr>
            <p:nvPr/>
          </p:nvSpPr>
          <p:spPr bwMode="auto">
            <a:xfrm>
              <a:off x="1002785" y="6383823"/>
              <a:ext cx="14814" cy="42325"/>
            </a:xfrm>
            <a:custGeom>
              <a:avLst/>
              <a:gdLst>
                <a:gd name="T0" fmla="*/ 1 w 3"/>
                <a:gd name="T1" fmla="*/ 6 h 8"/>
                <a:gd name="T2" fmla="*/ 1 w 3"/>
                <a:gd name="T3" fmla="*/ 3 h 8"/>
                <a:gd name="T4" fmla="*/ 0 w 3"/>
                <a:gd name="T5" fmla="*/ 3 h 8"/>
                <a:gd name="T6" fmla="*/ 0 w 3"/>
                <a:gd name="T7" fmla="*/ 2 h 8"/>
                <a:gd name="T8" fmla="*/ 1 w 3"/>
                <a:gd name="T9" fmla="*/ 2 h 8"/>
                <a:gd name="T10" fmla="*/ 1 w 3"/>
                <a:gd name="T11" fmla="*/ 0 h 8"/>
                <a:gd name="T12" fmla="*/ 1 w 3"/>
                <a:gd name="T13" fmla="*/ 0 h 8"/>
                <a:gd name="T14" fmla="*/ 1 w 3"/>
                <a:gd name="T15" fmla="*/ 2 h 8"/>
                <a:gd name="T16" fmla="*/ 3 w 3"/>
                <a:gd name="T17" fmla="*/ 2 h 8"/>
                <a:gd name="T18" fmla="*/ 3 w 3"/>
                <a:gd name="T19" fmla="*/ 3 h 8"/>
                <a:gd name="T20" fmla="*/ 1 w 3"/>
                <a:gd name="T21" fmla="*/ 3 h 8"/>
                <a:gd name="T22" fmla="*/ 1 w 3"/>
                <a:gd name="T23" fmla="*/ 6 h 8"/>
                <a:gd name="T24" fmla="*/ 2 w 3"/>
                <a:gd name="T25" fmla="*/ 7 h 8"/>
                <a:gd name="T26" fmla="*/ 3 w 3"/>
                <a:gd name="T27" fmla="*/ 7 h 8"/>
                <a:gd name="T28" fmla="*/ 3 w 3"/>
                <a:gd name="T29" fmla="*/ 8 h 8"/>
                <a:gd name="T30" fmla="*/ 2 w 3"/>
                <a:gd name="T31" fmla="*/ 8 h 8"/>
                <a:gd name="T32" fmla="*/ 1 w 3"/>
                <a:gd name="T3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8">
                  <a:moveTo>
                    <a:pt x="1" y="6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1" y="8"/>
                    <a:pt x="1" y="8"/>
                    <a:pt x="1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2" name="Freeform 10552"/>
            <p:cNvSpPr>
              <a:spLocks/>
            </p:cNvSpPr>
            <p:nvPr/>
          </p:nvSpPr>
          <p:spPr bwMode="auto">
            <a:xfrm>
              <a:off x="1023947" y="6394404"/>
              <a:ext cx="29627" cy="42325"/>
            </a:xfrm>
            <a:custGeom>
              <a:avLst/>
              <a:gdLst>
                <a:gd name="T0" fmla="*/ 5 w 6"/>
                <a:gd name="T1" fmla="*/ 0 h 8"/>
                <a:gd name="T2" fmla="*/ 6 w 6"/>
                <a:gd name="T3" fmla="*/ 0 h 8"/>
                <a:gd name="T4" fmla="*/ 4 w 6"/>
                <a:gd name="T5" fmla="*/ 6 h 8"/>
                <a:gd name="T6" fmla="*/ 2 w 6"/>
                <a:gd name="T7" fmla="*/ 8 h 8"/>
                <a:gd name="T8" fmla="*/ 0 w 6"/>
                <a:gd name="T9" fmla="*/ 7 h 8"/>
                <a:gd name="T10" fmla="*/ 1 w 6"/>
                <a:gd name="T11" fmla="*/ 7 h 8"/>
                <a:gd name="T12" fmla="*/ 2 w 6"/>
                <a:gd name="T13" fmla="*/ 7 h 8"/>
                <a:gd name="T14" fmla="*/ 3 w 6"/>
                <a:gd name="T15" fmla="*/ 6 h 8"/>
                <a:gd name="T16" fmla="*/ 0 w 6"/>
                <a:gd name="T17" fmla="*/ 0 h 8"/>
                <a:gd name="T18" fmla="*/ 1 w 6"/>
                <a:gd name="T19" fmla="*/ 0 h 8"/>
                <a:gd name="T20" fmla="*/ 3 w 6"/>
                <a:gd name="T21" fmla="*/ 5 h 8"/>
                <a:gd name="T22" fmla="*/ 5 w 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8">
                  <a:moveTo>
                    <a:pt x="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7"/>
                    <a:pt x="3" y="8"/>
                    <a:pt x="2" y="8"/>
                  </a:cubicBezTo>
                  <a:cubicBezTo>
                    <a:pt x="1" y="8"/>
                    <a:pt x="1" y="8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2" y="7"/>
                    <a:pt x="2" y="7"/>
                    <a:pt x="3" y="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3" name="Freeform 10553"/>
            <p:cNvSpPr>
              <a:spLocks noEditPoints="1"/>
            </p:cNvSpPr>
            <p:nvPr/>
          </p:nvSpPr>
          <p:spPr bwMode="auto">
            <a:xfrm>
              <a:off x="1057807" y="6394404"/>
              <a:ext cx="29627" cy="31743"/>
            </a:xfrm>
            <a:custGeom>
              <a:avLst/>
              <a:gdLst>
                <a:gd name="T0" fmla="*/ 0 w 6"/>
                <a:gd name="T1" fmla="*/ 3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6 w 6"/>
                <a:gd name="T9" fmla="*/ 3 h 6"/>
                <a:gd name="T10" fmla="*/ 3 w 6"/>
                <a:gd name="T11" fmla="*/ 6 h 6"/>
                <a:gd name="T12" fmla="*/ 0 w 6"/>
                <a:gd name="T13" fmla="*/ 3 h 6"/>
                <a:gd name="T14" fmla="*/ 5 w 6"/>
                <a:gd name="T15" fmla="*/ 3 h 6"/>
                <a:gd name="T16" fmla="*/ 5 w 6"/>
                <a:gd name="T17" fmla="*/ 3 h 6"/>
                <a:gd name="T18" fmla="*/ 3 w 6"/>
                <a:gd name="T19" fmla="*/ 1 h 6"/>
                <a:gd name="T20" fmla="*/ 1 w 6"/>
                <a:gd name="T21" fmla="*/ 3 h 6"/>
                <a:gd name="T22" fmla="*/ 1 w 6"/>
                <a:gd name="T23" fmla="*/ 3 h 6"/>
                <a:gd name="T24" fmla="*/ 3 w 6"/>
                <a:gd name="T25" fmla="*/ 5 h 6"/>
                <a:gd name="T26" fmla="*/ 5 w 6"/>
                <a:gd name="T2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lose/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5"/>
                    <a:pt x="3" y="5"/>
                  </a:cubicBezTo>
                  <a:cubicBezTo>
                    <a:pt x="4" y="5"/>
                    <a:pt x="5" y="4"/>
                    <a:pt x="5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4" name="Freeform 10554"/>
            <p:cNvSpPr>
              <a:spLocks noEditPoints="1"/>
            </p:cNvSpPr>
            <p:nvPr/>
          </p:nvSpPr>
          <p:spPr bwMode="auto">
            <a:xfrm>
              <a:off x="1093783" y="6383823"/>
              <a:ext cx="29627" cy="42325"/>
            </a:xfrm>
            <a:custGeom>
              <a:avLst/>
              <a:gdLst>
                <a:gd name="T0" fmla="*/ 0 w 6"/>
                <a:gd name="T1" fmla="*/ 5 h 8"/>
                <a:gd name="T2" fmla="*/ 0 w 6"/>
                <a:gd name="T3" fmla="*/ 5 h 8"/>
                <a:gd name="T4" fmla="*/ 3 w 6"/>
                <a:gd name="T5" fmla="*/ 2 h 8"/>
                <a:gd name="T6" fmla="*/ 5 w 6"/>
                <a:gd name="T7" fmla="*/ 3 h 8"/>
                <a:gd name="T8" fmla="*/ 5 w 6"/>
                <a:gd name="T9" fmla="*/ 0 h 8"/>
                <a:gd name="T10" fmla="*/ 6 w 6"/>
                <a:gd name="T11" fmla="*/ 0 h 8"/>
                <a:gd name="T12" fmla="*/ 6 w 6"/>
                <a:gd name="T13" fmla="*/ 8 h 8"/>
                <a:gd name="T14" fmla="*/ 5 w 6"/>
                <a:gd name="T15" fmla="*/ 8 h 8"/>
                <a:gd name="T16" fmla="*/ 5 w 6"/>
                <a:gd name="T17" fmla="*/ 7 h 8"/>
                <a:gd name="T18" fmla="*/ 3 w 6"/>
                <a:gd name="T19" fmla="*/ 8 h 8"/>
                <a:gd name="T20" fmla="*/ 0 w 6"/>
                <a:gd name="T21" fmla="*/ 5 h 8"/>
                <a:gd name="T22" fmla="*/ 5 w 6"/>
                <a:gd name="T23" fmla="*/ 5 h 8"/>
                <a:gd name="T24" fmla="*/ 5 w 6"/>
                <a:gd name="T25" fmla="*/ 5 h 8"/>
                <a:gd name="T26" fmla="*/ 3 w 6"/>
                <a:gd name="T27" fmla="*/ 3 h 8"/>
                <a:gd name="T28" fmla="*/ 1 w 6"/>
                <a:gd name="T29" fmla="*/ 5 h 8"/>
                <a:gd name="T30" fmla="*/ 1 w 6"/>
                <a:gd name="T31" fmla="*/ 5 h 8"/>
                <a:gd name="T32" fmla="*/ 3 w 6"/>
                <a:gd name="T33" fmla="*/ 7 h 8"/>
                <a:gd name="T34" fmla="*/ 5 w 6"/>
                <a:gd name="T3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8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4" y="2"/>
                    <a:pt x="4" y="3"/>
                    <a:pt x="5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8"/>
                    <a:pt x="3" y="8"/>
                  </a:cubicBezTo>
                  <a:cubicBezTo>
                    <a:pt x="1" y="8"/>
                    <a:pt x="0" y="7"/>
                    <a:pt x="0" y="5"/>
                  </a:cubicBezTo>
                  <a:close/>
                  <a:moveTo>
                    <a:pt x="5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2" y="7"/>
                    <a:pt x="3" y="7"/>
                  </a:cubicBezTo>
                  <a:cubicBezTo>
                    <a:pt x="4" y="7"/>
                    <a:pt x="5" y="6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5" name="Freeform 10555"/>
            <p:cNvSpPr>
              <a:spLocks noEditPoints="1"/>
            </p:cNvSpPr>
            <p:nvPr/>
          </p:nvSpPr>
          <p:spPr bwMode="auto">
            <a:xfrm>
              <a:off x="1127642" y="6394404"/>
              <a:ext cx="25395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3 w 5"/>
                <a:gd name="T5" fmla="*/ 2 h 6"/>
                <a:gd name="T6" fmla="*/ 5 w 5"/>
                <a:gd name="T7" fmla="*/ 3 h 6"/>
                <a:gd name="T8" fmla="*/ 5 w 5"/>
                <a:gd name="T9" fmla="*/ 2 h 6"/>
                <a:gd name="T10" fmla="*/ 3 w 5"/>
                <a:gd name="T11" fmla="*/ 1 h 6"/>
                <a:gd name="T12" fmla="*/ 1 w 5"/>
                <a:gd name="T13" fmla="*/ 1 h 6"/>
                <a:gd name="T14" fmla="*/ 1 w 5"/>
                <a:gd name="T15" fmla="*/ 0 h 6"/>
                <a:gd name="T16" fmla="*/ 3 w 5"/>
                <a:gd name="T17" fmla="*/ 0 h 6"/>
                <a:gd name="T18" fmla="*/ 5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5 w 5"/>
                <a:gd name="T25" fmla="*/ 6 h 6"/>
                <a:gd name="T26" fmla="*/ 5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5 w 5"/>
                <a:gd name="T33" fmla="*/ 4 h 6"/>
                <a:gd name="T34" fmla="*/ 5 w 5"/>
                <a:gd name="T35" fmla="*/ 3 h 6"/>
                <a:gd name="T36" fmla="*/ 3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3 w 5"/>
                <a:gd name="T43" fmla="*/ 5 h 6"/>
                <a:gd name="T44" fmla="*/ 5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3" y="2"/>
                    <a:pt x="4" y="2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5" y="4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3" y="3"/>
                  </a:cubicBezTo>
                  <a:cubicBezTo>
                    <a:pt x="2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4" y="5"/>
                    <a:pt x="5" y="5"/>
                    <a:pt x="5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6" name="Freeform 10556"/>
            <p:cNvSpPr>
              <a:spLocks/>
            </p:cNvSpPr>
            <p:nvPr/>
          </p:nvSpPr>
          <p:spPr bwMode="auto">
            <a:xfrm>
              <a:off x="1159386" y="6394404"/>
              <a:ext cx="29627" cy="42325"/>
            </a:xfrm>
            <a:custGeom>
              <a:avLst/>
              <a:gdLst>
                <a:gd name="T0" fmla="*/ 5 w 6"/>
                <a:gd name="T1" fmla="*/ 0 h 8"/>
                <a:gd name="T2" fmla="*/ 6 w 6"/>
                <a:gd name="T3" fmla="*/ 0 h 8"/>
                <a:gd name="T4" fmla="*/ 4 w 6"/>
                <a:gd name="T5" fmla="*/ 6 h 8"/>
                <a:gd name="T6" fmla="*/ 2 w 6"/>
                <a:gd name="T7" fmla="*/ 8 h 8"/>
                <a:gd name="T8" fmla="*/ 1 w 6"/>
                <a:gd name="T9" fmla="*/ 7 h 8"/>
                <a:gd name="T10" fmla="*/ 1 w 6"/>
                <a:gd name="T11" fmla="*/ 7 h 8"/>
                <a:gd name="T12" fmla="*/ 2 w 6"/>
                <a:gd name="T13" fmla="*/ 7 h 8"/>
                <a:gd name="T14" fmla="*/ 3 w 6"/>
                <a:gd name="T15" fmla="*/ 6 h 8"/>
                <a:gd name="T16" fmla="*/ 0 w 6"/>
                <a:gd name="T17" fmla="*/ 0 h 8"/>
                <a:gd name="T18" fmla="*/ 1 w 6"/>
                <a:gd name="T19" fmla="*/ 0 h 8"/>
                <a:gd name="T20" fmla="*/ 3 w 6"/>
                <a:gd name="T21" fmla="*/ 5 h 8"/>
                <a:gd name="T22" fmla="*/ 5 w 6"/>
                <a:gd name="T2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8">
                  <a:moveTo>
                    <a:pt x="5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7"/>
                    <a:pt x="3" y="8"/>
                    <a:pt x="2" y="8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2" y="7"/>
                    <a:pt x="3" y="7"/>
                    <a:pt x="3" y="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7" name="Freeform 10557"/>
            <p:cNvSpPr>
              <a:spLocks noEditPoints="1"/>
            </p:cNvSpPr>
            <p:nvPr/>
          </p:nvSpPr>
          <p:spPr bwMode="auto">
            <a:xfrm>
              <a:off x="1193246" y="6394404"/>
              <a:ext cx="25395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2 w 5"/>
                <a:gd name="T5" fmla="*/ 2 h 6"/>
                <a:gd name="T6" fmla="*/ 4 w 5"/>
                <a:gd name="T7" fmla="*/ 3 h 6"/>
                <a:gd name="T8" fmla="*/ 4 w 5"/>
                <a:gd name="T9" fmla="*/ 2 h 6"/>
                <a:gd name="T10" fmla="*/ 2 w 5"/>
                <a:gd name="T11" fmla="*/ 1 h 6"/>
                <a:gd name="T12" fmla="*/ 1 w 5"/>
                <a:gd name="T13" fmla="*/ 1 h 6"/>
                <a:gd name="T14" fmla="*/ 0 w 5"/>
                <a:gd name="T15" fmla="*/ 0 h 6"/>
                <a:gd name="T16" fmla="*/ 2 w 5"/>
                <a:gd name="T17" fmla="*/ 0 h 6"/>
                <a:gd name="T18" fmla="*/ 4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4 w 5"/>
                <a:gd name="T25" fmla="*/ 6 h 6"/>
                <a:gd name="T26" fmla="*/ 4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4 w 5"/>
                <a:gd name="T33" fmla="*/ 4 h 6"/>
                <a:gd name="T34" fmla="*/ 4 w 5"/>
                <a:gd name="T35" fmla="*/ 3 h 6"/>
                <a:gd name="T36" fmla="*/ 2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2 w 5"/>
                <a:gd name="T43" fmla="*/ 5 h 6"/>
                <a:gd name="T44" fmla="*/ 4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2"/>
                    <a:pt x="4" y="2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3" y="5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8" name="Freeform 10558"/>
            <p:cNvSpPr>
              <a:spLocks/>
            </p:cNvSpPr>
            <p:nvPr/>
          </p:nvSpPr>
          <p:spPr bwMode="auto">
            <a:xfrm>
              <a:off x="1237687" y="6383823"/>
              <a:ext cx="40208" cy="42325"/>
            </a:xfrm>
            <a:custGeom>
              <a:avLst/>
              <a:gdLst>
                <a:gd name="T0" fmla="*/ 10 w 19"/>
                <a:gd name="T1" fmla="*/ 12 h 20"/>
                <a:gd name="T2" fmla="*/ 0 w 19"/>
                <a:gd name="T3" fmla="*/ 0 h 20"/>
                <a:gd name="T4" fmla="*/ 5 w 19"/>
                <a:gd name="T5" fmla="*/ 0 h 20"/>
                <a:gd name="T6" fmla="*/ 10 w 19"/>
                <a:gd name="T7" fmla="*/ 10 h 20"/>
                <a:gd name="T8" fmla="*/ 17 w 19"/>
                <a:gd name="T9" fmla="*/ 0 h 20"/>
                <a:gd name="T10" fmla="*/ 19 w 19"/>
                <a:gd name="T11" fmla="*/ 0 h 20"/>
                <a:gd name="T12" fmla="*/ 12 w 19"/>
                <a:gd name="T13" fmla="*/ 12 h 20"/>
                <a:gd name="T14" fmla="*/ 12 w 19"/>
                <a:gd name="T15" fmla="*/ 20 h 20"/>
                <a:gd name="T16" fmla="*/ 10 w 19"/>
                <a:gd name="T17" fmla="*/ 20 h 20"/>
                <a:gd name="T18" fmla="*/ 10 w 19"/>
                <a:gd name="T1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0">
                  <a:moveTo>
                    <a:pt x="10" y="12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10" y="1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12" y="12"/>
                  </a:lnTo>
                  <a:lnTo>
                    <a:pt x="12" y="20"/>
                  </a:lnTo>
                  <a:lnTo>
                    <a:pt x="10" y="20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79" name="Freeform 10559"/>
            <p:cNvSpPr>
              <a:spLocks noEditPoints="1"/>
            </p:cNvSpPr>
            <p:nvPr/>
          </p:nvSpPr>
          <p:spPr bwMode="auto">
            <a:xfrm>
              <a:off x="1277895" y="6394404"/>
              <a:ext cx="31743" cy="31743"/>
            </a:xfrm>
            <a:custGeom>
              <a:avLst/>
              <a:gdLst>
                <a:gd name="T0" fmla="*/ 0 w 6"/>
                <a:gd name="T1" fmla="*/ 3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6 w 6"/>
                <a:gd name="T9" fmla="*/ 3 h 6"/>
                <a:gd name="T10" fmla="*/ 3 w 6"/>
                <a:gd name="T11" fmla="*/ 6 h 6"/>
                <a:gd name="T12" fmla="*/ 0 w 6"/>
                <a:gd name="T13" fmla="*/ 3 h 6"/>
                <a:gd name="T14" fmla="*/ 5 w 6"/>
                <a:gd name="T15" fmla="*/ 3 h 6"/>
                <a:gd name="T16" fmla="*/ 5 w 6"/>
                <a:gd name="T17" fmla="*/ 3 h 6"/>
                <a:gd name="T18" fmla="*/ 3 w 6"/>
                <a:gd name="T19" fmla="*/ 1 h 6"/>
                <a:gd name="T20" fmla="*/ 0 w 6"/>
                <a:gd name="T21" fmla="*/ 3 h 6"/>
                <a:gd name="T22" fmla="*/ 0 w 6"/>
                <a:gd name="T23" fmla="*/ 3 h 6"/>
                <a:gd name="T24" fmla="*/ 3 w 6"/>
                <a:gd name="T25" fmla="*/ 5 h 6"/>
                <a:gd name="T26" fmla="*/ 5 w 6"/>
                <a:gd name="T2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lose/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5"/>
                    <a:pt x="3" y="5"/>
                  </a:cubicBezTo>
                  <a:cubicBezTo>
                    <a:pt x="4" y="5"/>
                    <a:pt x="5" y="4"/>
                    <a:pt x="5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0" name="Freeform 10560"/>
            <p:cNvSpPr>
              <a:spLocks noEditPoints="1"/>
            </p:cNvSpPr>
            <p:nvPr/>
          </p:nvSpPr>
          <p:spPr bwMode="auto">
            <a:xfrm>
              <a:off x="1309638" y="6383823"/>
              <a:ext cx="8465" cy="52906"/>
            </a:xfrm>
            <a:custGeom>
              <a:avLst/>
              <a:gdLst>
                <a:gd name="T0" fmla="*/ 0 w 2"/>
                <a:gd name="T1" fmla="*/ 10 h 10"/>
                <a:gd name="T2" fmla="*/ 0 w 2"/>
                <a:gd name="T3" fmla="*/ 9 h 10"/>
                <a:gd name="T4" fmla="*/ 1 w 2"/>
                <a:gd name="T5" fmla="*/ 9 h 10"/>
                <a:gd name="T6" fmla="*/ 1 w 2"/>
                <a:gd name="T7" fmla="*/ 8 h 10"/>
                <a:gd name="T8" fmla="*/ 1 w 2"/>
                <a:gd name="T9" fmla="*/ 2 h 10"/>
                <a:gd name="T10" fmla="*/ 2 w 2"/>
                <a:gd name="T11" fmla="*/ 2 h 10"/>
                <a:gd name="T12" fmla="*/ 2 w 2"/>
                <a:gd name="T13" fmla="*/ 8 h 10"/>
                <a:gd name="T14" fmla="*/ 1 w 2"/>
                <a:gd name="T15" fmla="*/ 10 h 10"/>
                <a:gd name="T16" fmla="*/ 0 w 2"/>
                <a:gd name="T17" fmla="*/ 10 h 10"/>
                <a:gd name="T18" fmla="*/ 1 w 2"/>
                <a:gd name="T19" fmla="*/ 0 h 10"/>
                <a:gd name="T20" fmla="*/ 2 w 2"/>
                <a:gd name="T21" fmla="*/ 0 h 10"/>
                <a:gd name="T22" fmla="*/ 2 w 2"/>
                <a:gd name="T23" fmla="*/ 1 h 10"/>
                <a:gd name="T24" fmla="*/ 1 w 2"/>
                <a:gd name="T25" fmla="*/ 1 h 10"/>
                <a:gd name="T26" fmla="*/ 1 w 2"/>
                <a:gd name="T2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10">
                  <a:moveTo>
                    <a:pt x="0" y="10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10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lose/>
                  <a:moveTo>
                    <a:pt x="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1" name="Freeform 10561"/>
            <p:cNvSpPr>
              <a:spLocks noEditPoints="1"/>
            </p:cNvSpPr>
            <p:nvPr/>
          </p:nvSpPr>
          <p:spPr bwMode="auto">
            <a:xfrm>
              <a:off x="1328685" y="6394404"/>
              <a:ext cx="25395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2 w 5"/>
                <a:gd name="T5" fmla="*/ 2 h 6"/>
                <a:gd name="T6" fmla="*/ 4 w 5"/>
                <a:gd name="T7" fmla="*/ 3 h 6"/>
                <a:gd name="T8" fmla="*/ 4 w 5"/>
                <a:gd name="T9" fmla="*/ 2 h 6"/>
                <a:gd name="T10" fmla="*/ 2 w 5"/>
                <a:gd name="T11" fmla="*/ 1 h 6"/>
                <a:gd name="T12" fmla="*/ 0 w 5"/>
                <a:gd name="T13" fmla="*/ 1 h 6"/>
                <a:gd name="T14" fmla="*/ 0 w 5"/>
                <a:gd name="T15" fmla="*/ 0 h 6"/>
                <a:gd name="T16" fmla="*/ 2 w 5"/>
                <a:gd name="T17" fmla="*/ 0 h 6"/>
                <a:gd name="T18" fmla="*/ 4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4 w 5"/>
                <a:gd name="T25" fmla="*/ 6 h 6"/>
                <a:gd name="T26" fmla="*/ 4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4 w 5"/>
                <a:gd name="T33" fmla="*/ 4 h 6"/>
                <a:gd name="T34" fmla="*/ 4 w 5"/>
                <a:gd name="T35" fmla="*/ 3 h 6"/>
                <a:gd name="T36" fmla="*/ 2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2 w 5"/>
                <a:gd name="T43" fmla="*/ 5 h 6"/>
                <a:gd name="T44" fmla="*/ 4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2"/>
                    <a:pt x="3" y="2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3" y="5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2" name="Freeform 10562"/>
            <p:cNvSpPr>
              <a:spLocks/>
            </p:cNvSpPr>
            <p:nvPr/>
          </p:nvSpPr>
          <p:spPr bwMode="auto">
            <a:xfrm>
              <a:off x="1364660" y="6394404"/>
              <a:ext cx="23279" cy="31743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0 h 6"/>
                <a:gd name="T4" fmla="*/ 0 w 5"/>
                <a:gd name="T5" fmla="*/ 1 h 6"/>
                <a:gd name="T6" fmla="*/ 2 w 5"/>
                <a:gd name="T7" fmla="*/ 0 h 6"/>
                <a:gd name="T8" fmla="*/ 5 w 5"/>
                <a:gd name="T9" fmla="*/ 2 h 6"/>
                <a:gd name="T10" fmla="*/ 5 w 5"/>
                <a:gd name="T11" fmla="*/ 6 h 6"/>
                <a:gd name="T12" fmla="*/ 4 w 5"/>
                <a:gd name="T13" fmla="*/ 6 h 6"/>
                <a:gd name="T14" fmla="*/ 4 w 5"/>
                <a:gd name="T15" fmla="*/ 2 h 6"/>
                <a:gd name="T16" fmla="*/ 2 w 5"/>
                <a:gd name="T17" fmla="*/ 1 h 6"/>
                <a:gd name="T18" fmla="*/ 0 w 5"/>
                <a:gd name="T19" fmla="*/ 3 h 6"/>
                <a:gd name="T20" fmla="*/ 0 w 5"/>
                <a:gd name="T21" fmla="*/ 6 h 6"/>
                <a:gd name="T22" fmla="*/ 0 w 5"/>
                <a:gd name="T23" fmla="*/ 6 h 6"/>
                <a:gd name="T24" fmla="*/ 0 w 5"/>
                <a:gd name="T2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1"/>
                    <a:pt x="0" y="1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3" name="Freeform 10563"/>
            <p:cNvSpPr>
              <a:spLocks noEditPoints="1"/>
            </p:cNvSpPr>
            <p:nvPr/>
          </p:nvSpPr>
          <p:spPr bwMode="auto">
            <a:xfrm>
              <a:off x="1394288" y="6394404"/>
              <a:ext cx="25395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2 w 5"/>
                <a:gd name="T5" fmla="*/ 2 h 6"/>
                <a:gd name="T6" fmla="*/ 4 w 5"/>
                <a:gd name="T7" fmla="*/ 3 h 6"/>
                <a:gd name="T8" fmla="*/ 4 w 5"/>
                <a:gd name="T9" fmla="*/ 2 h 6"/>
                <a:gd name="T10" fmla="*/ 3 w 5"/>
                <a:gd name="T11" fmla="*/ 1 h 6"/>
                <a:gd name="T12" fmla="*/ 1 w 5"/>
                <a:gd name="T13" fmla="*/ 1 h 6"/>
                <a:gd name="T14" fmla="*/ 1 w 5"/>
                <a:gd name="T15" fmla="*/ 0 h 6"/>
                <a:gd name="T16" fmla="*/ 3 w 5"/>
                <a:gd name="T17" fmla="*/ 0 h 6"/>
                <a:gd name="T18" fmla="*/ 4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4 w 5"/>
                <a:gd name="T25" fmla="*/ 6 h 6"/>
                <a:gd name="T26" fmla="*/ 4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4 w 5"/>
                <a:gd name="T33" fmla="*/ 4 h 6"/>
                <a:gd name="T34" fmla="*/ 4 w 5"/>
                <a:gd name="T35" fmla="*/ 3 h 6"/>
                <a:gd name="T36" fmla="*/ 3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2 w 5"/>
                <a:gd name="T43" fmla="*/ 5 h 6"/>
                <a:gd name="T44" fmla="*/ 4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2"/>
                    <a:pt x="4" y="2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3" y="5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4" name="Rectangle 10564"/>
            <p:cNvSpPr>
              <a:spLocks noChangeArrowheads="1"/>
            </p:cNvSpPr>
            <p:nvPr/>
          </p:nvSpPr>
          <p:spPr bwMode="auto">
            <a:xfrm>
              <a:off x="1428147" y="6404986"/>
              <a:ext cx="14814" cy="423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5" name="Freeform 10565"/>
            <p:cNvSpPr>
              <a:spLocks/>
            </p:cNvSpPr>
            <p:nvPr/>
          </p:nvSpPr>
          <p:spPr bwMode="auto">
            <a:xfrm>
              <a:off x="1453542" y="6383823"/>
              <a:ext cx="29627" cy="42325"/>
            </a:xfrm>
            <a:custGeom>
              <a:avLst/>
              <a:gdLst>
                <a:gd name="T0" fmla="*/ 0 w 14"/>
                <a:gd name="T1" fmla="*/ 0 h 20"/>
                <a:gd name="T2" fmla="*/ 0 w 14"/>
                <a:gd name="T3" fmla="*/ 0 h 20"/>
                <a:gd name="T4" fmla="*/ 12 w 14"/>
                <a:gd name="T5" fmla="*/ 15 h 20"/>
                <a:gd name="T6" fmla="*/ 12 w 14"/>
                <a:gd name="T7" fmla="*/ 0 h 20"/>
                <a:gd name="T8" fmla="*/ 14 w 14"/>
                <a:gd name="T9" fmla="*/ 0 h 20"/>
                <a:gd name="T10" fmla="*/ 14 w 14"/>
                <a:gd name="T11" fmla="*/ 20 h 20"/>
                <a:gd name="T12" fmla="*/ 14 w 14"/>
                <a:gd name="T13" fmla="*/ 20 h 20"/>
                <a:gd name="T14" fmla="*/ 0 w 14"/>
                <a:gd name="T15" fmla="*/ 3 h 20"/>
                <a:gd name="T16" fmla="*/ 0 w 14"/>
                <a:gd name="T17" fmla="*/ 20 h 20"/>
                <a:gd name="T18" fmla="*/ 0 w 14"/>
                <a:gd name="T19" fmla="*/ 20 h 20"/>
                <a:gd name="T20" fmla="*/ 0 w 14"/>
                <a:gd name="T2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20">
                  <a:moveTo>
                    <a:pt x="0" y="0"/>
                  </a:moveTo>
                  <a:lnTo>
                    <a:pt x="0" y="0"/>
                  </a:lnTo>
                  <a:lnTo>
                    <a:pt x="12" y="15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0" y="3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6" name="Freeform 10566"/>
            <p:cNvSpPr>
              <a:spLocks noEditPoints="1"/>
            </p:cNvSpPr>
            <p:nvPr/>
          </p:nvSpPr>
          <p:spPr bwMode="auto">
            <a:xfrm>
              <a:off x="1493751" y="6394404"/>
              <a:ext cx="25395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2 w 5"/>
                <a:gd name="T5" fmla="*/ 2 h 6"/>
                <a:gd name="T6" fmla="*/ 4 w 5"/>
                <a:gd name="T7" fmla="*/ 3 h 6"/>
                <a:gd name="T8" fmla="*/ 4 w 5"/>
                <a:gd name="T9" fmla="*/ 2 h 6"/>
                <a:gd name="T10" fmla="*/ 2 w 5"/>
                <a:gd name="T11" fmla="*/ 1 h 6"/>
                <a:gd name="T12" fmla="*/ 1 w 5"/>
                <a:gd name="T13" fmla="*/ 1 h 6"/>
                <a:gd name="T14" fmla="*/ 0 w 5"/>
                <a:gd name="T15" fmla="*/ 0 h 6"/>
                <a:gd name="T16" fmla="*/ 3 w 5"/>
                <a:gd name="T17" fmla="*/ 0 h 6"/>
                <a:gd name="T18" fmla="*/ 4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4 w 5"/>
                <a:gd name="T25" fmla="*/ 6 h 6"/>
                <a:gd name="T26" fmla="*/ 4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4 w 5"/>
                <a:gd name="T33" fmla="*/ 4 h 6"/>
                <a:gd name="T34" fmla="*/ 4 w 5"/>
                <a:gd name="T35" fmla="*/ 3 h 6"/>
                <a:gd name="T36" fmla="*/ 2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2 w 5"/>
                <a:gd name="T43" fmla="*/ 5 h 6"/>
                <a:gd name="T44" fmla="*/ 4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2"/>
                    <a:pt x="4" y="2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3" y="5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7" name="Freeform 10567"/>
            <p:cNvSpPr>
              <a:spLocks/>
            </p:cNvSpPr>
            <p:nvPr/>
          </p:nvSpPr>
          <p:spPr bwMode="auto">
            <a:xfrm>
              <a:off x="1523378" y="6383823"/>
              <a:ext cx="21162" cy="42325"/>
            </a:xfrm>
            <a:custGeom>
              <a:avLst/>
              <a:gdLst>
                <a:gd name="T0" fmla="*/ 1 w 4"/>
                <a:gd name="T1" fmla="*/ 6 h 8"/>
                <a:gd name="T2" fmla="*/ 1 w 4"/>
                <a:gd name="T3" fmla="*/ 3 h 8"/>
                <a:gd name="T4" fmla="*/ 0 w 4"/>
                <a:gd name="T5" fmla="*/ 3 h 8"/>
                <a:gd name="T6" fmla="*/ 0 w 4"/>
                <a:gd name="T7" fmla="*/ 2 h 8"/>
                <a:gd name="T8" fmla="*/ 1 w 4"/>
                <a:gd name="T9" fmla="*/ 2 h 8"/>
                <a:gd name="T10" fmla="*/ 1 w 4"/>
                <a:gd name="T11" fmla="*/ 0 h 8"/>
                <a:gd name="T12" fmla="*/ 2 w 4"/>
                <a:gd name="T13" fmla="*/ 0 h 8"/>
                <a:gd name="T14" fmla="*/ 2 w 4"/>
                <a:gd name="T15" fmla="*/ 2 h 8"/>
                <a:gd name="T16" fmla="*/ 4 w 4"/>
                <a:gd name="T17" fmla="*/ 2 h 8"/>
                <a:gd name="T18" fmla="*/ 4 w 4"/>
                <a:gd name="T19" fmla="*/ 3 h 8"/>
                <a:gd name="T20" fmla="*/ 2 w 4"/>
                <a:gd name="T21" fmla="*/ 3 h 8"/>
                <a:gd name="T22" fmla="*/ 2 w 4"/>
                <a:gd name="T23" fmla="*/ 6 h 8"/>
                <a:gd name="T24" fmla="*/ 3 w 4"/>
                <a:gd name="T25" fmla="*/ 7 h 8"/>
                <a:gd name="T26" fmla="*/ 4 w 4"/>
                <a:gd name="T27" fmla="*/ 7 h 8"/>
                <a:gd name="T28" fmla="*/ 4 w 4"/>
                <a:gd name="T29" fmla="*/ 8 h 8"/>
                <a:gd name="T30" fmla="*/ 3 w 4"/>
                <a:gd name="T31" fmla="*/ 8 h 8"/>
                <a:gd name="T32" fmla="*/ 1 w 4"/>
                <a:gd name="T3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8">
                  <a:moveTo>
                    <a:pt x="1" y="6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1" y="8"/>
                    <a:pt x="1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8" name="Freeform 10568"/>
            <p:cNvSpPr>
              <a:spLocks noEditPoints="1"/>
            </p:cNvSpPr>
            <p:nvPr/>
          </p:nvSpPr>
          <p:spPr bwMode="auto">
            <a:xfrm>
              <a:off x="1548773" y="6383823"/>
              <a:ext cx="4232" cy="42325"/>
            </a:xfrm>
            <a:custGeom>
              <a:avLst/>
              <a:gdLst>
                <a:gd name="T0" fmla="*/ 0 w 2"/>
                <a:gd name="T1" fmla="*/ 0 h 20"/>
                <a:gd name="T2" fmla="*/ 2 w 2"/>
                <a:gd name="T3" fmla="*/ 0 h 20"/>
                <a:gd name="T4" fmla="*/ 2 w 2"/>
                <a:gd name="T5" fmla="*/ 3 h 20"/>
                <a:gd name="T6" fmla="*/ 0 w 2"/>
                <a:gd name="T7" fmla="*/ 3 h 20"/>
                <a:gd name="T8" fmla="*/ 0 w 2"/>
                <a:gd name="T9" fmla="*/ 0 h 20"/>
                <a:gd name="T10" fmla="*/ 0 w 2"/>
                <a:gd name="T11" fmla="*/ 5 h 20"/>
                <a:gd name="T12" fmla="*/ 2 w 2"/>
                <a:gd name="T13" fmla="*/ 5 h 20"/>
                <a:gd name="T14" fmla="*/ 2 w 2"/>
                <a:gd name="T15" fmla="*/ 20 h 20"/>
                <a:gd name="T16" fmla="*/ 0 w 2"/>
                <a:gd name="T17" fmla="*/ 20 h 20"/>
                <a:gd name="T18" fmla="*/ 0 w 2"/>
                <a:gd name="T1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0">
                  <a:moveTo>
                    <a:pt x="0" y="0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0"/>
                  </a:lnTo>
                  <a:close/>
                  <a:moveTo>
                    <a:pt x="0" y="5"/>
                  </a:moveTo>
                  <a:lnTo>
                    <a:pt x="2" y="5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89" name="Freeform 10569"/>
            <p:cNvSpPr>
              <a:spLocks noEditPoints="1"/>
            </p:cNvSpPr>
            <p:nvPr/>
          </p:nvSpPr>
          <p:spPr bwMode="auto">
            <a:xfrm>
              <a:off x="1563586" y="6394404"/>
              <a:ext cx="29627" cy="31743"/>
            </a:xfrm>
            <a:custGeom>
              <a:avLst/>
              <a:gdLst>
                <a:gd name="T0" fmla="*/ 0 w 6"/>
                <a:gd name="T1" fmla="*/ 3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6 w 6"/>
                <a:gd name="T9" fmla="*/ 3 h 6"/>
                <a:gd name="T10" fmla="*/ 3 w 6"/>
                <a:gd name="T11" fmla="*/ 6 h 6"/>
                <a:gd name="T12" fmla="*/ 0 w 6"/>
                <a:gd name="T13" fmla="*/ 3 h 6"/>
                <a:gd name="T14" fmla="*/ 5 w 6"/>
                <a:gd name="T15" fmla="*/ 3 h 6"/>
                <a:gd name="T16" fmla="*/ 5 w 6"/>
                <a:gd name="T17" fmla="*/ 3 h 6"/>
                <a:gd name="T18" fmla="*/ 3 w 6"/>
                <a:gd name="T19" fmla="*/ 1 h 6"/>
                <a:gd name="T20" fmla="*/ 1 w 6"/>
                <a:gd name="T21" fmla="*/ 3 h 6"/>
                <a:gd name="T22" fmla="*/ 1 w 6"/>
                <a:gd name="T23" fmla="*/ 3 h 6"/>
                <a:gd name="T24" fmla="*/ 3 w 6"/>
                <a:gd name="T25" fmla="*/ 5 h 6"/>
                <a:gd name="T26" fmla="*/ 5 w 6"/>
                <a:gd name="T2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lose/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2" y="5"/>
                    <a:pt x="3" y="5"/>
                  </a:cubicBezTo>
                  <a:cubicBezTo>
                    <a:pt x="4" y="5"/>
                    <a:pt x="5" y="4"/>
                    <a:pt x="5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0" name="Freeform 10570"/>
            <p:cNvSpPr>
              <a:spLocks/>
            </p:cNvSpPr>
            <p:nvPr/>
          </p:nvSpPr>
          <p:spPr bwMode="auto">
            <a:xfrm>
              <a:off x="1599562" y="6394404"/>
              <a:ext cx="25395" cy="31743"/>
            </a:xfrm>
            <a:custGeom>
              <a:avLst/>
              <a:gdLst>
                <a:gd name="T0" fmla="*/ 0 w 5"/>
                <a:gd name="T1" fmla="*/ 0 h 6"/>
                <a:gd name="T2" fmla="*/ 1 w 5"/>
                <a:gd name="T3" fmla="*/ 0 h 6"/>
                <a:gd name="T4" fmla="*/ 1 w 5"/>
                <a:gd name="T5" fmla="*/ 1 h 6"/>
                <a:gd name="T6" fmla="*/ 3 w 5"/>
                <a:gd name="T7" fmla="*/ 0 h 6"/>
                <a:gd name="T8" fmla="*/ 5 w 5"/>
                <a:gd name="T9" fmla="*/ 2 h 6"/>
                <a:gd name="T10" fmla="*/ 5 w 5"/>
                <a:gd name="T11" fmla="*/ 6 h 6"/>
                <a:gd name="T12" fmla="*/ 5 w 5"/>
                <a:gd name="T13" fmla="*/ 6 h 6"/>
                <a:gd name="T14" fmla="*/ 5 w 5"/>
                <a:gd name="T15" fmla="*/ 2 h 6"/>
                <a:gd name="T16" fmla="*/ 3 w 5"/>
                <a:gd name="T17" fmla="*/ 1 h 6"/>
                <a:gd name="T18" fmla="*/ 1 w 5"/>
                <a:gd name="T19" fmla="*/ 3 h 6"/>
                <a:gd name="T20" fmla="*/ 1 w 5"/>
                <a:gd name="T21" fmla="*/ 6 h 6"/>
                <a:gd name="T22" fmla="*/ 0 w 5"/>
                <a:gd name="T23" fmla="*/ 6 h 6"/>
                <a:gd name="T24" fmla="*/ 0 w 5"/>
                <a:gd name="T2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6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1" y="1"/>
                    <a:pt x="1" y="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1" name="Freeform 10571"/>
            <p:cNvSpPr>
              <a:spLocks noEditPoints="1"/>
            </p:cNvSpPr>
            <p:nvPr/>
          </p:nvSpPr>
          <p:spPr bwMode="auto">
            <a:xfrm>
              <a:off x="1633422" y="6394404"/>
              <a:ext cx="25395" cy="31743"/>
            </a:xfrm>
            <a:custGeom>
              <a:avLst/>
              <a:gdLst>
                <a:gd name="T0" fmla="*/ 0 w 5"/>
                <a:gd name="T1" fmla="*/ 4 h 6"/>
                <a:gd name="T2" fmla="*/ 0 w 5"/>
                <a:gd name="T3" fmla="*/ 4 h 6"/>
                <a:gd name="T4" fmla="*/ 2 w 5"/>
                <a:gd name="T5" fmla="*/ 2 h 6"/>
                <a:gd name="T6" fmla="*/ 4 w 5"/>
                <a:gd name="T7" fmla="*/ 3 h 6"/>
                <a:gd name="T8" fmla="*/ 4 w 5"/>
                <a:gd name="T9" fmla="*/ 2 h 6"/>
                <a:gd name="T10" fmla="*/ 2 w 5"/>
                <a:gd name="T11" fmla="*/ 1 h 6"/>
                <a:gd name="T12" fmla="*/ 1 w 5"/>
                <a:gd name="T13" fmla="*/ 1 h 6"/>
                <a:gd name="T14" fmla="*/ 0 w 5"/>
                <a:gd name="T15" fmla="*/ 0 h 6"/>
                <a:gd name="T16" fmla="*/ 3 w 5"/>
                <a:gd name="T17" fmla="*/ 0 h 6"/>
                <a:gd name="T18" fmla="*/ 4 w 5"/>
                <a:gd name="T19" fmla="*/ 1 h 6"/>
                <a:gd name="T20" fmla="*/ 5 w 5"/>
                <a:gd name="T21" fmla="*/ 2 h 6"/>
                <a:gd name="T22" fmla="*/ 5 w 5"/>
                <a:gd name="T23" fmla="*/ 6 h 6"/>
                <a:gd name="T24" fmla="*/ 4 w 5"/>
                <a:gd name="T25" fmla="*/ 6 h 6"/>
                <a:gd name="T26" fmla="*/ 4 w 5"/>
                <a:gd name="T27" fmla="*/ 5 h 6"/>
                <a:gd name="T28" fmla="*/ 2 w 5"/>
                <a:gd name="T29" fmla="*/ 6 h 6"/>
                <a:gd name="T30" fmla="*/ 0 w 5"/>
                <a:gd name="T31" fmla="*/ 4 h 6"/>
                <a:gd name="T32" fmla="*/ 4 w 5"/>
                <a:gd name="T33" fmla="*/ 4 h 6"/>
                <a:gd name="T34" fmla="*/ 4 w 5"/>
                <a:gd name="T35" fmla="*/ 3 h 6"/>
                <a:gd name="T36" fmla="*/ 2 w 5"/>
                <a:gd name="T37" fmla="*/ 3 h 6"/>
                <a:gd name="T38" fmla="*/ 1 w 5"/>
                <a:gd name="T39" fmla="*/ 4 h 6"/>
                <a:gd name="T40" fmla="*/ 1 w 5"/>
                <a:gd name="T41" fmla="*/ 4 h 6"/>
                <a:gd name="T42" fmla="*/ 2 w 5"/>
                <a:gd name="T43" fmla="*/ 5 h 6"/>
                <a:gd name="T44" fmla="*/ 4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2"/>
                    <a:pt x="4" y="2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5"/>
                    <a:pt x="0" y="4"/>
                  </a:cubicBezTo>
                  <a:close/>
                  <a:moveTo>
                    <a:pt x="4" y="4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3" y="5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2" name="Rectangle 10572"/>
            <p:cNvSpPr>
              <a:spLocks noChangeArrowheads="1"/>
            </p:cNvSpPr>
            <p:nvPr/>
          </p:nvSpPr>
          <p:spPr bwMode="auto">
            <a:xfrm>
              <a:off x="1669398" y="6383823"/>
              <a:ext cx="4232" cy="423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3" name="Freeform 10573"/>
            <p:cNvSpPr>
              <a:spLocks/>
            </p:cNvSpPr>
            <p:nvPr/>
          </p:nvSpPr>
          <p:spPr bwMode="auto">
            <a:xfrm>
              <a:off x="789045" y="6451543"/>
              <a:ext cx="33860" cy="40208"/>
            </a:xfrm>
            <a:custGeom>
              <a:avLst/>
              <a:gdLst>
                <a:gd name="T0" fmla="*/ 0 w 7"/>
                <a:gd name="T1" fmla="*/ 5 h 8"/>
                <a:gd name="T2" fmla="*/ 0 w 7"/>
                <a:gd name="T3" fmla="*/ 0 h 8"/>
                <a:gd name="T4" fmla="*/ 1 w 7"/>
                <a:gd name="T5" fmla="*/ 0 h 8"/>
                <a:gd name="T6" fmla="*/ 1 w 7"/>
                <a:gd name="T7" fmla="*/ 5 h 8"/>
                <a:gd name="T8" fmla="*/ 3 w 7"/>
                <a:gd name="T9" fmla="*/ 8 h 8"/>
                <a:gd name="T10" fmla="*/ 6 w 7"/>
                <a:gd name="T11" fmla="*/ 5 h 8"/>
                <a:gd name="T12" fmla="*/ 6 w 7"/>
                <a:gd name="T13" fmla="*/ 0 h 8"/>
                <a:gd name="T14" fmla="*/ 7 w 7"/>
                <a:gd name="T15" fmla="*/ 0 h 8"/>
                <a:gd name="T16" fmla="*/ 7 w 7"/>
                <a:gd name="T17" fmla="*/ 5 h 8"/>
                <a:gd name="T18" fmla="*/ 3 w 7"/>
                <a:gd name="T19" fmla="*/ 8 h 8"/>
                <a:gd name="T20" fmla="*/ 0 w 7"/>
                <a:gd name="T21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8">
                  <a:moveTo>
                    <a:pt x="0" y="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7"/>
                    <a:pt x="2" y="8"/>
                    <a:pt x="3" y="8"/>
                  </a:cubicBezTo>
                  <a:cubicBezTo>
                    <a:pt x="5" y="8"/>
                    <a:pt x="6" y="7"/>
                    <a:pt x="6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7"/>
                    <a:pt x="5" y="8"/>
                    <a:pt x="3" y="8"/>
                  </a:cubicBezTo>
                  <a:cubicBezTo>
                    <a:pt x="1" y="8"/>
                    <a:pt x="0" y="7"/>
                    <a:pt x="0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4" name="Freeform 10574"/>
            <p:cNvSpPr>
              <a:spLocks/>
            </p:cNvSpPr>
            <p:nvPr/>
          </p:nvSpPr>
          <p:spPr bwMode="auto">
            <a:xfrm>
              <a:off x="833486" y="6462124"/>
              <a:ext cx="14814" cy="29627"/>
            </a:xfrm>
            <a:custGeom>
              <a:avLst/>
              <a:gdLst>
                <a:gd name="T0" fmla="*/ 0 w 3"/>
                <a:gd name="T1" fmla="*/ 1 h 6"/>
                <a:gd name="T2" fmla="*/ 1 w 3"/>
                <a:gd name="T3" fmla="*/ 1 h 6"/>
                <a:gd name="T4" fmla="*/ 1 w 3"/>
                <a:gd name="T5" fmla="*/ 2 h 6"/>
                <a:gd name="T6" fmla="*/ 3 w 3"/>
                <a:gd name="T7" fmla="*/ 0 h 6"/>
                <a:gd name="T8" fmla="*/ 3 w 3"/>
                <a:gd name="T9" fmla="*/ 1 h 6"/>
                <a:gd name="T10" fmla="*/ 3 w 3"/>
                <a:gd name="T11" fmla="*/ 1 h 6"/>
                <a:gd name="T12" fmla="*/ 1 w 3"/>
                <a:gd name="T13" fmla="*/ 4 h 6"/>
                <a:gd name="T14" fmla="*/ 1 w 3"/>
                <a:gd name="T15" fmla="*/ 6 h 6"/>
                <a:gd name="T16" fmla="*/ 0 w 3"/>
                <a:gd name="T17" fmla="*/ 6 h 6"/>
                <a:gd name="T18" fmla="*/ 0 w 3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6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2"/>
                    <a:pt x="1" y="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5" name="Freeform 10575"/>
            <p:cNvSpPr>
              <a:spLocks noEditPoints="1"/>
            </p:cNvSpPr>
            <p:nvPr/>
          </p:nvSpPr>
          <p:spPr bwMode="auto">
            <a:xfrm>
              <a:off x="852532" y="6451543"/>
              <a:ext cx="29627" cy="40208"/>
            </a:xfrm>
            <a:custGeom>
              <a:avLst/>
              <a:gdLst>
                <a:gd name="T0" fmla="*/ 1 w 6"/>
                <a:gd name="T1" fmla="*/ 7 h 8"/>
                <a:gd name="T2" fmla="*/ 1 w 6"/>
                <a:gd name="T3" fmla="*/ 8 h 8"/>
                <a:gd name="T4" fmla="*/ 0 w 6"/>
                <a:gd name="T5" fmla="*/ 8 h 8"/>
                <a:gd name="T6" fmla="*/ 0 w 6"/>
                <a:gd name="T7" fmla="*/ 0 h 8"/>
                <a:gd name="T8" fmla="*/ 1 w 6"/>
                <a:gd name="T9" fmla="*/ 0 h 8"/>
                <a:gd name="T10" fmla="*/ 1 w 6"/>
                <a:gd name="T11" fmla="*/ 4 h 8"/>
                <a:gd name="T12" fmla="*/ 3 w 6"/>
                <a:gd name="T13" fmla="*/ 2 h 8"/>
                <a:gd name="T14" fmla="*/ 6 w 6"/>
                <a:gd name="T15" fmla="*/ 5 h 8"/>
                <a:gd name="T16" fmla="*/ 6 w 6"/>
                <a:gd name="T17" fmla="*/ 5 h 8"/>
                <a:gd name="T18" fmla="*/ 3 w 6"/>
                <a:gd name="T19" fmla="*/ 8 h 8"/>
                <a:gd name="T20" fmla="*/ 1 w 6"/>
                <a:gd name="T21" fmla="*/ 7 h 8"/>
                <a:gd name="T22" fmla="*/ 5 w 6"/>
                <a:gd name="T23" fmla="*/ 5 h 8"/>
                <a:gd name="T24" fmla="*/ 5 w 6"/>
                <a:gd name="T25" fmla="*/ 5 h 8"/>
                <a:gd name="T26" fmla="*/ 3 w 6"/>
                <a:gd name="T27" fmla="*/ 3 h 8"/>
                <a:gd name="T28" fmla="*/ 1 w 6"/>
                <a:gd name="T29" fmla="*/ 5 h 8"/>
                <a:gd name="T30" fmla="*/ 1 w 6"/>
                <a:gd name="T31" fmla="*/ 5 h 8"/>
                <a:gd name="T32" fmla="*/ 3 w 6"/>
                <a:gd name="T33" fmla="*/ 8 h 8"/>
                <a:gd name="T34" fmla="*/ 5 w 6"/>
                <a:gd name="T3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8">
                  <a:moveTo>
                    <a:pt x="1" y="7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2" y="2"/>
                    <a:pt x="3" y="2"/>
                  </a:cubicBezTo>
                  <a:cubicBezTo>
                    <a:pt x="5" y="2"/>
                    <a:pt x="6" y="3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7"/>
                    <a:pt x="5" y="8"/>
                    <a:pt x="3" y="8"/>
                  </a:cubicBezTo>
                  <a:cubicBezTo>
                    <a:pt x="2" y="8"/>
                    <a:pt x="1" y="8"/>
                    <a:pt x="1" y="7"/>
                  </a:cubicBezTo>
                  <a:close/>
                  <a:moveTo>
                    <a:pt x="5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7"/>
                    <a:pt x="2" y="8"/>
                    <a:pt x="3" y="8"/>
                  </a:cubicBezTo>
                  <a:cubicBezTo>
                    <a:pt x="4" y="8"/>
                    <a:pt x="5" y="7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6" name="Freeform 10576"/>
            <p:cNvSpPr>
              <a:spLocks noEditPoints="1"/>
            </p:cNvSpPr>
            <p:nvPr/>
          </p:nvSpPr>
          <p:spPr bwMode="auto">
            <a:xfrm>
              <a:off x="888508" y="6462124"/>
              <a:ext cx="25395" cy="29627"/>
            </a:xfrm>
            <a:custGeom>
              <a:avLst/>
              <a:gdLst>
                <a:gd name="T0" fmla="*/ 0 w 5"/>
                <a:gd name="T1" fmla="*/ 5 h 6"/>
                <a:gd name="T2" fmla="*/ 0 w 5"/>
                <a:gd name="T3" fmla="*/ 5 h 6"/>
                <a:gd name="T4" fmla="*/ 3 w 5"/>
                <a:gd name="T5" fmla="*/ 3 h 6"/>
                <a:gd name="T6" fmla="*/ 4 w 5"/>
                <a:gd name="T7" fmla="*/ 3 h 6"/>
                <a:gd name="T8" fmla="*/ 4 w 5"/>
                <a:gd name="T9" fmla="*/ 3 h 6"/>
                <a:gd name="T10" fmla="*/ 3 w 5"/>
                <a:gd name="T11" fmla="*/ 1 h 6"/>
                <a:gd name="T12" fmla="*/ 1 w 5"/>
                <a:gd name="T13" fmla="*/ 2 h 6"/>
                <a:gd name="T14" fmla="*/ 1 w 5"/>
                <a:gd name="T15" fmla="*/ 1 h 6"/>
                <a:gd name="T16" fmla="*/ 3 w 5"/>
                <a:gd name="T17" fmla="*/ 0 h 6"/>
                <a:gd name="T18" fmla="*/ 5 w 5"/>
                <a:gd name="T19" fmla="*/ 1 h 6"/>
                <a:gd name="T20" fmla="*/ 5 w 5"/>
                <a:gd name="T21" fmla="*/ 3 h 6"/>
                <a:gd name="T22" fmla="*/ 5 w 5"/>
                <a:gd name="T23" fmla="*/ 6 h 6"/>
                <a:gd name="T24" fmla="*/ 4 w 5"/>
                <a:gd name="T25" fmla="*/ 6 h 6"/>
                <a:gd name="T26" fmla="*/ 4 w 5"/>
                <a:gd name="T27" fmla="*/ 5 h 6"/>
                <a:gd name="T28" fmla="*/ 2 w 5"/>
                <a:gd name="T29" fmla="*/ 6 h 6"/>
                <a:gd name="T30" fmla="*/ 0 w 5"/>
                <a:gd name="T31" fmla="*/ 5 h 6"/>
                <a:gd name="T32" fmla="*/ 4 w 5"/>
                <a:gd name="T33" fmla="*/ 4 h 6"/>
                <a:gd name="T34" fmla="*/ 4 w 5"/>
                <a:gd name="T35" fmla="*/ 4 h 6"/>
                <a:gd name="T36" fmla="*/ 3 w 5"/>
                <a:gd name="T37" fmla="*/ 3 h 6"/>
                <a:gd name="T38" fmla="*/ 1 w 5"/>
                <a:gd name="T39" fmla="*/ 5 h 6"/>
                <a:gd name="T40" fmla="*/ 1 w 5"/>
                <a:gd name="T41" fmla="*/ 5 h 6"/>
                <a:gd name="T42" fmla="*/ 2 w 5"/>
                <a:gd name="T43" fmla="*/ 6 h 6"/>
                <a:gd name="T44" fmla="*/ 4 w 5"/>
                <a:gd name="T4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6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4" y="1"/>
                    <a:pt x="5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6"/>
                    <a:pt x="0" y="5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4" y="6"/>
                    <a:pt x="4" y="5"/>
                    <a:pt x="4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7" name="Freeform 10577"/>
            <p:cNvSpPr>
              <a:spLocks/>
            </p:cNvSpPr>
            <p:nvPr/>
          </p:nvSpPr>
          <p:spPr bwMode="auto">
            <a:xfrm>
              <a:off x="922368" y="6462124"/>
              <a:ext cx="25395" cy="29627"/>
            </a:xfrm>
            <a:custGeom>
              <a:avLst/>
              <a:gdLst>
                <a:gd name="T0" fmla="*/ 0 w 5"/>
                <a:gd name="T1" fmla="*/ 1 h 6"/>
                <a:gd name="T2" fmla="*/ 1 w 5"/>
                <a:gd name="T3" fmla="*/ 1 h 6"/>
                <a:gd name="T4" fmla="*/ 1 w 5"/>
                <a:gd name="T5" fmla="*/ 2 h 6"/>
                <a:gd name="T6" fmla="*/ 3 w 5"/>
                <a:gd name="T7" fmla="*/ 0 h 6"/>
                <a:gd name="T8" fmla="*/ 5 w 5"/>
                <a:gd name="T9" fmla="*/ 3 h 6"/>
                <a:gd name="T10" fmla="*/ 5 w 5"/>
                <a:gd name="T11" fmla="*/ 6 h 6"/>
                <a:gd name="T12" fmla="*/ 4 w 5"/>
                <a:gd name="T13" fmla="*/ 6 h 6"/>
                <a:gd name="T14" fmla="*/ 4 w 5"/>
                <a:gd name="T15" fmla="*/ 3 h 6"/>
                <a:gd name="T16" fmla="*/ 3 w 5"/>
                <a:gd name="T17" fmla="*/ 1 h 6"/>
                <a:gd name="T18" fmla="*/ 1 w 5"/>
                <a:gd name="T19" fmla="*/ 3 h 6"/>
                <a:gd name="T20" fmla="*/ 1 w 5"/>
                <a:gd name="T21" fmla="*/ 6 h 6"/>
                <a:gd name="T22" fmla="*/ 0 w 5"/>
                <a:gd name="T23" fmla="*/ 6 h 6"/>
                <a:gd name="T24" fmla="*/ 0 w 5"/>
                <a:gd name="T2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6">
                  <a:moveTo>
                    <a:pt x="0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8" name="Freeform 10578"/>
            <p:cNvSpPr>
              <a:spLocks/>
            </p:cNvSpPr>
            <p:nvPr/>
          </p:nvSpPr>
          <p:spPr bwMode="auto">
            <a:xfrm>
              <a:off x="973158" y="6451543"/>
              <a:ext cx="29627" cy="40208"/>
            </a:xfrm>
            <a:custGeom>
              <a:avLst/>
              <a:gdLst>
                <a:gd name="T0" fmla="*/ 0 w 14"/>
                <a:gd name="T1" fmla="*/ 0 h 19"/>
                <a:gd name="T2" fmla="*/ 2 w 14"/>
                <a:gd name="T3" fmla="*/ 0 h 19"/>
                <a:gd name="T4" fmla="*/ 2 w 14"/>
                <a:gd name="T5" fmla="*/ 17 h 19"/>
                <a:gd name="T6" fmla="*/ 14 w 14"/>
                <a:gd name="T7" fmla="*/ 17 h 19"/>
                <a:gd name="T8" fmla="*/ 14 w 14"/>
                <a:gd name="T9" fmla="*/ 19 h 19"/>
                <a:gd name="T10" fmla="*/ 0 w 14"/>
                <a:gd name="T11" fmla="*/ 19 h 19"/>
                <a:gd name="T12" fmla="*/ 0 w 1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9">
                  <a:moveTo>
                    <a:pt x="0" y="0"/>
                  </a:moveTo>
                  <a:lnTo>
                    <a:pt x="2" y="0"/>
                  </a:lnTo>
                  <a:lnTo>
                    <a:pt x="2" y="17"/>
                  </a:lnTo>
                  <a:lnTo>
                    <a:pt x="14" y="17"/>
                  </a:lnTo>
                  <a:lnTo>
                    <a:pt x="14" y="19"/>
                  </a:lnTo>
                  <a:lnTo>
                    <a:pt x="0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099" name="Freeform 10579"/>
            <p:cNvSpPr>
              <a:spLocks noEditPoints="1"/>
            </p:cNvSpPr>
            <p:nvPr/>
          </p:nvSpPr>
          <p:spPr bwMode="auto">
            <a:xfrm>
              <a:off x="1009134" y="6451543"/>
              <a:ext cx="4232" cy="40208"/>
            </a:xfrm>
            <a:custGeom>
              <a:avLst/>
              <a:gdLst>
                <a:gd name="T0" fmla="*/ 0 w 2"/>
                <a:gd name="T1" fmla="*/ 0 h 19"/>
                <a:gd name="T2" fmla="*/ 2 w 2"/>
                <a:gd name="T3" fmla="*/ 0 h 19"/>
                <a:gd name="T4" fmla="*/ 2 w 2"/>
                <a:gd name="T5" fmla="*/ 2 h 19"/>
                <a:gd name="T6" fmla="*/ 0 w 2"/>
                <a:gd name="T7" fmla="*/ 2 h 19"/>
                <a:gd name="T8" fmla="*/ 0 w 2"/>
                <a:gd name="T9" fmla="*/ 0 h 19"/>
                <a:gd name="T10" fmla="*/ 0 w 2"/>
                <a:gd name="T11" fmla="*/ 7 h 19"/>
                <a:gd name="T12" fmla="*/ 2 w 2"/>
                <a:gd name="T13" fmla="*/ 7 h 19"/>
                <a:gd name="T14" fmla="*/ 2 w 2"/>
                <a:gd name="T15" fmla="*/ 19 h 19"/>
                <a:gd name="T16" fmla="*/ 0 w 2"/>
                <a:gd name="T17" fmla="*/ 19 h 19"/>
                <a:gd name="T18" fmla="*/ 0 w 2"/>
                <a:gd name="T1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  <a:moveTo>
                    <a:pt x="0" y="7"/>
                  </a:moveTo>
                  <a:lnTo>
                    <a:pt x="2" y="7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0" name="Freeform 10580"/>
            <p:cNvSpPr>
              <a:spLocks/>
            </p:cNvSpPr>
            <p:nvPr/>
          </p:nvSpPr>
          <p:spPr bwMode="auto">
            <a:xfrm>
              <a:off x="1023947" y="6466356"/>
              <a:ext cx="25395" cy="25395"/>
            </a:xfrm>
            <a:custGeom>
              <a:avLst/>
              <a:gdLst>
                <a:gd name="T0" fmla="*/ 0 w 12"/>
                <a:gd name="T1" fmla="*/ 0 h 12"/>
                <a:gd name="T2" fmla="*/ 2 w 12"/>
                <a:gd name="T3" fmla="*/ 0 h 12"/>
                <a:gd name="T4" fmla="*/ 7 w 12"/>
                <a:gd name="T5" fmla="*/ 10 h 12"/>
                <a:gd name="T6" fmla="*/ 9 w 12"/>
                <a:gd name="T7" fmla="*/ 0 h 12"/>
                <a:gd name="T8" fmla="*/ 12 w 12"/>
                <a:gd name="T9" fmla="*/ 0 h 12"/>
                <a:gd name="T10" fmla="*/ 7 w 12"/>
                <a:gd name="T11" fmla="*/ 12 h 12"/>
                <a:gd name="T12" fmla="*/ 4 w 12"/>
                <a:gd name="T13" fmla="*/ 12 h 12"/>
                <a:gd name="T14" fmla="*/ 0 w 12"/>
                <a:gd name="T1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lnTo>
                    <a:pt x="2" y="0"/>
                  </a:lnTo>
                  <a:lnTo>
                    <a:pt x="7" y="1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1" name="Freeform 10581"/>
            <p:cNvSpPr>
              <a:spLocks noEditPoints="1"/>
            </p:cNvSpPr>
            <p:nvPr/>
          </p:nvSpPr>
          <p:spPr bwMode="auto">
            <a:xfrm>
              <a:off x="1053574" y="6462124"/>
              <a:ext cx="29627" cy="29627"/>
            </a:xfrm>
            <a:custGeom>
              <a:avLst/>
              <a:gdLst>
                <a:gd name="T0" fmla="*/ 0 w 6"/>
                <a:gd name="T1" fmla="*/ 3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6 w 6"/>
                <a:gd name="T9" fmla="*/ 4 h 6"/>
                <a:gd name="T10" fmla="*/ 1 w 6"/>
                <a:gd name="T11" fmla="*/ 4 h 6"/>
                <a:gd name="T12" fmla="*/ 3 w 6"/>
                <a:gd name="T13" fmla="*/ 6 h 6"/>
                <a:gd name="T14" fmla="*/ 5 w 6"/>
                <a:gd name="T15" fmla="*/ 5 h 6"/>
                <a:gd name="T16" fmla="*/ 5 w 6"/>
                <a:gd name="T17" fmla="*/ 5 h 6"/>
                <a:gd name="T18" fmla="*/ 3 w 6"/>
                <a:gd name="T19" fmla="*/ 6 h 6"/>
                <a:gd name="T20" fmla="*/ 0 w 6"/>
                <a:gd name="T21" fmla="*/ 3 h 6"/>
                <a:gd name="T22" fmla="*/ 5 w 6"/>
                <a:gd name="T23" fmla="*/ 3 h 6"/>
                <a:gd name="T24" fmla="*/ 3 w 6"/>
                <a:gd name="T25" fmla="*/ 1 h 6"/>
                <a:gd name="T26" fmla="*/ 1 w 6"/>
                <a:gd name="T27" fmla="*/ 3 h 6"/>
                <a:gd name="T28" fmla="*/ 5 w 6"/>
                <a:gd name="T2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4" y="6"/>
                    <a:pt x="4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lose/>
                  <a:moveTo>
                    <a:pt x="5" y="3"/>
                  </a:moveTo>
                  <a:cubicBezTo>
                    <a:pt x="5" y="2"/>
                    <a:pt x="4" y="1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lnTo>
                    <a:pt x="5" y="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2" name="Rectangle 10582"/>
            <p:cNvSpPr>
              <a:spLocks noChangeArrowheads="1"/>
            </p:cNvSpPr>
            <p:nvPr/>
          </p:nvSpPr>
          <p:spPr bwMode="auto">
            <a:xfrm>
              <a:off x="1087434" y="6451543"/>
              <a:ext cx="6349" cy="4020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3" name="Freeform 10583"/>
            <p:cNvSpPr>
              <a:spLocks noEditPoints="1"/>
            </p:cNvSpPr>
            <p:nvPr/>
          </p:nvSpPr>
          <p:spPr bwMode="auto">
            <a:xfrm>
              <a:off x="1104364" y="6451543"/>
              <a:ext cx="4232" cy="40208"/>
            </a:xfrm>
            <a:custGeom>
              <a:avLst/>
              <a:gdLst>
                <a:gd name="T0" fmla="*/ 0 w 2"/>
                <a:gd name="T1" fmla="*/ 0 h 19"/>
                <a:gd name="T2" fmla="*/ 2 w 2"/>
                <a:gd name="T3" fmla="*/ 0 h 19"/>
                <a:gd name="T4" fmla="*/ 2 w 2"/>
                <a:gd name="T5" fmla="*/ 2 h 19"/>
                <a:gd name="T6" fmla="*/ 0 w 2"/>
                <a:gd name="T7" fmla="*/ 2 h 19"/>
                <a:gd name="T8" fmla="*/ 0 w 2"/>
                <a:gd name="T9" fmla="*/ 0 h 19"/>
                <a:gd name="T10" fmla="*/ 0 w 2"/>
                <a:gd name="T11" fmla="*/ 7 h 19"/>
                <a:gd name="T12" fmla="*/ 2 w 2"/>
                <a:gd name="T13" fmla="*/ 7 h 19"/>
                <a:gd name="T14" fmla="*/ 2 w 2"/>
                <a:gd name="T15" fmla="*/ 19 h 19"/>
                <a:gd name="T16" fmla="*/ 0 w 2"/>
                <a:gd name="T17" fmla="*/ 19 h 19"/>
                <a:gd name="T18" fmla="*/ 0 w 2"/>
                <a:gd name="T1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  <a:moveTo>
                    <a:pt x="0" y="7"/>
                  </a:moveTo>
                  <a:lnTo>
                    <a:pt x="2" y="7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4" name="Freeform 10584"/>
            <p:cNvSpPr>
              <a:spLocks/>
            </p:cNvSpPr>
            <p:nvPr/>
          </p:nvSpPr>
          <p:spPr bwMode="auto">
            <a:xfrm>
              <a:off x="1119178" y="6451543"/>
              <a:ext cx="23279" cy="40208"/>
            </a:xfrm>
            <a:custGeom>
              <a:avLst/>
              <a:gdLst>
                <a:gd name="T0" fmla="*/ 0 w 5"/>
                <a:gd name="T1" fmla="*/ 0 h 8"/>
                <a:gd name="T2" fmla="*/ 1 w 5"/>
                <a:gd name="T3" fmla="*/ 0 h 8"/>
                <a:gd name="T4" fmla="*/ 1 w 5"/>
                <a:gd name="T5" fmla="*/ 4 h 8"/>
                <a:gd name="T6" fmla="*/ 3 w 5"/>
                <a:gd name="T7" fmla="*/ 2 h 8"/>
                <a:gd name="T8" fmla="*/ 5 w 5"/>
                <a:gd name="T9" fmla="*/ 5 h 8"/>
                <a:gd name="T10" fmla="*/ 5 w 5"/>
                <a:gd name="T11" fmla="*/ 8 h 8"/>
                <a:gd name="T12" fmla="*/ 4 w 5"/>
                <a:gd name="T13" fmla="*/ 8 h 8"/>
                <a:gd name="T14" fmla="*/ 4 w 5"/>
                <a:gd name="T15" fmla="*/ 5 h 8"/>
                <a:gd name="T16" fmla="*/ 3 w 5"/>
                <a:gd name="T17" fmla="*/ 3 h 8"/>
                <a:gd name="T18" fmla="*/ 1 w 5"/>
                <a:gd name="T19" fmla="*/ 5 h 8"/>
                <a:gd name="T20" fmla="*/ 1 w 5"/>
                <a:gd name="T21" fmla="*/ 8 h 8"/>
                <a:gd name="T22" fmla="*/ 0 w 5"/>
                <a:gd name="T23" fmla="*/ 8 h 8"/>
                <a:gd name="T24" fmla="*/ 0 w 5"/>
                <a:gd name="T2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8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2" y="2"/>
                    <a:pt x="3" y="2"/>
                  </a:cubicBezTo>
                  <a:cubicBezTo>
                    <a:pt x="4" y="2"/>
                    <a:pt x="5" y="3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4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5" name="Freeform 10585"/>
            <p:cNvSpPr>
              <a:spLocks noEditPoints="1"/>
            </p:cNvSpPr>
            <p:nvPr/>
          </p:nvSpPr>
          <p:spPr bwMode="auto">
            <a:xfrm>
              <a:off x="1148805" y="6462124"/>
              <a:ext cx="33860" cy="29627"/>
            </a:xfrm>
            <a:custGeom>
              <a:avLst/>
              <a:gdLst>
                <a:gd name="T0" fmla="*/ 0 w 7"/>
                <a:gd name="T1" fmla="*/ 3 h 6"/>
                <a:gd name="T2" fmla="*/ 0 w 7"/>
                <a:gd name="T3" fmla="*/ 3 h 6"/>
                <a:gd name="T4" fmla="*/ 3 w 7"/>
                <a:gd name="T5" fmla="*/ 0 h 6"/>
                <a:gd name="T6" fmla="*/ 7 w 7"/>
                <a:gd name="T7" fmla="*/ 3 h 6"/>
                <a:gd name="T8" fmla="*/ 7 w 7"/>
                <a:gd name="T9" fmla="*/ 3 h 6"/>
                <a:gd name="T10" fmla="*/ 3 w 7"/>
                <a:gd name="T11" fmla="*/ 6 h 6"/>
                <a:gd name="T12" fmla="*/ 0 w 7"/>
                <a:gd name="T13" fmla="*/ 3 h 6"/>
                <a:gd name="T14" fmla="*/ 6 w 7"/>
                <a:gd name="T15" fmla="*/ 3 h 6"/>
                <a:gd name="T16" fmla="*/ 6 w 7"/>
                <a:gd name="T17" fmla="*/ 3 h 6"/>
                <a:gd name="T18" fmla="*/ 3 w 7"/>
                <a:gd name="T19" fmla="*/ 1 h 6"/>
                <a:gd name="T20" fmla="*/ 1 w 7"/>
                <a:gd name="T21" fmla="*/ 3 h 6"/>
                <a:gd name="T22" fmla="*/ 1 w 7"/>
                <a:gd name="T23" fmla="*/ 3 h 6"/>
                <a:gd name="T24" fmla="*/ 3 w 7"/>
                <a:gd name="T25" fmla="*/ 6 h 6"/>
                <a:gd name="T26" fmla="*/ 6 w 7"/>
                <a:gd name="T2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2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5"/>
                    <a:pt x="5" y="6"/>
                    <a:pt x="3" y="6"/>
                  </a:cubicBezTo>
                  <a:cubicBezTo>
                    <a:pt x="2" y="6"/>
                    <a:pt x="0" y="5"/>
                    <a:pt x="0" y="3"/>
                  </a:cubicBezTo>
                  <a:close/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1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5" y="6"/>
                    <a:pt x="6" y="5"/>
                    <a:pt x="6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6" name="Freeform 10586"/>
            <p:cNvSpPr>
              <a:spLocks noEditPoints="1"/>
            </p:cNvSpPr>
            <p:nvPr/>
          </p:nvSpPr>
          <p:spPr bwMode="auto">
            <a:xfrm>
              <a:off x="1189013" y="6462124"/>
              <a:ext cx="29627" cy="29627"/>
            </a:xfrm>
            <a:custGeom>
              <a:avLst/>
              <a:gdLst>
                <a:gd name="T0" fmla="*/ 0 w 6"/>
                <a:gd name="T1" fmla="*/ 3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6 w 6"/>
                <a:gd name="T9" fmla="*/ 3 h 6"/>
                <a:gd name="T10" fmla="*/ 3 w 6"/>
                <a:gd name="T11" fmla="*/ 6 h 6"/>
                <a:gd name="T12" fmla="*/ 0 w 6"/>
                <a:gd name="T13" fmla="*/ 3 h 6"/>
                <a:gd name="T14" fmla="*/ 5 w 6"/>
                <a:gd name="T15" fmla="*/ 3 h 6"/>
                <a:gd name="T16" fmla="*/ 5 w 6"/>
                <a:gd name="T17" fmla="*/ 3 h 6"/>
                <a:gd name="T18" fmla="*/ 3 w 6"/>
                <a:gd name="T19" fmla="*/ 1 h 6"/>
                <a:gd name="T20" fmla="*/ 1 w 6"/>
                <a:gd name="T21" fmla="*/ 3 h 6"/>
                <a:gd name="T22" fmla="*/ 1 w 6"/>
                <a:gd name="T23" fmla="*/ 3 h 6"/>
                <a:gd name="T24" fmla="*/ 3 w 6"/>
                <a:gd name="T25" fmla="*/ 6 h 6"/>
                <a:gd name="T26" fmla="*/ 5 w 6"/>
                <a:gd name="T2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4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lose/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4" y="6"/>
                    <a:pt x="5" y="5"/>
                    <a:pt x="5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7" name="Freeform 10587"/>
            <p:cNvSpPr>
              <a:spLocks noEditPoints="1"/>
            </p:cNvSpPr>
            <p:nvPr/>
          </p:nvSpPr>
          <p:spPr bwMode="auto">
            <a:xfrm>
              <a:off x="1222873" y="6451543"/>
              <a:ext cx="31743" cy="40208"/>
            </a:xfrm>
            <a:custGeom>
              <a:avLst/>
              <a:gdLst>
                <a:gd name="T0" fmla="*/ 0 w 6"/>
                <a:gd name="T1" fmla="*/ 5 h 8"/>
                <a:gd name="T2" fmla="*/ 0 w 6"/>
                <a:gd name="T3" fmla="*/ 5 h 8"/>
                <a:gd name="T4" fmla="*/ 3 w 6"/>
                <a:gd name="T5" fmla="*/ 2 h 8"/>
                <a:gd name="T6" fmla="*/ 5 w 6"/>
                <a:gd name="T7" fmla="*/ 4 h 8"/>
                <a:gd name="T8" fmla="*/ 5 w 6"/>
                <a:gd name="T9" fmla="*/ 0 h 8"/>
                <a:gd name="T10" fmla="*/ 6 w 6"/>
                <a:gd name="T11" fmla="*/ 0 h 8"/>
                <a:gd name="T12" fmla="*/ 6 w 6"/>
                <a:gd name="T13" fmla="*/ 8 h 8"/>
                <a:gd name="T14" fmla="*/ 5 w 6"/>
                <a:gd name="T15" fmla="*/ 8 h 8"/>
                <a:gd name="T16" fmla="*/ 5 w 6"/>
                <a:gd name="T17" fmla="*/ 7 h 8"/>
                <a:gd name="T18" fmla="*/ 3 w 6"/>
                <a:gd name="T19" fmla="*/ 8 h 8"/>
                <a:gd name="T20" fmla="*/ 0 w 6"/>
                <a:gd name="T21" fmla="*/ 5 h 8"/>
                <a:gd name="T22" fmla="*/ 5 w 6"/>
                <a:gd name="T23" fmla="*/ 5 h 8"/>
                <a:gd name="T24" fmla="*/ 5 w 6"/>
                <a:gd name="T25" fmla="*/ 5 h 8"/>
                <a:gd name="T26" fmla="*/ 3 w 6"/>
                <a:gd name="T27" fmla="*/ 3 h 8"/>
                <a:gd name="T28" fmla="*/ 1 w 6"/>
                <a:gd name="T29" fmla="*/ 5 h 8"/>
                <a:gd name="T30" fmla="*/ 1 w 6"/>
                <a:gd name="T31" fmla="*/ 5 h 8"/>
                <a:gd name="T32" fmla="*/ 3 w 6"/>
                <a:gd name="T33" fmla="*/ 8 h 8"/>
                <a:gd name="T34" fmla="*/ 5 w 6"/>
                <a:gd name="T3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8">
                  <a:moveTo>
                    <a:pt x="0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2"/>
                    <a:pt x="3" y="2"/>
                  </a:cubicBezTo>
                  <a:cubicBezTo>
                    <a:pt x="4" y="2"/>
                    <a:pt x="4" y="3"/>
                    <a:pt x="5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8"/>
                    <a:pt x="4" y="8"/>
                    <a:pt x="3" y="8"/>
                  </a:cubicBezTo>
                  <a:cubicBezTo>
                    <a:pt x="1" y="8"/>
                    <a:pt x="0" y="7"/>
                    <a:pt x="0" y="5"/>
                  </a:cubicBezTo>
                  <a:close/>
                  <a:moveTo>
                    <a:pt x="5" y="5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7"/>
                    <a:pt x="2" y="8"/>
                    <a:pt x="3" y="8"/>
                  </a:cubicBezTo>
                  <a:cubicBezTo>
                    <a:pt x="4" y="8"/>
                    <a:pt x="5" y="7"/>
                    <a:pt x="5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8" name="Freeform 10588"/>
            <p:cNvSpPr>
              <a:spLocks/>
            </p:cNvSpPr>
            <p:nvPr/>
          </p:nvSpPr>
          <p:spPr bwMode="auto">
            <a:xfrm>
              <a:off x="1258849" y="6462124"/>
              <a:ext cx="25395" cy="29627"/>
            </a:xfrm>
            <a:custGeom>
              <a:avLst/>
              <a:gdLst>
                <a:gd name="T0" fmla="*/ 0 w 5"/>
                <a:gd name="T1" fmla="*/ 6 h 6"/>
                <a:gd name="T2" fmla="*/ 1 w 5"/>
                <a:gd name="T3" fmla="*/ 5 h 6"/>
                <a:gd name="T4" fmla="*/ 3 w 5"/>
                <a:gd name="T5" fmla="*/ 6 h 6"/>
                <a:gd name="T6" fmla="*/ 4 w 5"/>
                <a:gd name="T7" fmla="*/ 5 h 6"/>
                <a:gd name="T8" fmla="*/ 4 w 5"/>
                <a:gd name="T9" fmla="*/ 5 h 6"/>
                <a:gd name="T10" fmla="*/ 2 w 5"/>
                <a:gd name="T11" fmla="*/ 4 h 6"/>
                <a:gd name="T12" fmla="*/ 1 w 5"/>
                <a:gd name="T13" fmla="*/ 2 h 6"/>
                <a:gd name="T14" fmla="*/ 1 w 5"/>
                <a:gd name="T15" fmla="*/ 2 h 6"/>
                <a:gd name="T16" fmla="*/ 2 w 5"/>
                <a:gd name="T17" fmla="*/ 0 h 6"/>
                <a:gd name="T18" fmla="*/ 5 w 5"/>
                <a:gd name="T19" fmla="*/ 1 h 6"/>
                <a:gd name="T20" fmla="*/ 4 w 5"/>
                <a:gd name="T21" fmla="*/ 2 h 6"/>
                <a:gd name="T22" fmla="*/ 2 w 5"/>
                <a:gd name="T23" fmla="*/ 1 h 6"/>
                <a:gd name="T24" fmla="*/ 1 w 5"/>
                <a:gd name="T25" fmla="*/ 2 h 6"/>
                <a:gd name="T26" fmla="*/ 1 w 5"/>
                <a:gd name="T27" fmla="*/ 2 h 6"/>
                <a:gd name="T28" fmla="*/ 3 w 5"/>
                <a:gd name="T29" fmla="*/ 3 h 6"/>
                <a:gd name="T30" fmla="*/ 5 w 5"/>
                <a:gd name="T31" fmla="*/ 5 h 6"/>
                <a:gd name="T32" fmla="*/ 5 w 5"/>
                <a:gd name="T33" fmla="*/ 5 h 6"/>
                <a:gd name="T34" fmla="*/ 3 w 5"/>
                <a:gd name="T35" fmla="*/ 6 h 6"/>
                <a:gd name="T36" fmla="*/ 0 w 5"/>
                <a:gd name="T3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6">
                  <a:moveTo>
                    <a:pt x="0" y="6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3" y="4"/>
                    <a:pt x="2" y="4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3" y="0"/>
                    <a:pt x="4" y="1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4" y="3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2" y="6"/>
                    <a:pt x="1" y="6"/>
                    <a:pt x="0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09" name="Freeform 10589"/>
            <p:cNvSpPr>
              <a:spLocks/>
            </p:cNvSpPr>
            <p:nvPr/>
          </p:nvSpPr>
          <p:spPr bwMode="auto">
            <a:xfrm>
              <a:off x="1309638" y="6451543"/>
              <a:ext cx="33860" cy="40208"/>
            </a:xfrm>
            <a:custGeom>
              <a:avLst/>
              <a:gdLst>
                <a:gd name="T0" fmla="*/ 0 w 16"/>
                <a:gd name="T1" fmla="*/ 0 h 19"/>
                <a:gd name="T2" fmla="*/ 2 w 16"/>
                <a:gd name="T3" fmla="*/ 0 h 19"/>
                <a:gd name="T4" fmla="*/ 9 w 16"/>
                <a:gd name="T5" fmla="*/ 12 h 19"/>
                <a:gd name="T6" fmla="*/ 14 w 16"/>
                <a:gd name="T7" fmla="*/ 0 h 19"/>
                <a:gd name="T8" fmla="*/ 16 w 16"/>
                <a:gd name="T9" fmla="*/ 0 h 19"/>
                <a:gd name="T10" fmla="*/ 16 w 16"/>
                <a:gd name="T11" fmla="*/ 19 h 19"/>
                <a:gd name="T12" fmla="*/ 14 w 16"/>
                <a:gd name="T13" fmla="*/ 19 h 19"/>
                <a:gd name="T14" fmla="*/ 14 w 16"/>
                <a:gd name="T15" fmla="*/ 5 h 19"/>
                <a:gd name="T16" fmla="*/ 9 w 16"/>
                <a:gd name="T17" fmla="*/ 15 h 19"/>
                <a:gd name="T18" fmla="*/ 9 w 16"/>
                <a:gd name="T19" fmla="*/ 15 h 19"/>
                <a:gd name="T20" fmla="*/ 2 w 16"/>
                <a:gd name="T21" fmla="*/ 5 h 19"/>
                <a:gd name="T22" fmla="*/ 2 w 16"/>
                <a:gd name="T23" fmla="*/ 19 h 19"/>
                <a:gd name="T24" fmla="*/ 0 w 16"/>
                <a:gd name="T25" fmla="*/ 19 h 19"/>
                <a:gd name="T26" fmla="*/ 0 w 16"/>
                <a:gd name="T2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9">
                  <a:moveTo>
                    <a:pt x="0" y="0"/>
                  </a:moveTo>
                  <a:lnTo>
                    <a:pt x="2" y="0"/>
                  </a:lnTo>
                  <a:lnTo>
                    <a:pt x="9" y="1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19"/>
                  </a:lnTo>
                  <a:lnTo>
                    <a:pt x="14" y="19"/>
                  </a:lnTo>
                  <a:lnTo>
                    <a:pt x="14" y="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2" y="5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0" name="Freeform 10590"/>
            <p:cNvSpPr>
              <a:spLocks noEditPoints="1"/>
            </p:cNvSpPr>
            <p:nvPr/>
          </p:nvSpPr>
          <p:spPr bwMode="auto">
            <a:xfrm>
              <a:off x="1354079" y="6451543"/>
              <a:ext cx="4232" cy="40208"/>
            </a:xfrm>
            <a:custGeom>
              <a:avLst/>
              <a:gdLst>
                <a:gd name="T0" fmla="*/ 0 w 2"/>
                <a:gd name="T1" fmla="*/ 0 h 19"/>
                <a:gd name="T2" fmla="*/ 2 w 2"/>
                <a:gd name="T3" fmla="*/ 0 h 19"/>
                <a:gd name="T4" fmla="*/ 2 w 2"/>
                <a:gd name="T5" fmla="*/ 2 h 19"/>
                <a:gd name="T6" fmla="*/ 0 w 2"/>
                <a:gd name="T7" fmla="*/ 2 h 19"/>
                <a:gd name="T8" fmla="*/ 0 w 2"/>
                <a:gd name="T9" fmla="*/ 0 h 19"/>
                <a:gd name="T10" fmla="*/ 0 w 2"/>
                <a:gd name="T11" fmla="*/ 7 h 19"/>
                <a:gd name="T12" fmla="*/ 2 w 2"/>
                <a:gd name="T13" fmla="*/ 7 h 19"/>
                <a:gd name="T14" fmla="*/ 2 w 2"/>
                <a:gd name="T15" fmla="*/ 19 h 19"/>
                <a:gd name="T16" fmla="*/ 0 w 2"/>
                <a:gd name="T17" fmla="*/ 19 h 19"/>
                <a:gd name="T18" fmla="*/ 0 w 2"/>
                <a:gd name="T1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  <a:moveTo>
                    <a:pt x="0" y="7"/>
                  </a:moveTo>
                  <a:lnTo>
                    <a:pt x="2" y="7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1" name="Freeform 10591"/>
            <p:cNvSpPr>
              <a:spLocks/>
            </p:cNvSpPr>
            <p:nvPr/>
          </p:nvSpPr>
          <p:spPr bwMode="auto">
            <a:xfrm>
              <a:off x="1368893" y="6462124"/>
              <a:ext cx="19046" cy="29627"/>
            </a:xfrm>
            <a:custGeom>
              <a:avLst/>
              <a:gdLst>
                <a:gd name="T0" fmla="*/ 0 w 4"/>
                <a:gd name="T1" fmla="*/ 6 h 6"/>
                <a:gd name="T2" fmla="*/ 0 w 4"/>
                <a:gd name="T3" fmla="*/ 5 h 6"/>
                <a:gd name="T4" fmla="*/ 2 w 4"/>
                <a:gd name="T5" fmla="*/ 6 h 6"/>
                <a:gd name="T6" fmla="*/ 3 w 4"/>
                <a:gd name="T7" fmla="*/ 5 h 6"/>
                <a:gd name="T8" fmla="*/ 3 w 4"/>
                <a:gd name="T9" fmla="*/ 5 h 6"/>
                <a:gd name="T10" fmla="*/ 2 w 4"/>
                <a:gd name="T11" fmla="*/ 4 h 6"/>
                <a:gd name="T12" fmla="*/ 0 w 4"/>
                <a:gd name="T13" fmla="*/ 2 h 6"/>
                <a:gd name="T14" fmla="*/ 0 w 4"/>
                <a:gd name="T15" fmla="*/ 2 h 6"/>
                <a:gd name="T16" fmla="*/ 2 w 4"/>
                <a:gd name="T17" fmla="*/ 0 h 6"/>
                <a:gd name="T18" fmla="*/ 4 w 4"/>
                <a:gd name="T19" fmla="*/ 1 h 6"/>
                <a:gd name="T20" fmla="*/ 4 w 4"/>
                <a:gd name="T21" fmla="*/ 2 h 6"/>
                <a:gd name="T22" fmla="*/ 2 w 4"/>
                <a:gd name="T23" fmla="*/ 1 h 6"/>
                <a:gd name="T24" fmla="*/ 1 w 4"/>
                <a:gd name="T25" fmla="*/ 2 h 6"/>
                <a:gd name="T26" fmla="*/ 1 w 4"/>
                <a:gd name="T27" fmla="*/ 2 h 6"/>
                <a:gd name="T28" fmla="*/ 2 w 4"/>
                <a:gd name="T29" fmla="*/ 3 h 6"/>
                <a:gd name="T30" fmla="*/ 4 w 4"/>
                <a:gd name="T31" fmla="*/ 5 h 6"/>
                <a:gd name="T32" fmla="*/ 4 w 4"/>
                <a:gd name="T33" fmla="*/ 5 h 6"/>
                <a:gd name="T34" fmla="*/ 2 w 4"/>
                <a:gd name="T35" fmla="*/ 6 h 6"/>
                <a:gd name="T36" fmla="*/ 0 w 4"/>
                <a:gd name="T3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4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3" y="6"/>
                    <a:pt x="2" y="6"/>
                  </a:cubicBezTo>
                  <a:cubicBezTo>
                    <a:pt x="1" y="6"/>
                    <a:pt x="0" y="6"/>
                    <a:pt x="0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2" name="Freeform 10592"/>
            <p:cNvSpPr>
              <a:spLocks/>
            </p:cNvSpPr>
            <p:nvPr/>
          </p:nvSpPr>
          <p:spPr bwMode="auto">
            <a:xfrm>
              <a:off x="1394288" y="6462124"/>
              <a:ext cx="25395" cy="29627"/>
            </a:xfrm>
            <a:custGeom>
              <a:avLst/>
              <a:gdLst>
                <a:gd name="T0" fmla="*/ 0 w 5"/>
                <a:gd name="T1" fmla="*/ 6 h 6"/>
                <a:gd name="T2" fmla="*/ 1 w 5"/>
                <a:gd name="T3" fmla="*/ 5 h 6"/>
                <a:gd name="T4" fmla="*/ 3 w 5"/>
                <a:gd name="T5" fmla="*/ 6 h 6"/>
                <a:gd name="T6" fmla="*/ 4 w 5"/>
                <a:gd name="T7" fmla="*/ 5 h 6"/>
                <a:gd name="T8" fmla="*/ 4 w 5"/>
                <a:gd name="T9" fmla="*/ 5 h 6"/>
                <a:gd name="T10" fmla="*/ 2 w 5"/>
                <a:gd name="T11" fmla="*/ 4 h 6"/>
                <a:gd name="T12" fmla="*/ 1 w 5"/>
                <a:gd name="T13" fmla="*/ 2 h 6"/>
                <a:gd name="T14" fmla="*/ 1 w 5"/>
                <a:gd name="T15" fmla="*/ 2 h 6"/>
                <a:gd name="T16" fmla="*/ 3 w 5"/>
                <a:gd name="T17" fmla="*/ 0 h 6"/>
                <a:gd name="T18" fmla="*/ 5 w 5"/>
                <a:gd name="T19" fmla="*/ 1 h 6"/>
                <a:gd name="T20" fmla="*/ 4 w 5"/>
                <a:gd name="T21" fmla="*/ 2 h 6"/>
                <a:gd name="T22" fmla="*/ 3 w 5"/>
                <a:gd name="T23" fmla="*/ 1 h 6"/>
                <a:gd name="T24" fmla="*/ 1 w 5"/>
                <a:gd name="T25" fmla="*/ 2 h 6"/>
                <a:gd name="T26" fmla="*/ 1 w 5"/>
                <a:gd name="T27" fmla="*/ 2 h 6"/>
                <a:gd name="T28" fmla="*/ 3 w 5"/>
                <a:gd name="T29" fmla="*/ 3 h 6"/>
                <a:gd name="T30" fmla="*/ 5 w 5"/>
                <a:gd name="T31" fmla="*/ 5 h 6"/>
                <a:gd name="T32" fmla="*/ 5 w 5"/>
                <a:gd name="T33" fmla="*/ 5 h 6"/>
                <a:gd name="T34" fmla="*/ 3 w 5"/>
                <a:gd name="T35" fmla="*/ 6 h 6"/>
                <a:gd name="T36" fmla="*/ 0 w 5"/>
                <a:gd name="T3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6">
                  <a:moveTo>
                    <a:pt x="0" y="6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4"/>
                    <a:pt x="3" y="4"/>
                    <a:pt x="2" y="4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0"/>
                    <a:pt x="3" y="0"/>
                  </a:cubicBezTo>
                  <a:cubicBezTo>
                    <a:pt x="3" y="0"/>
                    <a:pt x="4" y="1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4" y="3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2" y="6"/>
                    <a:pt x="1" y="6"/>
                    <a:pt x="0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3" name="Freeform 10593"/>
            <p:cNvSpPr>
              <a:spLocks noEditPoints="1"/>
            </p:cNvSpPr>
            <p:nvPr/>
          </p:nvSpPr>
          <p:spPr bwMode="auto">
            <a:xfrm>
              <a:off x="1423915" y="6451543"/>
              <a:ext cx="4232" cy="40208"/>
            </a:xfrm>
            <a:custGeom>
              <a:avLst/>
              <a:gdLst>
                <a:gd name="T0" fmla="*/ 0 w 2"/>
                <a:gd name="T1" fmla="*/ 0 h 19"/>
                <a:gd name="T2" fmla="*/ 2 w 2"/>
                <a:gd name="T3" fmla="*/ 0 h 19"/>
                <a:gd name="T4" fmla="*/ 2 w 2"/>
                <a:gd name="T5" fmla="*/ 2 h 19"/>
                <a:gd name="T6" fmla="*/ 0 w 2"/>
                <a:gd name="T7" fmla="*/ 2 h 19"/>
                <a:gd name="T8" fmla="*/ 0 w 2"/>
                <a:gd name="T9" fmla="*/ 0 h 19"/>
                <a:gd name="T10" fmla="*/ 0 w 2"/>
                <a:gd name="T11" fmla="*/ 7 h 19"/>
                <a:gd name="T12" fmla="*/ 2 w 2"/>
                <a:gd name="T13" fmla="*/ 7 h 19"/>
                <a:gd name="T14" fmla="*/ 2 w 2"/>
                <a:gd name="T15" fmla="*/ 19 h 19"/>
                <a:gd name="T16" fmla="*/ 0 w 2"/>
                <a:gd name="T17" fmla="*/ 19 h 19"/>
                <a:gd name="T18" fmla="*/ 0 w 2"/>
                <a:gd name="T1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9">
                  <a:moveTo>
                    <a:pt x="0" y="0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close/>
                  <a:moveTo>
                    <a:pt x="0" y="7"/>
                  </a:moveTo>
                  <a:lnTo>
                    <a:pt x="2" y="7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4" name="Freeform 10594"/>
            <p:cNvSpPr>
              <a:spLocks noEditPoints="1"/>
            </p:cNvSpPr>
            <p:nvPr/>
          </p:nvSpPr>
          <p:spPr bwMode="auto">
            <a:xfrm>
              <a:off x="1438729" y="6462124"/>
              <a:ext cx="29627" cy="29627"/>
            </a:xfrm>
            <a:custGeom>
              <a:avLst/>
              <a:gdLst>
                <a:gd name="T0" fmla="*/ 0 w 6"/>
                <a:gd name="T1" fmla="*/ 3 h 6"/>
                <a:gd name="T2" fmla="*/ 0 w 6"/>
                <a:gd name="T3" fmla="*/ 3 h 6"/>
                <a:gd name="T4" fmla="*/ 3 w 6"/>
                <a:gd name="T5" fmla="*/ 0 h 6"/>
                <a:gd name="T6" fmla="*/ 6 w 6"/>
                <a:gd name="T7" fmla="*/ 3 h 6"/>
                <a:gd name="T8" fmla="*/ 6 w 6"/>
                <a:gd name="T9" fmla="*/ 3 h 6"/>
                <a:gd name="T10" fmla="*/ 3 w 6"/>
                <a:gd name="T11" fmla="*/ 6 h 6"/>
                <a:gd name="T12" fmla="*/ 0 w 6"/>
                <a:gd name="T13" fmla="*/ 3 h 6"/>
                <a:gd name="T14" fmla="*/ 5 w 6"/>
                <a:gd name="T15" fmla="*/ 3 h 6"/>
                <a:gd name="T16" fmla="*/ 5 w 6"/>
                <a:gd name="T17" fmla="*/ 3 h 6"/>
                <a:gd name="T18" fmla="*/ 3 w 6"/>
                <a:gd name="T19" fmla="*/ 1 h 6"/>
                <a:gd name="T20" fmla="*/ 1 w 6"/>
                <a:gd name="T21" fmla="*/ 3 h 6"/>
                <a:gd name="T22" fmla="*/ 1 w 6"/>
                <a:gd name="T23" fmla="*/ 3 h 6"/>
                <a:gd name="T24" fmla="*/ 3 w 6"/>
                <a:gd name="T25" fmla="*/ 6 h 6"/>
                <a:gd name="T26" fmla="*/ 5 w 6"/>
                <a:gd name="T2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lose/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4" y="1"/>
                    <a:pt x="3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5"/>
                    <a:pt x="2" y="6"/>
                    <a:pt x="3" y="6"/>
                  </a:cubicBezTo>
                  <a:cubicBezTo>
                    <a:pt x="4" y="6"/>
                    <a:pt x="5" y="5"/>
                    <a:pt x="5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5" name="Freeform 10595"/>
            <p:cNvSpPr>
              <a:spLocks/>
            </p:cNvSpPr>
            <p:nvPr/>
          </p:nvSpPr>
          <p:spPr bwMode="auto">
            <a:xfrm>
              <a:off x="1478937" y="6462124"/>
              <a:ext cx="25395" cy="29627"/>
            </a:xfrm>
            <a:custGeom>
              <a:avLst/>
              <a:gdLst>
                <a:gd name="T0" fmla="*/ 0 w 5"/>
                <a:gd name="T1" fmla="*/ 1 h 6"/>
                <a:gd name="T2" fmla="*/ 0 w 5"/>
                <a:gd name="T3" fmla="*/ 1 h 6"/>
                <a:gd name="T4" fmla="*/ 0 w 5"/>
                <a:gd name="T5" fmla="*/ 2 h 6"/>
                <a:gd name="T6" fmla="*/ 2 w 5"/>
                <a:gd name="T7" fmla="*/ 0 h 6"/>
                <a:gd name="T8" fmla="*/ 5 w 5"/>
                <a:gd name="T9" fmla="*/ 3 h 6"/>
                <a:gd name="T10" fmla="*/ 5 w 5"/>
                <a:gd name="T11" fmla="*/ 6 h 6"/>
                <a:gd name="T12" fmla="*/ 4 w 5"/>
                <a:gd name="T13" fmla="*/ 6 h 6"/>
                <a:gd name="T14" fmla="*/ 4 w 5"/>
                <a:gd name="T15" fmla="*/ 3 h 6"/>
                <a:gd name="T16" fmla="*/ 2 w 5"/>
                <a:gd name="T17" fmla="*/ 1 h 6"/>
                <a:gd name="T18" fmla="*/ 0 w 5"/>
                <a:gd name="T19" fmla="*/ 3 h 6"/>
                <a:gd name="T20" fmla="*/ 0 w 5"/>
                <a:gd name="T21" fmla="*/ 6 h 6"/>
                <a:gd name="T22" fmla="*/ 0 w 5"/>
                <a:gd name="T23" fmla="*/ 6 h 6"/>
                <a:gd name="T24" fmla="*/ 0 w 5"/>
                <a:gd name="T2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6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4" y="0"/>
                    <a:pt x="5" y="1"/>
                    <a:pt x="5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3" y="1"/>
                    <a:pt x="2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4165" name="Group 34164"/>
          <p:cNvGrpSpPr/>
          <p:nvPr/>
        </p:nvGrpSpPr>
        <p:grpSpPr>
          <a:xfrm>
            <a:off x="10644509" y="2955632"/>
            <a:ext cx="1070813" cy="304738"/>
            <a:chOff x="3256572" y="6197595"/>
            <a:chExt cx="1070813" cy="304738"/>
          </a:xfrm>
        </p:grpSpPr>
        <p:sp>
          <p:nvSpPr>
            <p:cNvPr id="34116" name="Freeform 10596"/>
            <p:cNvSpPr>
              <a:spLocks/>
            </p:cNvSpPr>
            <p:nvPr/>
          </p:nvSpPr>
          <p:spPr bwMode="auto">
            <a:xfrm>
              <a:off x="3256572" y="6203943"/>
              <a:ext cx="209507" cy="190461"/>
            </a:xfrm>
            <a:custGeom>
              <a:avLst/>
              <a:gdLst>
                <a:gd name="T0" fmla="*/ 0 w 42"/>
                <a:gd name="T1" fmla="*/ 37 h 37"/>
                <a:gd name="T2" fmla="*/ 0 w 42"/>
                <a:gd name="T3" fmla="*/ 35 h 37"/>
                <a:gd name="T4" fmla="*/ 4 w 42"/>
                <a:gd name="T5" fmla="*/ 34 h 37"/>
                <a:gd name="T6" fmla="*/ 4 w 42"/>
                <a:gd name="T7" fmla="*/ 33 h 37"/>
                <a:gd name="T8" fmla="*/ 5 w 42"/>
                <a:gd name="T9" fmla="*/ 26 h 37"/>
                <a:gd name="T10" fmla="*/ 5 w 42"/>
                <a:gd name="T11" fmla="*/ 11 h 37"/>
                <a:gd name="T12" fmla="*/ 4 w 42"/>
                <a:gd name="T13" fmla="*/ 3 h 37"/>
                <a:gd name="T14" fmla="*/ 4 w 42"/>
                <a:gd name="T15" fmla="*/ 3 h 37"/>
                <a:gd name="T16" fmla="*/ 0 w 42"/>
                <a:gd name="T17" fmla="*/ 2 h 37"/>
                <a:gd name="T18" fmla="*/ 0 w 42"/>
                <a:gd name="T19" fmla="*/ 0 h 37"/>
                <a:gd name="T20" fmla="*/ 8 w 42"/>
                <a:gd name="T21" fmla="*/ 0 h 37"/>
                <a:gd name="T22" fmla="*/ 17 w 42"/>
                <a:gd name="T23" fmla="*/ 0 h 37"/>
                <a:gd name="T24" fmla="*/ 17 w 42"/>
                <a:gd name="T25" fmla="*/ 2 h 37"/>
                <a:gd name="T26" fmla="*/ 13 w 42"/>
                <a:gd name="T27" fmla="*/ 2 h 37"/>
                <a:gd name="T28" fmla="*/ 13 w 42"/>
                <a:gd name="T29" fmla="*/ 3 h 37"/>
                <a:gd name="T30" fmla="*/ 13 w 42"/>
                <a:gd name="T31" fmla="*/ 6 h 37"/>
                <a:gd name="T32" fmla="*/ 12 w 42"/>
                <a:gd name="T33" fmla="*/ 14 h 37"/>
                <a:gd name="T34" fmla="*/ 12 w 42"/>
                <a:gd name="T35" fmla="*/ 16 h 37"/>
                <a:gd name="T36" fmla="*/ 21 w 42"/>
                <a:gd name="T37" fmla="*/ 16 h 37"/>
                <a:gd name="T38" fmla="*/ 29 w 42"/>
                <a:gd name="T39" fmla="*/ 16 h 37"/>
                <a:gd name="T40" fmla="*/ 29 w 42"/>
                <a:gd name="T41" fmla="*/ 4 h 37"/>
                <a:gd name="T42" fmla="*/ 28 w 42"/>
                <a:gd name="T43" fmla="*/ 3 h 37"/>
                <a:gd name="T44" fmla="*/ 24 w 42"/>
                <a:gd name="T45" fmla="*/ 2 h 37"/>
                <a:gd name="T46" fmla="*/ 24 w 42"/>
                <a:gd name="T47" fmla="*/ 0 h 37"/>
                <a:gd name="T48" fmla="*/ 33 w 42"/>
                <a:gd name="T49" fmla="*/ 0 h 37"/>
                <a:gd name="T50" fmla="*/ 42 w 42"/>
                <a:gd name="T51" fmla="*/ 0 h 37"/>
                <a:gd name="T52" fmla="*/ 42 w 42"/>
                <a:gd name="T53" fmla="*/ 2 h 37"/>
                <a:gd name="T54" fmla="*/ 38 w 42"/>
                <a:gd name="T55" fmla="*/ 2 h 37"/>
                <a:gd name="T56" fmla="*/ 37 w 42"/>
                <a:gd name="T57" fmla="*/ 3 h 37"/>
                <a:gd name="T58" fmla="*/ 37 w 42"/>
                <a:gd name="T59" fmla="*/ 7 h 37"/>
                <a:gd name="T60" fmla="*/ 37 w 42"/>
                <a:gd name="T61" fmla="*/ 17 h 37"/>
                <a:gd name="T62" fmla="*/ 37 w 42"/>
                <a:gd name="T63" fmla="*/ 29 h 37"/>
                <a:gd name="T64" fmla="*/ 37 w 42"/>
                <a:gd name="T65" fmla="*/ 33 h 37"/>
                <a:gd name="T66" fmla="*/ 38 w 42"/>
                <a:gd name="T67" fmla="*/ 34 h 37"/>
                <a:gd name="T68" fmla="*/ 42 w 42"/>
                <a:gd name="T69" fmla="*/ 35 h 37"/>
                <a:gd name="T70" fmla="*/ 42 w 42"/>
                <a:gd name="T71" fmla="*/ 37 h 37"/>
                <a:gd name="T72" fmla="*/ 39 w 42"/>
                <a:gd name="T73" fmla="*/ 37 h 37"/>
                <a:gd name="T74" fmla="*/ 34 w 42"/>
                <a:gd name="T75" fmla="*/ 37 h 37"/>
                <a:gd name="T76" fmla="*/ 24 w 42"/>
                <a:gd name="T77" fmla="*/ 37 h 37"/>
                <a:gd name="T78" fmla="*/ 24 w 42"/>
                <a:gd name="T79" fmla="*/ 35 h 37"/>
                <a:gd name="T80" fmla="*/ 28 w 42"/>
                <a:gd name="T81" fmla="*/ 34 h 37"/>
                <a:gd name="T82" fmla="*/ 29 w 42"/>
                <a:gd name="T83" fmla="*/ 32 h 37"/>
                <a:gd name="T84" fmla="*/ 29 w 42"/>
                <a:gd name="T85" fmla="*/ 19 h 37"/>
                <a:gd name="T86" fmla="*/ 23 w 42"/>
                <a:gd name="T87" fmla="*/ 19 h 37"/>
                <a:gd name="T88" fmla="*/ 12 w 42"/>
                <a:gd name="T89" fmla="*/ 19 h 37"/>
                <a:gd name="T90" fmla="*/ 12 w 42"/>
                <a:gd name="T91" fmla="*/ 21 h 37"/>
                <a:gd name="T92" fmla="*/ 13 w 42"/>
                <a:gd name="T93" fmla="*/ 31 h 37"/>
                <a:gd name="T94" fmla="*/ 13 w 42"/>
                <a:gd name="T95" fmla="*/ 34 h 37"/>
                <a:gd name="T96" fmla="*/ 17 w 42"/>
                <a:gd name="T97" fmla="*/ 35 h 37"/>
                <a:gd name="T98" fmla="*/ 17 w 42"/>
                <a:gd name="T99" fmla="*/ 37 h 37"/>
                <a:gd name="T100" fmla="*/ 14 w 42"/>
                <a:gd name="T101" fmla="*/ 37 h 37"/>
                <a:gd name="T102" fmla="*/ 9 w 42"/>
                <a:gd name="T103" fmla="*/ 37 h 37"/>
                <a:gd name="T104" fmla="*/ 0 w 42"/>
                <a:gd name="T10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" h="37">
                  <a:moveTo>
                    <a:pt x="0" y="37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2" y="35"/>
                    <a:pt x="4" y="35"/>
                    <a:pt x="4" y="34"/>
                  </a:cubicBezTo>
                  <a:cubicBezTo>
                    <a:pt x="4" y="34"/>
                    <a:pt x="4" y="34"/>
                    <a:pt x="4" y="33"/>
                  </a:cubicBezTo>
                  <a:cubicBezTo>
                    <a:pt x="5" y="32"/>
                    <a:pt x="5" y="30"/>
                    <a:pt x="5" y="2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6"/>
                    <a:pt x="5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4"/>
                    <a:pt x="13" y="6"/>
                  </a:cubicBezTo>
                  <a:cubicBezTo>
                    <a:pt x="13" y="9"/>
                    <a:pt x="12" y="11"/>
                    <a:pt x="12" y="1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16"/>
                    <a:pt x="17" y="16"/>
                    <a:pt x="21" y="16"/>
                  </a:cubicBezTo>
                  <a:cubicBezTo>
                    <a:pt x="25" y="16"/>
                    <a:pt x="27" y="16"/>
                    <a:pt x="29" y="16"/>
                  </a:cubicBezTo>
                  <a:cubicBezTo>
                    <a:pt x="29" y="10"/>
                    <a:pt x="29" y="6"/>
                    <a:pt x="29" y="4"/>
                  </a:cubicBezTo>
                  <a:cubicBezTo>
                    <a:pt x="29" y="3"/>
                    <a:pt x="29" y="3"/>
                    <a:pt x="28" y="3"/>
                  </a:cubicBezTo>
                  <a:cubicBezTo>
                    <a:pt x="28" y="2"/>
                    <a:pt x="27" y="2"/>
                    <a:pt x="24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0"/>
                    <a:pt x="32" y="0"/>
                    <a:pt x="33" y="0"/>
                  </a:cubicBezTo>
                  <a:cubicBezTo>
                    <a:pt x="36" y="0"/>
                    <a:pt x="39" y="0"/>
                    <a:pt x="42" y="0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39" y="2"/>
                    <a:pt x="38" y="2"/>
                    <a:pt x="38" y="2"/>
                  </a:cubicBezTo>
                  <a:cubicBezTo>
                    <a:pt x="38" y="3"/>
                    <a:pt x="37" y="3"/>
                    <a:pt x="37" y="3"/>
                  </a:cubicBezTo>
                  <a:cubicBezTo>
                    <a:pt x="37" y="3"/>
                    <a:pt x="37" y="5"/>
                    <a:pt x="37" y="7"/>
                  </a:cubicBezTo>
                  <a:cubicBezTo>
                    <a:pt x="37" y="11"/>
                    <a:pt x="37" y="14"/>
                    <a:pt x="37" y="17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32"/>
                    <a:pt x="37" y="33"/>
                    <a:pt x="37" y="33"/>
                  </a:cubicBezTo>
                  <a:cubicBezTo>
                    <a:pt x="37" y="34"/>
                    <a:pt x="37" y="34"/>
                    <a:pt x="38" y="34"/>
                  </a:cubicBezTo>
                  <a:cubicBezTo>
                    <a:pt x="38" y="35"/>
                    <a:pt x="39" y="35"/>
                    <a:pt x="42" y="35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7" y="37"/>
                    <a:pt x="35" y="37"/>
                    <a:pt x="34" y="37"/>
                  </a:cubicBezTo>
                  <a:cubicBezTo>
                    <a:pt x="31" y="37"/>
                    <a:pt x="28" y="37"/>
                    <a:pt x="24" y="37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7" y="35"/>
                    <a:pt x="28" y="35"/>
                    <a:pt x="28" y="34"/>
                  </a:cubicBezTo>
                  <a:cubicBezTo>
                    <a:pt x="29" y="34"/>
                    <a:pt x="29" y="33"/>
                    <a:pt x="29" y="32"/>
                  </a:cubicBezTo>
                  <a:cubicBezTo>
                    <a:pt x="29" y="30"/>
                    <a:pt x="29" y="26"/>
                    <a:pt x="29" y="19"/>
                  </a:cubicBezTo>
                  <a:cubicBezTo>
                    <a:pt x="27" y="19"/>
                    <a:pt x="25" y="19"/>
                    <a:pt x="23" y="19"/>
                  </a:cubicBezTo>
                  <a:cubicBezTo>
                    <a:pt x="19" y="19"/>
                    <a:pt x="15" y="19"/>
                    <a:pt x="12" y="19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6"/>
                    <a:pt x="13" y="29"/>
                    <a:pt x="13" y="31"/>
                  </a:cubicBezTo>
                  <a:cubicBezTo>
                    <a:pt x="13" y="33"/>
                    <a:pt x="13" y="34"/>
                    <a:pt x="13" y="34"/>
                  </a:cubicBezTo>
                  <a:cubicBezTo>
                    <a:pt x="14" y="34"/>
                    <a:pt x="15" y="35"/>
                    <a:pt x="17" y="35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2" y="37"/>
                    <a:pt x="10" y="37"/>
                    <a:pt x="9" y="37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A314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7" name="Freeform 10597"/>
            <p:cNvSpPr>
              <a:spLocks/>
            </p:cNvSpPr>
            <p:nvPr/>
          </p:nvSpPr>
          <p:spPr bwMode="auto">
            <a:xfrm>
              <a:off x="3476660" y="6203943"/>
              <a:ext cx="184112" cy="190461"/>
            </a:xfrm>
            <a:custGeom>
              <a:avLst/>
              <a:gdLst>
                <a:gd name="T0" fmla="*/ 0 w 37"/>
                <a:gd name="T1" fmla="*/ 37 h 37"/>
                <a:gd name="T2" fmla="*/ 0 w 37"/>
                <a:gd name="T3" fmla="*/ 35 h 37"/>
                <a:gd name="T4" fmla="*/ 4 w 37"/>
                <a:gd name="T5" fmla="*/ 34 h 37"/>
                <a:gd name="T6" fmla="*/ 4 w 37"/>
                <a:gd name="T7" fmla="*/ 34 h 37"/>
                <a:gd name="T8" fmla="*/ 5 w 37"/>
                <a:gd name="T9" fmla="*/ 30 h 37"/>
                <a:gd name="T10" fmla="*/ 5 w 37"/>
                <a:gd name="T11" fmla="*/ 21 h 37"/>
                <a:gd name="T12" fmla="*/ 5 w 37"/>
                <a:gd name="T13" fmla="*/ 9 h 37"/>
                <a:gd name="T14" fmla="*/ 4 w 37"/>
                <a:gd name="T15" fmla="*/ 3 h 37"/>
                <a:gd name="T16" fmla="*/ 4 w 37"/>
                <a:gd name="T17" fmla="*/ 3 h 37"/>
                <a:gd name="T18" fmla="*/ 0 w 37"/>
                <a:gd name="T19" fmla="*/ 2 h 37"/>
                <a:gd name="T20" fmla="*/ 0 w 37"/>
                <a:gd name="T21" fmla="*/ 0 h 37"/>
                <a:gd name="T22" fmla="*/ 7 w 37"/>
                <a:gd name="T23" fmla="*/ 0 h 37"/>
                <a:gd name="T24" fmla="*/ 21 w 37"/>
                <a:gd name="T25" fmla="*/ 0 h 37"/>
                <a:gd name="T26" fmla="*/ 27 w 37"/>
                <a:gd name="T27" fmla="*/ 1 h 37"/>
                <a:gd name="T28" fmla="*/ 30 w 37"/>
                <a:gd name="T29" fmla="*/ 3 h 37"/>
                <a:gd name="T30" fmla="*/ 31 w 37"/>
                <a:gd name="T31" fmla="*/ 8 h 37"/>
                <a:gd name="T32" fmla="*/ 30 w 37"/>
                <a:gd name="T33" fmla="*/ 13 h 37"/>
                <a:gd name="T34" fmla="*/ 23 w 37"/>
                <a:gd name="T35" fmla="*/ 17 h 37"/>
                <a:gd name="T36" fmla="*/ 29 w 37"/>
                <a:gd name="T37" fmla="*/ 26 h 37"/>
                <a:gd name="T38" fmla="*/ 33 w 37"/>
                <a:gd name="T39" fmla="*/ 33 h 37"/>
                <a:gd name="T40" fmla="*/ 35 w 37"/>
                <a:gd name="T41" fmla="*/ 34 h 37"/>
                <a:gd name="T42" fmla="*/ 37 w 37"/>
                <a:gd name="T43" fmla="*/ 35 h 37"/>
                <a:gd name="T44" fmla="*/ 37 w 37"/>
                <a:gd name="T45" fmla="*/ 37 h 37"/>
                <a:gd name="T46" fmla="*/ 35 w 37"/>
                <a:gd name="T47" fmla="*/ 37 h 37"/>
                <a:gd name="T48" fmla="*/ 27 w 37"/>
                <a:gd name="T49" fmla="*/ 37 h 37"/>
                <a:gd name="T50" fmla="*/ 20 w 37"/>
                <a:gd name="T51" fmla="*/ 26 h 37"/>
                <a:gd name="T52" fmla="*/ 14 w 37"/>
                <a:gd name="T53" fmla="*/ 18 h 37"/>
                <a:gd name="T54" fmla="*/ 15 w 37"/>
                <a:gd name="T55" fmla="*/ 17 h 37"/>
                <a:gd name="T56" fmla="*/ 16 w 37"/>
                <a:gd name="T57" fmla="*/ 17 h 37"/>
                <a:gd name="T58" fmla="*/ 21 w 37"/>
                <a:gd name="T59" fmla="*/ 15 h 37"/>
                <a:gd name="T60" fmla="*/ 24 w 37"/>
                <a:gd name="T61" fmla="*/ 9 h 37"/>
                <a:gd name="T62" fmla="*/ 22 w 37"/>
                <a:gd name="T63" fmla="*/ 4 h 37"/>
                <a:gd name="T64" fmla="*/ 16 w 37"/>
                <a:gd name="T65" fmla="*/ 3 h 37"/>
                <a:gd name="T66" fmla="*/ 13 w 37"/>
                <a:gd name="T67" fmla="*/ 3 h 37"/>
                <a:gd name="T68" fmla="*/ 13 w 37"/>
                <a:gd name="T69" fmla="*/ 11 h 37"/>
                <a:gd name="T70" fmla="*/ 12 w 37"/>
                <a:gd name="T71" fmla="*/ 21 h 37"/>
                <a:gd name="T72" fmla="*/ 13 w 37"/>
                <a:gd name="T73" fmla="*/ 29 h 37"/>
                <a:gd name="T74" fmla="*/ 13 w 37"/>
                <a:gd name="T75" fmla="*/ 34 h 37"/>
                <a:gd name="T76" fmla="*/ 14 w 37"/>
                <a:gd name="T77" fmla="*/ 34 h 37"/>
                <a:gd name="T78" fmla="*/ 17 w 37"/>
                <a:gd name="T79" fmla="*/ 35 h 37"/>
                <a:gd name="T80" fmla="*/ 17 w 37"/>
                <a:gd name="T81" fmla="*/ 37 h 37"/>
                <a:gd name="T82" fmla="*/ 9 w 37"/>
                <a:gd name="T83" fmla="*/ 37 h 37"/>
                <a:gd name="T84" fmla="*/ 0 w 37"/>
                <a:gd name="T8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7" h="37">
                  <a:moveTo>
                    <a:pt x="0" y="37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2" y="35"/>
                    <a:pt x="4" y="35"/>
                    <a:pt x="4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3"/>
                    <a:pt x="5" y="32"/>
                    <a:pt x="5" y="30"/>
                  </a:cubicBezTo>
                  <a:cubicBezTo>
                    <a:pt x="5" y="26"/>
                    <a:pt x="5" y="23"/>
                    <a:pt x="5" y="21"/>
                  </a:cubicBezTo>
                  <a:cubicBezTo>
                    <a:pt x="5" y="18"/>
                    <a:pt x="5" y="14"/>
                    <a:pt x="5" y="9"/>
                  </a:cubicBezTo>
                  <a:cubicBezTo>
                    <a:pt x="5" y="6"/>
                    <a:pt x="4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6" y="0"/>
                    <a:pt x="7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4" y="0"/>
                    <a:pt x="26" y="0"/>
                    <a:pt x="27" y="1"/>
                  </a:cubicBezTo>
                  <a:cubicBezTo>
                    <a:pt x="28" y="1"/>
                    <a:pt x="29" y="2"/>
                    <a:pt x="30" y="3"/>
                  </a:cubicBezTo>
                  <a:cubicBezTo>
                    <a:pt x="31" y="4"/>
                    <a:pt x="31" y="6"/>
                    <a:pt x="31" y="8"/>
                  </a:cubicBezTo>
                  <a:cubicBezTo>
                    <a:pt x="31" y="10"/>
                    <a:pt x="31" y="12"/>
                    <a:pt x="30" y="13"/>
                  </a:cubicBezTo>
                  <a:cubicBezTo>
                    <a:pt x="28" y="15"/>
                    <a:pt x="26" y="16"/>
                    <a:pt x="23" y="17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4"/>
                    <a:pt x="35" y="34"/>
                    <a:pt x="35" y="34"/>
                  </a:cubicBezTo>
                  <a:cubicBezTo>
                    <a:pt x="35" y="35"/>
                    <a:pt x="36" y="35"/>
                    <a:pt x="37" y="35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5" y="37"/>
                    <a:pt x="35" y="37"/>
                    <a:pt x="35" y="37"/>
                  </a:cubicBezTo>
                  <a:cubicBezTo>
                    <a:pt x="31" y="37"/>
                    <a:pt x="28" y="37"/>
                    <a:pt x="27" y="37"/>
                  </a:cubicBezTo>
                  <a:cubicBezTo>
                    <a:pt x="25" y="35"/>
                    <a:pt x="23" y="31"/>
                    <a:pt x="20" y="2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5" y="17"/>
                    <a:pt x="15" y="17"/>
                  </a:cubicBezTo>
                  <a:cubicBezTo>
                    <a:pt x="15" y="17"/>
                    <a:pt x="16" y="17"/>
                    <a:pt x="16" y="17"/>
                  </a:cubicBezTo>
                  <a:cubicBezTo>
                    <a:pt x="18" y="17"/>
                    <a:pt x="20" y="17"/>
                    <a:pt x="21" y="15"/>
                  </a:cubicBezTo>
                  <a:cubicBezTo>
                    <a:pt x="23" y="14"/>
                    <a:pt x="24" y="12"/>
                    <a:pt x="24" y="9"/>
                  </a:cubicBezTo>
                  <a:cubicBezTo>
                    <a:pt x="24" y="7"/>
                    <a:pt x="23" y="6"/>
                    <a:pt x="22" y="4"/>
                  </a:cubicBezTo>
                  <a:cubicBezTo>
                    <a:pt x="20" y="3"/>
                    <a:pt x="19" y="3"/>
                    <a:pt x="16" y="3"/>
                  </a:cubicBezTo>
                  <a:cubicBezTo>
                    <a:pt x="15" y="3"/>
                    <a:pt x="14" y="3"/>
                    <a:pt x="13" y="3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3"/>
                    <a:pt x="12" y="26"/>
                    <a:pt x="13" y="29"/>
                  </a:cubicBezTo>
                  <a:cubicBezTo>
                    <a:pt x="13" y="32"/>
                    <a:pt x="13" y="33"/>
                    <a:pt x="13" y="34"/>
                  </a:cubicBezTo>
                  <a:cubicBezTo>
                    <a:pt x="13" y="34"/>
                    <a:pt x="13" y="34"/>
                    <a:pt x="14" y="34"/>
                  </a:cubicBezTo>
                  <a:cubicBezTo>
                    <a:pt x="14" y="35"/>
                    <a:pt x="15" y="35"/>
                    <a:pt x="17" y="35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4" y="37"/>
                    <a:pt x="11" y="37"/>
                    <a:pt x="9" y="37"/>
                  </a:cubicBezTo>
                  <a:cubicBezTo>
                    <a:pt x="6" y="37"/>
                    <a:pt x="3" y="37"/>
                    <a:pt x="0" y="37"/>
                  </a:cubicBezTo>
                  <a:close/>
                </a:path>
              </a:pathLst>
            </a:custGeom>
            <a:solidFill>
              <a:srgbClr val="A314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8" name="Freeform 10598"/>
            <p:cNvSpPr>
              <a:spLocks/>
            </p:cNvSpPr>
            <p:nvPr/>
          </p:nvSpPr>
          <p:spPr bwMode="auto">
            <a:xfrm>
              <a:off x="3671353" y="6203943"/>
              <a:ext cx="90998" cy="190461"/>
            </a:xfrm>
            <a:custGeom>
              <a:avLst/>
              <a:gdLst>
                <a:gd name="T0" fmla="*/ 0 w 18"/>
                <a:gd name="T1" fmla="*/ 37 h 37"/>
                <a:gd name="T2" fmla="*/ 0 w 18"/>
                <a:gd name="T3" fmla="*/ 35 h 37"/>
                <a:gd name="T4" fmla="*/ 4 w 18"/>
                <a:gd name="T5" fmla="*/ 34 h 37"/>
                <a:gd name="T6" fmla="*/ 5 w 18"/>
                <a:gd name="T7" fmla="*/ 32 h 37"/>
                <a:gd name="T8" fmla="*/ 5 w 18"/>
                <a:gd name="T9" fmla="*/ 19 h 37"/>
                <a:gd name="T10" fmla="*/ 5 w 18"/>
                <a:gd name="T11" fmla="*/ 8 h 37"/>
                <a:gd name="T12" fmla="*/ 5 w 18"/>
                <a:gd name="T13" fmla="*/ 3 h 37"/>
                <a:gd name="T14" fmla="*/ 4 w 18"/>
                <a:gd name="T15" fmla="*/ 2 h 37"/>
                <a:gd name="T16" fmla="*/ 0 w 18"/>
                <a:gd name="T17" fmla="*/ 2 h 37"/>
                <a:gd name="T18" fmla="*/ 0 w 18"/>
                <a:gd name="T19" fmla="*/ 0 h 37"/>
                <a:gd name="T20" fmla="*/ 8 w 18"/>
                <a:gd name="T21" fmla="*/ 0 h 37"/>
                <a:gd name="T22" fmla="*/ 18 w 18"/>
                <a:gd name="T23" fmla="*/ 0 h 37"/>
                <a:gd name="T24" fmla="*/ 18 w 18"/>
                <a:gd name="T25" fmla="*/ 2 h 37"/>
                <a:gd name="T26" fmla="*/ 13 w 18"/>
                <a:gd name="T27" fmla="*/ 3 h 37"/>
                <a:gd name="T28" fmla="*/ 13 w 18"/>
                <a:gd name="T29" fmla="*/ 4 h 37"/>
                <a:gd name="T30" fmla="*/ 13 w 18"/>
                <a:gd name="T31" fmla="*/ 15 h 37"/>
                <a:gd name="T32" fmla="*/ 13 w 18"/>
                <a:gd name="T33" fmla="*/ 29 h 37"/>
                <a:gd name="T34" fmla="*/ 13 w 18"/>
                <a:gd name="T35" fmla="*/ 34 h 37"/>
                <a:gd name="T36" fmla="*/ 14 w 18"/>
                <a:gd name="T37" fmla="*/ 34 h 37"/>
                <a:gd name="T38" fmla="*/ 18 w 18"/>
                <a:gd name="T39" fmla="*/ 35 h 37"/>
                <a:gd name="T40" fmla="*/ 18 w 18"/>
                <a:gd name="T41" fmla="*/ 37 h 37"/>
                <a:gd name="T42" fmla="*/ 14 w 18"/>
                <a:gd name="T43" fmla="*/ 37 h 37"/>
                <a:gd name="T44" fmla="*/ 9 w 18"/>
                <a:gd name="T45" fmla="*/ 37 h 37"/>
                <a:gd name="T46" fmla="*/ 0 w 18"/>
                <a:gd name="T4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37">
                  <a:moveTo>
                    <a:pt x="0" y="37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3" y="35"/>
                    <a:pt x="4" y="35"/>
                    <a:pt x="4" y="34"/>
                  </a:cubicBezTo>
                  <a:cubicBezTo>
                    <a:pt x="5" y="34"/>
                    <a:pt x="5" y="33"/>
                    <a:pt x="5" y="32"/>
                  </a:cubicBezTo>
                  <a:cubicBezTo>
                    <a:pt x="5" y="30"/>
                    <a:pt x="5" y="25"/>
                    <a:pt x="5" y="19"/>
                  </a:cubicBezTo>
                  <a:cubicBezTo>
                    <a:pt x="5" y="17"/>
                    <a:pt x="5" y="13"/>
                    <a:pt x="5" y="8"/>
                  </a:cubicBezTo>
                  <a:cubicBezTo>
                    <a:pt x="5" y="5"/>
                    <a:pt x="5" y="3"/>
                    <a:pt x="5" y="3"/>
                  </a:cubicBezTo>
                  <a:cubicBezTo>
                    <a:pt x="5" y="3"/>
                    <a:pt x="4" y="3"/>
                    <a:pt x="4" y="2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12" y="0"/>
                    <a:pt x="15" y="0"/>
                    <a:pt x="18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5" y="2"/>
                    <a:pt x="14" y="2"/>
                    <a:pt x="13" y="3"/>
                  </a:cubicBezTo>
                  <a:cubicBezTo>
                    <a:pt x="13" y="3"/>
                    <a:pt x="13" y="3"/>
                    <a:pt x="13" y="4"/>
                  </a:cubicBezTo>
                  <a:cubicBezTo>
                    <a:pt x="13" y="6"/>
                    <a:pt x="13" y="9"/>
                    <a:pt x="13" y="15"/>
                  </a:cubicBezTo>
                  <a:cubicBezTo>
                    <a:pt x="13" y="21"/>
                    <a:pt x="13" y="26"/>
                    <a:pt x="13" y="29"/>
                  </a:cubicBezTo>
                  <a:cubicBezTo>
                    <a:pt x="13" y="32"/>
                    <a:pt x="13" y="33"/>
                    <a:pt x="13" y="34"/>
                  </a:cubicBezTo>
                  <a:cubicBezTo>
                    <a:pt x="13" y="34"/>
                    <a:pt x="13" y="34"/>
                    <a:pt x="14" y="34"/>
                  </a:cubicBezTo>
                  <a:cubicBezTo>
                    <a:pt x="14" y="35"/>
                    <a:pt x="15" y="35"/>
                    <a:pt x="18" y="35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2" y="37"/>
                    <a:pt x="11" y="37"/>
                    <a:pt x="9" y="37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A314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19" name="Freeform 10599"/>
            <p:cNvSpPr>
              <a:spLocks noEditPoints="1"/>
            </p:cNvSpPr>
            <p:nvPr/>
          </p:nvSpPr>
          <p:spPr bwMode="auto">
            <a:xfrm>
              <a:off x="3770816" y="6203943"/>
              <a:ext cx="211623" cy="190461"/>
            </a:xfrm>
            <a:custGeom>
              <a:avLst/>
              <a:gdLst>
                <a:gd name="T0" fmla="*/ 2 w 42"/>
                <a:gd name="T1" fmla="*/ 37 h 37"/>
                <a:gd name="T2" fmla="*/ 2 w 42"/>
                <a:gd name="T3" fmla="*/ 36 h 37"/>
                <a:gd name="T4" fmla="*/ 5 w 42"/>
                <a:gd name="T5" fmla="*/ 34 h 37"/>
                <a:gd name="T6" fmla="*/ 5 w 42"/>
                <a:gd name="T7" fmla="*/ 17 h 37"/>
                <a:gd name="T8" fmla="*/ 5 w 42"/>
                <a:gd name="T9" fmla="*/ 7 h 37"/>
                <a:gd name="T10" fmla="*/ 4 w 42"/>
                <a:gd name="T11" fmla="*/ 3 h 37"/>
                <a:gd name="T12" fmla="*/ 4 w 42"/>
                <a:gd name="T13" fmla="*/ 3 h 37"/>
                <a:gd name="T14" fmla="*/ 0 w 42"/>
                <a:gd name="T15" fmla="*/ 2 h 37"/>
                <a:gd name="T16" fmla="*/ 0 w 42"/>
                <a:gd name="T17" fmla="*/ 0 h 37"/>
                <a:gd name="T18" fmla="*/ 9 w 42"/>
                <a:gd name="T19" fmla="*/ 0 h 37"/>
                <a:gd name="T20" fmla="*/ 23 w 42"/>
                <a:gd name="T21" fmla="*/ 0 h 37"/>
                <a:gd name="T22" fmla="*/ 33 w 42"/>
                <a:gd name="T23" fmla="*/ 2 h 37"/>
                <a:gd name="T24" fmla="*/ 39 w 42"/>
                <a:gd name="T25" fmla="*/ 7 h 37"/>
                <a:gd name="T26" fmla="*/ 42 w 42"/>
                <a:gd name="T27" fmla="*/ 16 h 37"/>
                <a:gd name="T28" fmla="*/ 38 w 42"/>
                <a:gd name="T29" fmla="*/ 28 h 37"/>
                <a:gd name="T30" fmla="*/ 30 w 42"/>
                <a:gd name="T31" fmla="*/ 35 h 37"/>
                <a:gd name="T32" fmla="*/ 19 w 42"/>
                <a:gd name="T33" fmla="*/ 37 h 37"/>
                <a:gd name="T34" fmla="*/ 9 w 42"/>
                <a:gd name="T35" fmla="*/ 37 h 37"/>
                <a:gd name="T36" fmla="*/ 2 w 42"/>
                <a:gd name="T37" fmla="*/ 37 h 37"/>
                <a:gd name="T38" fmla="*/ 13 w 42"/>
                <a:gd name="T39" fmla="*/ 34 h 37"/>
                <a:gd name="T40" fmla="*/ 17 w 42"/>
                <a:gd name="T41" fmla="*/ 34 h 37"/>
                <a:gd name="T42" fmla="*/ 26 w 42"/>
                <a:gd name="T43" fmla="*/ 32 h 37"/>
                <a:gd name="T44" fmla="*/ 31 w 42"/>
                <a:gd name="T45" fmla="*/ 27 h 37"/>
                <a:gd name="T46" fmla="*/ 33 w 42"/>
                <a:gd name="T47" fmla="*/ 17 h 37"/>
                <a:gd name="T48" fmla="*/ 29 w 42"/>
                <a:gd name="T49" fmla="*/ 6 h 37"/>
                <a:gd name="T50" fmla="*/ 18 w 42"/>
                <a:gd name="T51" fmla="*/ 3 h 37"/>
                <a:gd name="T52" fmla="*/ 13 w 42"/>
                <a:gd name="T53" fmla="*/ 3 h 37"/>
                <a:gd name="T54" fmla="*/ 12 w 42"/>
                <a:gd name="T55" fmla="*/ 19 h 37"/>
                <a:gd name="T56" fmla="*/ 13 w 42"/>
                <a:gd name="T5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" h="37">
                  <a:moveTo>
                    <a:pt x="2" y="37"/>
                  </a:moveTo>
                  <a:cubicBezTo>
                    <a:pt x="2" y="36"/>
                    <a:pt x="2" y="36"/>
                    <a:pt x="2" y="36"/>
                  </a:cubicBezTo>
                  <a:cubicBezTo>
                    <a:pt x="3" y="35"/>
                    <a:pt x="4" y="34"/>
                    <a:pt x="5" y="34"/>
                  </a:cubicBezTo>
                  <a:cubicBezTo>
                    <a:pt x="5" y="31"/>
                    <a:pt x="5" y="25"/>
                    <a:pt x="5" y="17"/>
                  </a:cubicBezTo>
                  <a:cubicBezTo>
                    <a:pt x="5" y="13"/>
                    <a:pt x="5" y="10"/>
                    <a:pt x="5" y="7"/>
                  </a:cubicBezTo>
                  <a:cubicBezTo>
                    <a:pt x="5" y="5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2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6" y="0"/>
                    <a:pt x="9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7" y="0"/>
                    <a:pt x="31" y="0"/>
                    <a:pt x="33" y="2"/>
                  </a:cubicBezTo>
                  <a:cubicBezTo>
                    <a:pt x="36" y="3"/>
                    <a:pt x="38" y="5"/>
                    <a:pt x="39" y="7"/>
                  </a:cubicBezTo>
                  <a:cubicBezTo>
                    <a:pt x="41" y="10"/>
                    <a:pt x="42" y="13"/>
                    <a:pt x="42" y="16"/>
                  </a:cubicBezTo>
                  <a:cubicBezTo>
                    <a:pt x="42" y="21"/>
                    <a:pt x="40" y="25"/>
                    <a:pt x="38" y="28"/>
                  </a:cubicBezTo>
                  <a:cubicBezTo>
                    <a:pt x="36" y="31"/>
                    <a:pt x="33" y="34"/>
                    <a:pt x="30" y="35"/>
                  </a:cubicBezTo>
                  <a:cubicBezTo>
                    <a:pt x="27" y="36"/>
                    <a:pt x="23" y="37"/>
                    <a:pt x="1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8" y="37"/>
                    <a:pt x="5" y="37"/>
                    <a:pt x="2" y="37"/>
                  </a:cubicBezTo>
                  <a:close/>
                  <a:moveTo>
                    <a:pt x="13" y="34"/>
                  </a:moveTo>
                  <a:cubicBezTo>
                    <a:pt x="14" y="34"/>
                    <a:pt x="16" y="34"/>
                    <a:pt x="17" y="34"/>
                  </a:cubicBezTo>
                  <a:cubicBezTo>
                    <a:pt x="21" y="34"/>
                    <a:pt x="24" y="34"/>
                    <a:pt x="26" y="32"/>
                  </a:cubicBezTo>
                  <a:cubicBezTo>
                    <a:pt x="28" y="31"/>
                    <a:pt x="30" y="29"/>
                    <a:pt x="31" y="27"/>
                  </a:cubicBezTo>
                  <a:cubicBezTo>
                    <a:pt x="33" y="24"/>
                    <a:pt x="33" y="21"/>
                    <a:pt x="33" y="17"/>
                  </a:cubicBezTo>
                  <a:cubicBezTo>
                    <a:pt x="33" y="12"/>
                    <a:pt x="32" y="9"/>
                    <a:pt x="29" y="6"/>
                  </a:cubicBezTo>
                  <a:cubicBezTo>
                    <a:pt x="27" y="4"/>
                    <a:pt x="24" y="3"/>
                    <a:pt x="18" y="3"/>
                  </a:cubicBezTo>
                  <a:cubicBezTo>
                    <a:pt x="17" y="3"/>
                    <a:pt x="15" y="3"/>
                    <a:pt x="13" y="3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6"/>
                    <a:pt x="13" y="31"/>
                    <a:pt x="13" y="34"/>
                  </a:cubicBezTo>
                  <a:close/>
                </a:path>
              </a:pathLst>
            </a:custGeom>
            <a:solidFill>
              <a:srgbClr val="A314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0" name="Freeform 10600"/>
            <p:cNvSpPr>
              <a:spLocks noEditPoints="1"/>
            </p:cNvSpPr>
            <p:nvPr/>
          </p:nvSpPr>
          <p:spPr bwMode="auto">
            <a:xfrm>
              <a:off x="3971858" y="6197595"/>
              <a:ext cx="198926" cy="196810"/>
            </a:xfrm>
            <a:custGeom>
              <a:avLst/>
              <a:gdLst>
                <a:gd name="T0" fmla="*/ 0 w 40"/>
                <a:gd name="T1" fmla="*/ 36 h 38"/>
                <a:gd name="T2" fmla="*/ 3 w 40"/>
                <a:gd name="T3" fmla="*/ 35 h 38"/>
                <a:gd name="T4" fmla="*/ 4 w 40"/>
                <a:gd name="T5" fmla="*/ 33 h 38"/>
                <a:gd name="T6" fmla="*/ 8 w 40"/>
                <a:gd name="T7" fmla="*/ 24 h 38"/>
                <a:gd name="T8" fmla="*/ 18 w 40"/>
                <a:gd name="T9" fmla="*/ 0 h 38"/>
                <a:gd name="T10" fmla="*/ 21 w 40"/>
                <a:gd name="T11" fmla="*/ 0 h 38"/>
                <a:gd name="T12" fmla="*/ 34 w 40"/>
                <a:gd name="T13" fmla="*/ 29 h 38"/>
                <a:gd name="T14" fmla="*/ 36 w 40"/>
                <a:gd name="T15" fmla="*/ 35 h 38"/>
                <a:gd name="T16" fmla="*/ 40 w 40"/>
                <a:gd name="T17" fmla="*/ 36 h 38"/>
                <a:gd name="T18" fmla="*/ 40 w 40"/>
                <a:gd name="T19" fmla="*/ 38 h 38"/>
                <a:gd name="T20" fmla="*/ 32 w 40"/>
                <a:gd name="T21" fmla="*/ 38 h 38"/>
                <a:gd name="T22" fmla="*/ 23 w 40"/>
                <a:gd name="T23" fmla="*/ 38 h 38"/>
                <a:gd name="T24" fmla="*/ 23 w 40"/>
                <a:gd name="T25" fmla="*/ 36 h 38"/>
                <a:gd name="T26" fmla="*/ 26 w 40"/>
                <a:gd name="T27" fmla="*/ 35 h 38"/>
                <a:gd name="T28" fmla="*/ 27 w 40"/>
                <a:gd name="T29" fmla="*/ 35 h 38"/>
                <a:gd name="T30" fmla="*/ 26 w 40"/>
                <a:gd name="T31" fmla="*/ 31 h 38"/>
                <a:gd name="T32" fmla="*/ 24 w 40"/>
                <a:gd name="T33" fmla="*/ 27 h 38"/>
                <a:gd name="T34" fmla="*/ 17 w 40"/>
                <a:gd name="T35" fmla="*/ 27 h 38"/>
                <a:gd name="T36" fmla="*/ 10 w 40"/>
                <a:gd name="T37" fmla="*/ 27 h 38"/>
                <a:gd name="T38" fmla="*/ 9 w 40"/>
                <a:gd name="T39" fmla="*/ 30 h 38"/>
                <a:gd name="T40" fmla="*/ 8 w 40"/>
                <a:gd name="T41" fmla="*/ 33 h 38"/>
                <a:gd name="T42" fmla="*/ 8 w 40"/>
                <a:gd name="T43" fmla="*/ 34 h 38"/>
                <a:gd name="T44" fmla="*/ 8 w 40"/>
                <a:gd name="T45" fmla="*/ 35 h 38"/>
                <a:gd name="T46" fmla="*/ 12 w 40"/>
                <a:gd name="T47" fmla="*/ 36 h 38"/>
                <a:gd name="T48" fmla="*/ 12 w 40"/>
                <a:gd name="T49" fmla="*/ 38 h 38"/>
                <a:gd name="T50" fmla="*/ 6 w 40"/>
                <a:gd name="T51" fmla="*/ 38 h 38"/>
                <a:gd name="T52" fmla="*/ 0 w 40"/>
                <a:gd name="T53" fmla="*/ 38 h 38"/>
                <a:gd name="T54" fmla="*/ 0 w 40"/>
                <a:gd name="T55" fmla="*/ 36 h 38"/>
                <a:gd name="T56" fmla="*/ 17 w 40"/>
                <a:gd name="T57" fmla="*/ 10 h 38"/>
                <a:gd name="T58" fmla="*/ 11 w 40"/>
                <a:gd name="T59" fmla="*/ 24 h 38"/>
                <a:gd name="T60" fmla="*/ 17 w 40"/>
                <a:gd name="T61" fmla="*/ 24 h 38"/>
                <a:gd name="T62" fmla="*/ 23 w 40"/>
                <a:gd name="T63" fmla="*/ 24 h 38"/>
                <a:gd name="T64" fmla="*/ 17 w 40"/>
                <a:gd name="T65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" h="38">
                  <a:moveTo>
                    <a:pt x="0" y="36"/>
                  </a:moveTo>
                  <a:cubicBezTo>
                    <a:pt x="1" y="36"/>
                    <a:pt x="2" y="35"/>
                    <a:pt x="3" y="35"/>
                  </a:cubicBezTo>
                  <a:cubicBezTo>
                    <a:pt x="3" y="35"/>
                    <a:pt x="3" y="34"/>
                    <a:pt x="4" y="33"/>
                  </a:cubicBezTo>
                  <a:cubicBezTo>
                    <a:pt x="5" y="31"/>
                    <a:pt x="6" y="28"/>
                    <a:pt x="8" y="24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33"/>
                    <a:pt x="36" y="35"/>
                    <a:pt x="36" y="35"/>
                  </a:cubicBezTo>
                  <a:cubicBezTo>
                    <a:pt x="37" y="35"/>
                    <a:pt x="38" y="36"/>
                    <a:pt x="40" y="36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37" y="38"/>
                    <a:pt x="34" y="38"/>
                    <a:pt x="32" y="38"/>
                  </a:cubicBezTo>
                  <a:cubicBezTo>
                    <a:pt x="29" y="38"/>
                    <a:pt x="26" y="38"/>
                    <a:pt x="23" y="38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5" y="36"/>
                    <a:pt x="26" y="35"/>
                    <a:pt x="26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7" y="34"/>
                    <a:pt x="27" y="33"/>
                    <a:pt x="26" y="31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2" y="27"/>
                    <a:pt x="19" y="27"/>
                    <a:pt x="17" y="27"/>
                  </a:cubicBezTo>
                  <a:cubicBezTo>
                    <a:pt x="14" y="27"/>
                    <a:pt x="12" y="27"/>
                    <a:pt x="10" y="27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8" y="32"/>
                    <a:pt x="8" y="33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10" y="35"/>
                    <a:pt x="12" y="36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0" y="38"/>
                    <a:pt x="8" y="38"/>
                    <a:pt x="6" y="38"/>
                  </a:cubicBezTo>
                  <a:cubicBezTo>
                    <a:pt x="3" y="38"/>
                    <a:pt x="1" y="38"/>
                    <a:pt x="0" y="38"/>
                  </a:cubicBezTo>
                  <a:lnTo>
                    <a:pt x="0" y="36"/>
                  </a:lnTo>
                  <a:close/>
                  <a:moveTo>
                    <a:pt x="17" y="10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13" y="24"/>
                    <a:pt x="15" y="24"/>
                    <a:pt x="17" y="24"/>
                  </a:cubicBezTo>
                  <a:cubicBezTo>
                    <a:pt x="19" y="24"/>
                    <a:pt x="21" y="24"/>
                    <a:pt x="23" y="24"/>
                  </a:cubicBezTo>
                  <a:lnTo>
                    <a:pt x="17" y="10"/>
                  </a:lnTo>
                  <a:close/>
                </a:path>
              </a:pathLst>
            </a:custGeom>
            <a:solidFill>
              <a:srgbClr val="A314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1" name="Freeform 10601"/>
            <p:cNvSpPr>
              <a:spLocks/>
            </p:cNvSpPr>
            <p:nvPr/>
          </p:nvSpPr>
          <p:spPr bwMode="auto">
            <a:xfrm>
              <a:off x="4147505" y="6197595"/>
              <a:ext cx="179880" cy="196810"/>
            </a:xfrm>
            <a:custGeom>
              <a:avLst/>
              <a:gdLst>
                <a:gd name="T0" fmla="*/ 11 w 36"/>
                <a:gd name="T1" fmla="*/ 38 h 38"/>
                <a:gd name="T2" fmla="*/ 11 w 36"/>
                <a:gd name="T3" fmla="*/ 36 h 38"/>
                <a:gd name="T4" fmla="*/ 15 w 36"/>
                <a:gd name="T5" fmla="*/ 35 h 38"/>
                <a:gd name="T6" fmla="*/ 15 w 36"/>
                <a:gd name="T7" fmla="*/ 34 h 38"/>
                <a:gd name="T8" fmla="*/ 16 w 36"/>
                <a:gd name="T9" fmla="*/ 29 h 38"/>
                <a:gd name="T10" fmla="*/ 16 w 36"/>
                <a:gd name="T11" fmla="*/ 27 h 38"/>
                <a:gd name="T12" fmla="*/ 15 w 36"/>
                <a:gd name="T13" fmla="*/ 23 h 38"/>
                <a:gd name="T14" fmla="*/ 11 w 36"/>
                <a:gd name="T15" fmla="*/ 15 h 38"/>
                <a:gd name="T16" fmla="*/ 6 w 36"/>
                <a:gd name="T17" fmla="*/ 7 h 38"/>
                <a:gd name="T18" fmla="*/ 3 w 36"/>
                <a:gd name="T19" fmla="*/ 4 h 38"/>
                <a:gd name="T20" fmla="*/ 1 w 36"/>
                <a:gd name="T21" fmla="*/ 4 h 38"/>
                <a:gd name="T22" fmla="*/ 0 w 36"/>
                <a:gd name="T23" fmla="*/ 4 h 38"/>
                <a:gd name="T24" fmla="*/ 0 w 36"/>
                <a:gd name="T25" fmla="*/ 2 h 38"/>
                <a:gd name="T26" fmla="*/ 9 w 36"/>
                <a:gd name="T27" fmla="*/ 0 h 38"/>
                <a:gd name="T28" fmla="*/ 11 w 36"/>
                <a:gd name="T29" fmla="*/ 2 h 38"/>
                <a:gd name="T30" fmla="*/ 15 w 36"/>
                <a:gd name="T31" fmla="*/ 7 h 38"/>
                <a:gd name="T32" fmla="*/ 21 w 36"/>
                <a:gd name="T33" fmla="*/ 18 h 38"/>
                <a:gd name="T34" fmla="*/ 23 w 36"/>
                <a:gd name="T35" fmla="*/ 15 h 38"/>
                <a:gd name="T36" fmla="*/ 31 w 36"/>
                <a:gd name="T37" fmla="*/ 1 h 38"/>
                <a:gd name="T38" fmla="*/ 36 w 36"/>
                <a:gd name="T39" fmla="*/ 1 h 38"/>
                <a:gd name="T40" fmla="*/ 36 w 36"/>
                <a:gd name="T41" fmla="*/ 2 h 38"/>
                <a:gd name="T42" fmla="*/ 30 w 36"/>
                <a:gd name="T43" fmla="*/ 10 h 38"/>
                <a:gd name="T44" fmla="*/ 24 w 36"/>
                <a:gd name="T45" fmla="*/ 21 h 38"/>
                <a:gd name="T46" fmla="*/ 23 w 36"/>
                <a:gd name="T47" fmla="*/ 25 h 38"/>
                <a:gd name="T48" fmla="*/ 23 w 36"/>
                <a:gd name="T49" fmla="*/ 34 h 38"/>
                <a:gd name="T50" fmla="*/ 24 w 36"/>
                <a:gd name="T51" fmla="*/ 35 h 38"/>
                <a:gd name="T52" fmla="*/ 28 w 36"/>
                <a:gd name="T53" fmla="*/ 36 h 38"/>
                <a:gd name="T54" fmla="*/ 28 w 36"/>
                <a:gd name="T55" fmla="*/ 38 h 38"/>
                <a:gd name="T56" fmla="*/ 20 w 36"/>
                <a:gd name="T57" fmla="*/ 38 h 38"/>
                <a:gd name="T58" fmla="*/ 11 w 36"/>
                <a:gd name="T5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6" h="38">
                  <a:moveTo>
                    <a:pt x="11" y="38"/>
                  </a:moveTo>
                  <a:cubicBezTo>
                    <a:pt x="11" y="36"/>
                    <a:pt x="11" y="36"/>
                    <a:pt x="11" y="36"/>
                  </a:cubicBezTo>
                  <a:cubicBezTo>
                    <a:pt x="13" y="36"/>
                    <a:pt x="14" y="36"/>
                    <a:pt x="15" y="35"/>
                  </a:cubicBezTo>
                  <a:cubicBezTo>
                    <a:pt x="15" y="35"/>
                    <a:pt x="15" y="35"/>
                    <a:pt x="15" y="34"/>
                  </a:cubicBezTo>
                  <a:cubicBezTo>
                    <a:pt x="15" y="34"/>
                    <a:pt x="15" y="32"/>
                    <a:pt x="16" y="29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5"/>
                    <a:pt x="16" y="23"/>
                    <a:pt x="15" y="23"/>
                  </a:cubicBezTo>
                  <a:cubicBezTo>
                    <a:pt x="15" y="22"/>
                    <a:pt x="14" y="19"/>
                    <a:pt x="11" y="15"/>
                  </a:cubicBezTo>
                  <a:cubicBezTo>
                    <a:pt x="9" y="12"/>
                    <a:pt x="7" y="9"/>
                    <a:pt x="6" y="7"/>
                  </a:cubicBezTo>
                  <a:cubicBezTo>
                    <a:pt x="5" y="6"/>
                    <a:pt x="4" y="5"/>
                    <a:pt x="3" y="4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1"/>
                    <a:pt x="6" y="1"/>
                    <a:pt x="9" y="0"/>
                  </a:cubicBezTo>
                  <a:cubicBezTo>
                    <a:pt x="10" y="1"/>
                    <a:pt x="11" y="1"/>
                    <a:pt x="11" y="2"/>
                  </a:cubicBezTo>
                  <a:cubicBezTo>
                    <a:pt x="12" y="3"/>
                    <a:pt x="13" y="4"/>
                    <a:pt x="15" y="7"/>
                  </a:cubicBezTo>
                  <a:cubicBezTo>
                    <a:pt x="17" y="10"/>
                    <a:pt x="19" y="13"/>
                    <a:pt x="21" y="18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5" y="11"/>
                    <a:pt x="28" y="7"/>
                    <a:pt x="31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5" y="3"/>
                    <a:pt x="33" y="6"/>
                    <a:pt x="30" y="10"/>
                  </a:cubicBezTo>
                  <a:cubicBezTo>
                    <a:pt x="26" y="16"/>
                    <a:pt x="24" y="20"/>
                    <a:pt x="24" y="21"/>
                  </a:cubicBezTo>
                  <a:cubicBezTo>
                    <a:pt x="23" y="21"/>
                    <a:pt x="23" y="23"/>
                    <a:pt x="23" y="25"/>
                  </a:cubicBezTo>
                  <a:cubicBezTo>
                    <a:pt x="23" y="29"/>
                    <a:pt x="23" y="32"/>
                    <a:pt x="23" y="34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5" y="36"/>
                    <a:pt x="26" y="36"/>
                    <a:pt x="28" y="36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38"/>
                    <a:pt x="23" y="38"/>
                    <a:pt x="20" y="38"/>
                  </a:cubicBezTo>
                  <a:cubicBezTo>
                    <a:pt x="17" y="38"/>
                    <a:pt x="14" y="38"/>
                    <a:pt x="11" y="38"/>
                  </a:cubicBezTo>
                  <a:close/>
                </a:path>
              </a:pathLst>
            </a:custGeom>
            <a:solidFill>
              <a:srgbClr val="A314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2" name="Freeform 10602"/>
            <p:cNvSpPr>
              <a:spLocks noEditPoints="1"/>
            </p:cNvSpPr>
            <p:nvPr/>
          </p:nvSpPr>
          <p:spPr bwMode="auto">
            <a:xfrm>
              <a:off x="3256572" y="6436729"/>
              <a:ext cx="44441" cy="50790"/>
            </a:xfrm>
            <a:custGeom>
              <a:avLst/>
              <a:gdLst>
                <a:gd name="T0" fmla="*/ 2 w 9"/>
                <a:gd name="T1" fmla="*/ 7 h 10"/>
                <a:gd name="T2" fmla="*/ 2 w 9"/>
                <a:gd name="T3" fmla="*/ 9 h 10"/>
                <a:gd name="T4" fmla="*/ 1 w 9"/>
                <a:gd name="T5" fmla="*/ 10 h 10"/>
                <a:gd name="T6" fmla="*/ 1 w 9"/>
                <a:gd name="T7" fmla="*/ 10 h 10"/>
                <a:gd name="T8" fmla="*/ 1 w 9"/>
                <a:gd name="T9" fmla="*/ 10 h 10"/>
                <a:gd name="T10" fmla="*/ 0 w 9"/>
                <a:gd name="T11" fmla="*/ 7 h 10"/>
                <a:gd name="T12" fmla="*/ 1 w 9"/>
                <a:gd name="T13" fmla="*/ 4 h 10"/>
                <a:gd name="T14" fmla="*/ 1 w 9"/>
                <a:gd name="T15" fmla="*/ 1 h 10"/>
                <a:gd name="T16" fmla="*/ 4 w 9"/>
                <a:gd name="T17" fmla="*/ 0 h 10"/>
                <a:gd name="T18" fmla="*/ 7 w 9"/>
                <a:gd name="T19" fmla="*/ 1 h 10"/>
                <a:gd name="T20" fmla="*/ 8 w 9"/>
                <a:gd name="T21" fmla="*/ 1 h 10"/>
                <a:gd name="T22" fmla="*/ 8 w 9"/>
                <a:gd name="T23" fmla="*/ 3 h 10"/>
                <a:gd name="T24" fmla="*/ 8 w 9"/>
                <a:gd name="T25" fmla="*/ 4 h 10"/>
                <a:gd name="T26" fmla="*/ 7 w 9"/>
                <a:gd name="T27" fmla="*/ 5 h 10"/>
                <a:gd name="T28" fmla="*/ 6 w 9"/>
                <a:gd name="T29" fmla="*/ 6 h 10"/>
                <a:gd name="T30" fmla="*/ 4 w 9"/>
                <a:gd name="T31" fmla="*/ 7 h 10"/>
                <a:gd name="T32" fmla="*/ 6 w 9"/>
                <a:gd name="T33" fmla="*/ 8 h 10"/>
                <a:gd name="T34" fmla="*/ 7 w 9"/>
                <a:gd name="T35" fmla="*/ 9 h 10"/>
                <a:gd name="T36" fmla="*/ 8 w 9"/>
                <a:gd name="T37" fmla="*/ 10 h 10"/>
                <a:gd name="T38" fmla="*/ 9 w 9"/>
                <a:gd name="T39" fmla="*/ 10 h 10"/>
                <a:gd name="T40" fmla="*/ 9 w 9"/>
                <a:gd name="T41" fmla="*/ 9 h 10"/>
                <a:gd name="T42" fmla="*/ 9 w 9"/>
                <a:gd name="T43" fmla="*/ 10 h 10"/>
                <a:gd name="T44" fmla="*/ 9 w 9"/>
                <a:gd name="T45" fmla="*/ 10 h 10"/>
                <a:gd name="T46" fmla="*/ 8 w 9"/>
                <a:gd name="T47" fmla="*/ 10 h 10"/>
                <a:gd name="T48" fmla="*/ 5 w 9"/>
                <a:gd name="T49" fmla="*/ 9 h 10"/>
                <a:gd name="T50" fmla="*/ 4 w 9"/>
                <a:gd name="T51" fmla="*/ 8 h 10"/>
                <a:gd name="T52" fmla="*/ 2 w 9"/>
                <a:gd name="T53" fmla="*/ 7 h 10"/>
                <a:gd name="T54" fmla="*/ 2 w 9"/>
                <a:gd name="T55" fmla="*/ 7 h 10"/>
                <a:gd name="T56" fmla="*/ 7 w 9"/>
                <a:gd name="T57" fmla="*/ 3 h 10"/>
                <a:gd name="T58" fmla="*/ 6 w 9"/>
                <a:gd name="T59" fmla="*/ 1 h 10"/>
                <a:gd name="T60" fmla="*/ 4 w 9"/>
                <a:gd name="T61" fmla="*/ 1 h 10"/>
                <a:gd name="T62" fmla="*/ 2 w 9"/>
                <a:gd name="T63" fmla="*/ 1 h 10"/>
                <a:gd name="T64" fmla="*/ 2 w 9"/>
                <a:gd name="T65" fmla="*/ 3 h 10"/>
                <a:gd name="T66" fmla="*/ 2 w 9"/>
                <a:gd name="T67" fmla="*/ 5 h 10"/>
                <a:gd name="T68" fmla="*/ 2 w 9"/>
                <a:gd name="T69" fmla="*/ 6 h 10"/>
                <a:gd name="T70" fmla="*/ 5 w 9"/>
                <a:gd name="T71" fmla="*/ 5 h 10"/>
                <a:gd name="T72" fmla="*/ 7 w 9"/>
                <a:gd name="T73" fmla="*/ 5 h 10"/>
                <a:gd name="T74" fmla="*/ 7 w 9"/>
                <a:gd name="T7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" h="10">
                  <a:moveTo>
                    <a:pt x="2" y="7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0" y="6"/>
                    <a:pt x="1" y="5"/>
                    <a:pt x="1" y="4"/>
                  </a:cubicBezTo>
                  <a:cubicBezTo>
                    <a:pt x="1" y="3"/>
                    <a:pt x="1" y="2"/>
                    <a:pt x="1" y="1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5" y="0"/>
                    <a:pt x="6" y="0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5" y="6"/>
                    <a:pt x="4" y="6"/>
                    <a:pt x="4" y="7"/>
                  </a:cubicBezTo>
                  <a:cubicBezTo>
                    <a:pt x="4" y="7"/>
                    <a:pt x="5" y="7"/>
                    <a:pt x="6" y="8"/>
                  </a:cubicBezTo>
                  <a:cubicBezTo>
                    <a:pt x="6" y="9"/>
                    <a:pt x="6" y="9"/>
                    <a:pt x="7" y="9"/>
                  </a:cubicBezTo>
                  <a:cubicBezTo>
                    <a:pt x="7" y="9"/>
                    <a:pt x="8" y="10"/>
                    <a:pt x="8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10"/>
                    <a:pt x="9" y="9"/>
                    <a:pt x="9" y="9"/>
                  </a:cubicBezTo>
                  <a:cubicBezTo>
                    <a:pt x="9" y="9"/>
                    <a:pt x="9" y="9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8" y="10"/>
                  </a:cubicBezTo>
                  <a:cubicBezTo>
                    <a:pt x="7" y="10"/>
                    <a:pt x="6" y="10"/>
                    <a:pt x="5" y="9"/>
                  </a:cubicBezTo>
                  <a:cubicBezTo>
                    <a:pt x="5" y="9"/>
                    <a:pt x="5" y="9"/>
                    <a:pt x="4" y="8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  <a:moveTo>
                    <a:pt x="7" y="3"/>
                  </a:moveTo>
                  <a:cubicBezTo>
                    <a:pt x="7" y="2"/>
                    <a:pt x="7" y="2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4"/>
                    <a:pt x="7" y="4"/>
                    <a:pt x="7" y="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3" name="Freeform 10603"/>
            <p:cNvSpPr>
              <a:spLocks noEditPoints="1"/>
            </p:cNvSpPr>
            <p:nvPr/>
          </p:nvSpPr>
          <p:spPr bwMode="auto">
            <a:xfrm>
              <a:off x="3305245" y="6451543"/>
              <a:ext cx="29627" cy="35976"/>
            </a:xfrm>
            <a:custGeom>
              <a:avLst/>
              <a:gdLst>
                <a:gd name="T0" fmla="*/ 1 w 6"/>
                <a:gd name="T1" fmla="*/ 4 h 7"/>
                <a:gd name="T2" fmla="*/ 1 w 6"/>
                <a:gd name="T3" fmla="*/ 4 h 7"/>
                <a:gd name="T4" fmla="*/ 1 w 6"/>
                <a:gd name="T5" fmla="*/ 6 h 7"/>
                <a:gd name="T6" fmla="*/ 3 w 6"/>
                <a:gd name="T7" fmla="*/ 6 h 7"/>
                <a:gd name="T8" fmla="*/ 4 w 6"/>
                <a:gd name="T9" fmla="*/ 6 h 7"/>
                <a:gd name="T10" fmla="*/ 4 w 6"/>
                <a:gd name="T11" fmla="*/ 6 h 7"/>
                <a:gd name="T12" fmla="*/ 5 w 6"/>
                <a:gd name="T13" fmla="*/ 5 h 7"/>
                <a:gd name="T14" fmla="*/ 6 w 6"/>
                <a:gd name="T15" fmla="*/ 5 h 7"/>
                <a:gd name="T16" fmla="*/ 5 w 6"/>
                <a:gd name="T17" fmla="*/ 6 h 7"/>
                <a:gd name="T18" fmla="*/ 2 w 6"/>
                <a:gd name="T19" fmla="*/ 7 h 7"/>
                <a:gd name="T20" fmla="*/ 0 w 6"/>
                <a:gd name="T21" fmla="*/ 6 h 7"/>
                <a:gd name="T22" fmla="*/ 0 w 6"/>
                <a:gd name="T23" fmla="*/ 5 h 7"/>
                <a:gd name="T24" fmla="*/ 0 w 6"/>
                <a:gd name="T25" fmla="*/ 2 h 7"/>
                <a:gd name="T26" fmla="*/ 1 w 6"/>
                <a:gd name="T27" fmla="*/ 1 h 7"/>
                <a:gd name="T28" fmla="*/ 3 w 6"/>
                <a:gd name="T29" fmla="*/ 0 h 7"/>
                <a:gd name="T30" fmla="*/ 4 w 6"/>
                <a:gd name="T31" fmla="*/ 0 h 7"/>
                <a:gd name="T32" fmla="*/ 5 w 6"/>
                <a:gd name="T33" fmla="*/ 1 h 7"/>
                <a:gd name="T34" fmla="*/ 4 w 6"/>
                <a:gd name="T35" fmla="*/ 3 h 7"/>
                <a:gd name="T36" fmla="*/ 2 w 6"/>
                <a:gd name="T37" fmla="*/ 4 h 7"/>
                <a:gd name="T38" fmla="*/ 1 w 6"/>
                <a:gd name="T39" fmla="*/ 4 h 7"/>
                <a:gd name="T40" fmla="*/ 2 w 6"/>
                <a:gd name="T41" fmla="*/ 4 h 7"/>
                <a:gd name="T42" fmla="*/ 3 w 6"/>
                <a:gd name="T43" fmla="*/ 3 h 7"/>
                <a:gd name="T44" fmla="*/ 4 w 6"/>
                <a:gd name="T45" fmla="*/ 2 h 7"/>
                <a:gd name="T46" fmla="*/ 4 w 6"/>
                <a:gd name="T47" fmla="*/ 1 h 7"/>
                <a:gd name="T48" fmla="*/ 4 w 6"/>
                <a:gd name="T49" fmla="*/ 1 h 7"/>
                <a:gd name="T50" fmla="*/ 3 w 6"/>
                <a:gd name="T51" fmla="*/ 0 h 7"/>
                <a:gd name="T52" fmla="*/ 2 w 6"/>
                <a:gd name="T53" fmla="*/ 1 h 7"/>
                <a:gd name="T54" fmla="*/ 1 w 6"/>
                <a:gd name="T55" fmla="*/ 3 h 7"/>
                <a:gd name="T56" fmla="*/ 2 w 6"/>
                <a:gd name="T5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7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7"/>
                    <a:pt x="3" y="7"/>
                    <a:pt x="2" y="7"/>
                  </a:cubicBezTo>
                  <a:cubicBezTo>
                    <a:pt x="2" y="7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2" y="4"/>
                  </a:moveTo>
                  <a:cubicBezTo>
                    <a:pt x="2" y="4"/>
                    <a:pt x="3" y="3"/>
                    <a:pt x="3" y="3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4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4" name="Freeform 10604"/>
            <p:cNvSpPr>
              <a:spLocks noEditPoints="1"/>
            </p:cNvSpPr>
            <p:nvPr/>
          </p:nvSpPr>
          <p:spPr bwMode="auto">
            <a:xfrm>
              <a:off x="3330640" y="6430380"/>
              <a:ext cx="14814" cy="71952"/>
            </a:xfrm>
            <a:custGeom>
              <a:avLst/>
              <a:gdLst>
                <a:gd name="T0" fmla="*/ 1 w 3"/>
                <a:gd name="T1" fmla="*/ 14 h 14"/>
                <a:gd name="T2" fmla="*/ 2 w 3"/>
                <a:gd name="T3" fmla="*/ 9 h 14"/>
                <a:gd name="T4" fmla="*/ 2 w 3"/>
                <a:gd name="T5" fmla="*/ 7 h 14"/>
                <a:gd name="T6" fmla="*/ 2 w 3"/>
                <a:gd name="T7" fmla="*/ 5 h 14"/>
                <a:gd name="T8" fmla="*/ 2 w 3"/>
                <a:gd name="T9" fmla="*/ 4 h 14"/>
                <a:gd name="T10" fmla="*/ 3 w 3"/>
                <a:gd name="T11" fmla="*/ 4 h 14"/>
                <a:gd name="T12" fmla="*/ 3 w 3"/>
                <a:gd name="T13" fmla="*/ 5 h 14"/>
                <a:gd name="T14" fmla="*/ 3 w 3"/>
                <a:gd name="T15" fmla="*/ 6 h 14"/>
                <a:gd name="T16" fmla="*/ 3 w 3"/>
                <a:gd name="T17" fmla="*/ 10 h 14"/>
                <a:gd name="T18" fmla="*/ 3 w 3"/>
                <a:gd name="T19" fmla="*/ 12 h 14"/>
                <a:gd name="T20" fmla="*/ 2 w 3"/>
                <a:gd name="T21" fmla="*/ 13 h 14"/>
                <a:gd name="T22" fmla="*/ 2 w 3"/>
                <a:gd name="T23" fmla="*/ 14 h 14"/>
                <a:gd name="T24" fmla="*/ 1 w 3"/>
                <a:gd name="T25" fmla="*/ 14 h 14"/>
                <a:gd name="T26" fmla="*/ 0 w 3"/>
                <a:gd name="T27" fmla="*/ 14 h 14"/>
                <a:gd name="T28" fmla="*/ 0 w 3"/>
                <a:gd name="T29" fmla="*/ 14 h 14"/>
                <a:gd name="T30" fmla="*/ 0 w 3"/>
                <a:gd name="T31" fmla="*/ 14 h 14"/>
                <a:gd name="T32" fmla="*/ 0 w 3"/>
                <a:gd name="T33" fmla="*/ 14 h 14"/>
                <a:gd name="T34" fmla="*/ 0 w 3"/>
                <a:gd name="T35" fmla="*/ 14 h 14"/>
                <a:gd name="T36" fmla="*/ 1 w 3"/>
                <a:gd name="T37" fmla="*/ 14 h 14"/>
                <a:gd name="T38" fmla="*/ 3 w 3"/>
                <a:gd name="T39" fmla="*/ 2 h 14"/>
                <a:gd name="T40" fmla="*/ 2 w 3"/>
                <a:gd name="T41" fmla="*/ 2 h 14"/>
                <a:gd name="T42" fmla="*/ 2 w 3"/>
                <a:gd name="T43" fmla="*/ 1 h 14"/>
                <a:gd name="T44" fmla="*/ 2 w 3"/>
                <a:gd name="T45" fmla="*/ 1 h 14"/>
                <a:gd name="T46" fmla="*/ 2 w 3"/>
                <a:gd name="T47" fmla="*/ 0 h 14"/>
                <a:gd name="T48" fmla="*/ 2 w 3"/>
                <a:gd name="T49" fmla="*/ 0 h 14"/>
                <a:gd name="T50" fmla="*/ 3 w 3"/>
                <a:gd name="T5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14">
                  <a:moveTo>
                    <a:pt x="1" y="14"/>
                  </a:moveTo>
                  <a:cubicBezTo>
                    <a:pt x="1" y="14"/>
                    <a:pt x="2" y="12"/>
                    <a:pt x="2" y="9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8"/>
                    <a:pt x="3" y="9"/>
                    <a:pt x="3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2"/>
                    <a:pt x="2" y="13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1" y="14"/>
                    <a:pt x="1" y="14"/>
                  </a:cubicBezTo>
                  <a:close/>
                  <a:moveTo>
                    <a:pt x="3" y="2"/>
                  </a:move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3" y="1"/>
                    <a:pt x="3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5" name="Freeform 10605"/>
            <p:cNvSpPr>
              <a:spLocks/>
            </p:cNvSpPr>
            <p:nvPr/>
          </p:nvSpPr>
          <p:spPr bwMode="auto">
            <a:xfrm>
              <a:off x="3351802" y="6451543"/>
              <a:ext cx="29627" cy="35976"/>
            </a:xfrm>
            <a:custGeom>
              <a:avLst/>
              <a:gdLst>
                <a:gd name="T0" fmla="*/ 2 w 6"/>
                <a:gd name="T1" fmla="*/ 0 h 7"/>
                <a:gd name="T2" fmla="*/ 1 w 6"/>
                <a:gd name="T3" fmla="*/ 2 h 7"/>
                <a:gd name="T4" fmla="*/ 2 w 6"/>
                <a:gd name="T5" fmla="*/ 6 h 7"/>
                <a:gd name="T6" fmla="*/ 3 w 6"/>
                <a:gd name="T7" fmla="*/ 6 h 7"/>
                <a:gd name="T8" fmla="*/ 4 w 6"/>
                <a:gd name="T9" fmla="*/ 6 h 7"/>
                <a:gd name="T10" fmla="*/ 5 w 6"/>
                <a:gd name="T11" fmla="*/ 3 h 7"/>
                <a:gd name="T12" fmla="*/ 4 w 6"/>
                <a:gd name="T13" fmla="*/ 1 h 7"/>
                <a:gd name="T14" fmla="*/ 4 w 6"/>
                <a:gd name="T15" fmla="*/ 0 h 7"/>
                <a:gd name="T16" fmla="*/ 4 w 6"/>
                <a:gd name="T17" fmla="*/ 0 h 7"/>
                <a:gd name="T18" fmla="*/ 4 w 6"/>
                <a:gd name="T19" fmla="*/ 0 h 7"/>
                <a:gd name="T20" fmla="*/ 5 w 6"/>
                <a:gd name="T21" fmla="*/ 2 h 7"/>
                <a:gd name="T22" fmla="*/ 6 w 6"/>
                <a:gd name="T23" fmla="*/ 3 h 7"/>
                <a:gd name="T24" fmla="*/ 5 w 6"/>
                <a:gd name="T25" fmla="*/ 5 h 7"/>
                <a:gd name="T26" fmla="*/ 3 w 6"/>
                <a:gd name="T27" fmla="*/ 7 h 7"/>
                <a:gd name="T28" fmla="*/ 1 w 6"/>
                <a:gd name="T29" fmla="*/ 6 h 7"/>
                <a:gd name="T30" fmla="*/ 0 w 6"/>
                <a:gd name="T31" fmla="*/ 3 h 7"/>
                <a:gd name="T32" fmla="*/ 0 w 6"/>
                <a:gd name="T33" fmla="*/ 1 h 7"/>
                <a:gd name="T34" fmla="*/ 1 w 6"/>
                <a:gd name="T35" fmla="*/ 1 h 7"/>
                <a:gd name="T36" fmla="*/ 1 w 6"/>
                <a:gd name="T37" fmla="*/ 0 h 7"/>
                <a:gd name="T38" fmla="*/ 1 w 6"/>
                <a:gd name="T39" fmla="*/ 0 h 7"/>
                <a:gd name="T40" fmla="*/ 2 w 6"/>
                <a:gd name="T4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4"/>
                    <a:pt x="2" y="5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5" y="4"/>
                    <a:pt x="5" y="3"/>
                  </a:cubicBezTo>
                  <a:cubicBezTo>
                    <a:pt x="5" y="2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2"/>
                  </a:cubicBezTo>
                  <a:cubicBezTo>
                    <a:pt x="6" y="2"/>
                    <a:pt x="6" y="2"/>
                    <a:pt x="6" y="3"/>
                  </a:cubicBezTo>
                  <a:cubicBezTo>
                    <a:pt x="6" y="3"/>
                    <a:pt x="5" y="4"/>
                    <a:pt x="5" y="5"/>
                  </a:cubicBezTo>
                  <a:cubicBezTo>
                    <a:pt x="5" y="6"/>
                    <a:pt x="4" y="7"/>
                    <a:pt x="3" y="7"/>
                  </a:cubicBezTo>
                  <a:cubicBezTo>
                    <a:pt x="2" y="7"/>
                    <a:pt x="2" y="7"/>
                    <a:pt x="1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6" name="Freeform 10606"/>
            <p:cNvSpPr>
              <a:spLocks/>
            </p:cNvSpPr>
            <p:nvPr/>
          </p:nvSpPr>
          <p:spPr bwMode="auto">
            <a:xfrm>
              <a:off x="3381429" y="6451543"/>
              <a:ext cx="29627" cy="35976"/>
            </a:xfrm>
            <a:custGeom>
              <a:avLst/>
              <a:gdLst>
                <a:gd name="T0" fmla="*/ 0 w 6"/>
                <a:gd name="T1" fmla="*/ 0 h 7"/>
                <a:gd name="T2" fmla="*/ 1 w 6"/>
                <a:gd name="T3" fmla="*/ 0 h 7"/>
                <a:gd name="T4" fmla="*/ 1 w 6"/>
                <a:gd name="T5" fmla="*/ 0 h 7"/>
                <a:gd name="T6" fmla="*/ 2 w 6"/>
                <a:gd name="T7" fmla="*/ 2 h 7"/>
                <a:gd name="T8" fmla="*/ 3 w 6"/>
                <a:gd name="T9" fmla="*/ 5 h 7"/>
                <a:gd name="T10" fmla="*/ 4 w 6"/>
                <a:gd name="T11" fmla="*/ 2 h 7"/>
                <a:gd name="T12" fmla="*/ 6 w 6"/>
                <a:gd name="T13" fmla="*/ 0 h 7"/>
                <a:gd name="T14" fmla="*/ 6 w 6"/>
                <a:gd name="T15" fmla="*/ 0 h 7"/>
                <a:gd name="T16" fmla="*/ 4 w 6"/>
                <a:gd name="T17" fmla="*/ 6 h 7"/>
                <a:gd name="T18" fmla="*/ 4 w 6"/>
                <a:gd name="T19" fmla="*/ 7 h 7"/>
                <a:gd name="T20" fmla="*/ 3 w 6"/>
                <a:gd name="T21" fmla="*/ 7 h 7"/>
                <a:gd name="T22" fmla="*/ 3 w 6"/>
                <a:gd name="T23" fmla="*/ 7 h 7"/>
                <a:gd name="T24" fmla="*/ 3 w 6"/>
                <a:gd name="T25" fmla="*/ 7 h 7"/>
                <a:gd name="T26" fmla="*/ 3 w 6"/>
                <a:gd name="T27" fmla="*/ 6 h 7"/>
                <a:gd name="T28" fmla="*/ 3 w 6"/>
                <a:gd name="T29" fmla="*/ 6 h 7"/>
                <a:gd name="T30" fmla="*/ 0 w 6"/>
                <a:gd name="T3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2"/>
                    <a:pt x="5" y="4"/>
                    <a:pt x="4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4"/>
                    <a:pt x="1" y="2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7" name="Freeform 10607"/>
            <p:cNvSpPr>
              <a:spLocks noEditPoints="1"/>
            </p:cNvSpPr>
            <p:nvPr/>
          </p:nvSpPr>
          <p:spPr bwMode="auto">
            <a:xfrm>
              <a:off x="3415289" y="6451543"/>
              <a:ext cx="25395" cy="35976"/>
            </a:xfrm>
            <a:custGeom>
              <a:avLst/>
              <a:gdLst>
                <a:gd name="T0" fmla="*/ 1 w 5"/>
                <a:gd name="T1" fmla="*/ 4 h 7"/>
                <a:gd name="T2" fmla="*/ 1 w 5"/>
                <a:gd name="T3" fmla="*/ 4 h 7"/>
                <a:gd name="T4" fmla="*/ 1 w 5"/>
                <a:gd name="T5" fmla="*/ 6 h 7"/>
                <a:gd name="T6" fmla="*/ 2 w 5"/>
                <a:gd name="T7" fmla="*/ 6 h 7"/>
                <a:gd name="T8" fmla="*/ 3 w 5"/>
                <a:gd name="T9" fmla="*/ 6 h 7"/>
                <a:gd name="T10" fmla="*/ 4 w 5"/>
                <a:gd name="T11" fmla="*/ 6 h 7"/>
                <a:gd name="T12" fmla="*/ 5 w 5"/>
                <a:gd name="T13" fmla="*/ 5 h 7"/>
                <a:gd name="T14" fmla="*/ 5 w 5"/>
                <a:gd name="T15" fmla="*/ 5 h 7"/>
                <a:gd name="T16" fmla="*/ 4 w 5"/>
                <a:gd name="T17" fmla="*/ 6 h 7"/>
                <a:gd name="T18" fmla="*/ 2 w 5"/>
                <a:gd name="T19" fmla="*/ 7 h 7"/>
                <a:gd name="T20" fmla="*/ 0 w 5"/>
                <a:gd name="T21" fmla="*/ 6 h 7"/>
                <a:gd name="T22" fmla="*/ 0 w 5"/>
                <a:gd name="T23" fmla="*/ 5 h 7"/>
                <a:gd name="T24" fmla="*/ 0 w 5"/>
                <a:gd name="T25" fmla="*/ 2 h 7"/>
                <a:gd name="T26" fmla="*/ 1 w 5"/>
                <a:gd name="T27" fmla="*/ 1 h 7"/>
                <a:gd name="T28" fmla="*/ 3 w 5"/>
                <a:gd name="T29" fmla="*/ 0 h 7"/>
                <a:gd name="T30" fmla="*/ 4 w 5"/>
                <a:gd name="T31" fmla="*/ 0 h 7"/>
                <a:gd name="T32" fmla="*/ 5 w 5"/>
                <a:gd name="T33" fmla="*/ 1 h 7"/>
                <a:gd name="T34" fmla="*/ 4 w 5"/>
                <a:gd name="T35" fmla="*/ 3 h 7"/>
                <a:gd name="T36" fmla="*/ 1 w 5"/>
                <a:gd name="T37" fmla="*/ 4 h 7"/>
                <a:gd name="T38" fmla="*/ 1 w 5"/>
                <a:gd name="T39" fmla="*/ 4 h 7"/>
                <a:gd name="T40" fmla="*/ 2 w 5"/>
                <a:gd name="T41" fmla="*/ 4 h 7"/>
                <a:gd name="T42" fmla="*/ 3 w 5"/>
                <a:gd name="T43" fmla="*/ 3 h 7"/>
                <a:gd name="T44" fmla="*/ 4 w 5"/>
                <a:gd name="T45" fmla="*/ 2 h 7"/>
                <a:gd name="T46" fmla="*/ 4 w 5"/>
                <a:gd name="T47" fmla="*/ 1 h 7"/>
                <a:gd name="T48" fmla="*/ 4 w 5"/>
                <a:gd name="T49" fmla="*/ 1 h 7"/>
                <a:gd name="T50" fmla="*/ 3 w 5"/>
                <a:gd name="T51" fmla="*/ 0 h 7"/>
                <a:gd name="T52" fmla="*/ 2 w 5"/>
                <a:gd name="T53" fmla="*/ 1 h 7"/>
                <a:gd name="T54" fmla="*/ 1 w 5"/>
                <a:gd name="T55" fmla="*/ 3 h 7"/>
                <a:gd name="T56" fmla="*/ 2 w 5"/>
                <a:gd name="T5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" h="7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5" y="6"/>
                    <a:pt x="4" y="6"/>
                  </a:cubicBezTo>
                  <a:cubicBezTo>
                    <a:pt x="4" y="7"/>
                    <a:pt x="3" y="7"/>
                    <a:pt x="2" y="7"/>
                  </a:cubicBezTo>
                  <a:cubicBezTo>
                    <a:pt x="1" y="7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3"/>
                    <a:pt x="4" y="3"/>
                  </a:cubicBezTo>
                  <a:cubicBezTo>
                    <a:pt x="3" y="4"/>
                    <a:pt x="2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  <a:moveTo>
                    <a:pt x="2" y="4"/>
                  </a:moveTo>
                  <a:cubicBezTo>
                    <a:pt x="2" y="4"/>
                    <a:pt x="3" y="3"/>
                    <a:pt x="3" y="3"/>
                  </a:cubicBezTo>
                  <a:cubicBezTo>
                    <a:pt x="3" y="3"/>
                    <a:pt x="3" y="3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4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8" name="Freeform 10608"/>
            <p:cNvSpPr>
              <a:spLocks/>
            </p:cNvSpPr>
            <p:nvPr/>
          </p:nvSpPr>
          <p:spPr bwMode="auto">
            <a:xfrm>
              <a:off x="3447033" y="6451543"/>
              <a:ext cx="29627" cy="35976"/>
            </a:xfrm>
            <a:custGeom>
              <a:avLst/>
              <a:gdLst>
                <a:gd name="T0" fmla="*/ 6 w 6"/>
                <a:gd name="T1" fmla="*/ 7 h 7"/>
                <a:gd name="T2" fmla="*/ 6 w 6"/>
                <a:gd name="T3" fmla="*/ 7 h 7"/>
                <a:gd name="T4" fmla="*/ 5 w 6"/>
                <a:gd name="T5" fmla="*/ 6 h 7"/>
                <a:gd name="T6" fmla="*/ 4 w 6"/>
                <a:gd name="T7" fmla="*/ 5 h 7"/>
                <a:gd name="T8" fmla="*/ 4 w 6"/>
                <a:gd name="T9" fmla="*/ 3 h 7"/>
                <a:gd name="T10" fmla="*/ 4 w 6"/>
                <a:gd name="T11" fmla="*/ 1 h 7"/>
                <a:gd name="T12" fmla="*/ 4 w 6"/>
                <a:gd name="T13" fmla="*/ 0 h 7"/>
                <a:gd name="T14" fmla="*/ 3 w 6"/>
                <a:gd name="T15" fmla="*/ 1 h 7"/>
                <a:gd name="T16" fmla="*/ 2 w 6"/>
                <a:gd name="T17" fmla="*/ 3 h 7"/>
                <a:gd name="T18" fmla="*/ 2 w 6"/>
                <a:gd name="T19" fmla="*/ 7 h 7"/>
                <a:gd name="T20" fmla="*/ 1 w 6"/>
                <a:gd name="T21" fmla="*/ 7 h 7"/>
                <a:gd name="T22" fmla="*/ 1 w 6"/>
                <a:gd name="T23" fmla="*/ 7 h 7"/>
                <a:gd name="T24" fmla="*/ 1 w 6"/>
                <a:gd name="T25" fmla="*/ 2 h 7"/>
                <a:gd name="T26" fmla="*/ 0 w 6"/>
                <a:gd name="T27" fmla="*/ 0 h 7"/>
                <a:gd name="T28" fmla="*/ 1 w 6"/>
                <a:gd name="T29" fmla="*/ 0 h 7"/>
                <a:gd name="T30" fmla="*/ 1 w 6"/>
                <a:gd name="T31" fmla="*/ 0 h 7"/>
                <a:gd name="T32" fmla="*/ 1 w 6"/>
                <a:gd name="T33" fmla="*/ 3 h 7"/>
                <a:gd name="T34" fmla="*/ 1 w 6"/>
                <a:gd name="T35" fmla="*/ 5 h 7"/>
                <a:gd name="T36" fmla="*/ 2 w 6"/>
                <a:gd name="T37" fmla="*/ 4 h 7"/>
                <a:gd name="T38" fmla="*/ 2 w 6"/>
                <a:gd name="T39" fmla="*/ 3 h 7"/>
                <a:gd name="T40" fmla="*/ 2 w 6"/>
                <a:gd name="T41" fmla="*/ 2 h 7"/>
                <a:gd name="T42" fmla="*/ 2 w 6"/>
                <a:gd name="T43" fmla="*/ 1 h 7"/>
                <a:gd name="T44" fmla="*/ 3 w 6"/>
                <a:gd name="T45" fmla="*/ 0 h 7"/>
                <a:gd name="T46" fmla="*/ 4 w 6"/>
                <a:gd name="T47" fmla="*/ 0 h 7"/>
                <a:gd name="T48" fmla="*/ 5 w 6"/>
                <a:gd name="T49" fmla="*/ 1 h 7"/>
                <a:gd name="T50" fmla="*/ 5 w 6"/>
                <a:gd name="T51" fmla="*/ 2 h 7"/>
                <a:gd name="T52" fmla="*/ 5 w 6"/>
                <a:gd name="T53" fmla="*/ 4 h 7"/>
                <a:gd name="T54" fmla="*/ 6 w 6"/>
                <a:gd name="T55" fmla="*/ 6 h 7"/>
                <a:gd name="T56" fmla="*/ 6 w 6"/>
                <a:gd name="T5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5" y="5"/>
                    <a:pt x="4" y="5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3" y="3"/>
                    <a:pt x="2" y="3"/>
                  </a:cubicBezTo>
                  <a:cubicBezTo>
                    <a:pt x="2" y="5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4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5"/>
                    <a:pt x="5" y="5"/>
                    <a:pt x="6" y="6"/>
                  </a:cubicBezTo>
                  <a:cubicBezTo>
                    <a:pt x="6" y="6"/>
                    <a:pt x="6" y="6"/>
                    <a:pt x="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29" name="Freeform 10609"/>
            <p:cNvSpPr>
              <a:spLocks noEditPoints="1"/>
            </p:cNvSpPr>
            <p:nvPr/>
          </p:nvSpPr>
          <p:spPr bwMode="auto">
            <a:xfrm>
              <a:off x="3480892" y="6451543"/>
              <a:ext cx="29627" cy="35976"/>
            </a:xfrm>
            <a:custGeom>
              <a:avLst/>
              <a:gdLst>
                <a:gd name="T0" fmla="*/ 5 w 6"/>
                <a:gd name="T1" fmla="*/ 3 h 7"/>
                <a:gd name="T2" fmla="*/ 5 w 6"/>
                <a:gd name="T3" fmla="*/ 5 h 7"/>
                <a:gd name="T4" fmla="*/ 5 w 6"/>
                <a:gd name="T5" fmla="*/ 6 h 7"/>
                <a:gd name="T6" fmla="*/ 5 w 6"/>
                <a:gd name="T7" fmla="*/ 6 h 7"/>
                <a:gd name="T8" fmla="*/ 6 w 6"/>
                <a:gd name="T9" fmla="*/ 6 h 7"/>
                <a:gd name="T10" fmla="*/ 6 w 6"/>
                <a:gd name="T11" fmla="*/ 6 h 7"/>
                <a:gd name="T12" fmla="*/ 5 w 6"/>
                <a:gd name="T13" fmla="*/ 7 h 7"/>
                <a:gd name="T14" fmla="*/ 4 w 6"/>
                <a:gd name="T15" fmla="*/ 6 h 7"/>
                <a:gd name="T16" fmla="*/ 4 w 6"/>
                <a:gd name="T17" fmla="*/ 6 h 7"/>
                <a:gd name="T18" fmla="*/ 4 w 6"/>
                <a:gd name="T19" fmla="*/ 5 h 7"/>
                <a:gd name="T20" fmla="*/ 2 w 6"/>
                <a:gd name="T21" fmla="*/ 7 h 7"/>
                <a:gd name="T22" fmla="*/ 1 w 6"/>
                <a:gd name="T23" fmla="*/ 7 h 7"/>
                <a:gd name="T24" fmla="*/ 0 w 6"/>
                <a:gd name="T25" fmla="*/ 7 h 7"/>
                <a:gd name="T26" fmla="*/ 0 w 6"/>
                <a:gd name="T27" fmla="*/ 5 h 7"/>
                <a:gd name="T28" fmla="*/ 0 w 6"/>
                <a:gd name="T29" fmla="*/ 3 h 7"/>
                <a:gd name="T30" fmla="*/ 1 w 6"/>
                <a:gd name="T31" fmla="*/ 1 h 7"/>
                <a:gd name="T32" fmla="*/ 3 w 6"/>
                <a:gd name="T33" fmla="*/ 0 h 7"/>
                <a:gd name="T34" fmla="*/ 4 w 6"/>
                <a:gd name="T35" fmla="*/ 1 h 7"/>
                <a:gd name="T36" fmla="*/ 5 w 6"/>
                <a:gd name="T37" fmla="*/ 3 h 7"/>
                <a:gd name="T38" fmla="*/ 1 w 6"/>
                <a:gd name="T39" fmla="*/ 2 h 7"/>
                <a:gd name="T40" fmla="*/ 1 w 6"/>
                <a:gd name="T41" fmla="*/ 4 h 7"/>
                <a:gd name="T42" fmla="*/ 1 w 6"/>
                <a:gd name="T43" fmla="*/ 5 h 7"/>
                <a:gd name="T44" fmla="*/ 1 w 6"/>
                <a:gd name="T45" fmla="*/ 6 h 7"/>
                <a:gd name="T46" fmla="*/ 2 w 6"/>
                <a:gd name="T47" fmla="*/ 6 h 7"/>
                <a:gd name="T48" fmla="*/ 3 w 6"/>
                <a:gd name="T49" fmla="*/ 5 h 7"/>
                <a:gd name="T50" fmla="*/ 4 w 6"/>
                <a:gd name="T51" fmla="*/ 2 h 7"/>
                <a:gd name="T52" fmla="*/ 3 w 6"/>
                <a:gd name="T53" fmla="*/ 1 h 7"/>
                <a:gd name="T54" fmla="*/ 3 w 6"/>
                <a:gd name="T55" fmla="*/ 1 h 7"/>
                <a:gd name="T56" fmla="*/ 2 w 6"/>
                <a:gd name="T57" fmla="*/ 1 h 7"/>
                <a:gd name="T58" fmla="*/ 1 w 6"/>
                <a:gd name="T5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7"/>
                    <a:pt x="5" y="7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6"/>
                    <a:pt x="3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7"/>
                    <a:pt x="1" y="7"/>
                    <a:pt x="0" y="7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5" y="1"/>
                    <a:pt x="5" y="2"/>
                    <a:pt x="5" y="3"/>
                  </a:cubicBezTo>
                  <a:close/>
                  <a:moveTo>
                    <a:pt x="1" y="2"/>
                  </a:move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3" y="6"/>
                    <a:pt x="3" y="5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0" name="Freeform 10610"/>
            <p:cNvSpPr>
              <a:spLocks/>
            </p:cNvSpPr>
            <p:nvPr/>
          </p:nvSpPr>
          <p:spPr bwMode="auto">
            <a:xfrm>
              <a:off x="3510520" y="6436729"/>
              <a:ext cx="25395" cy="50790"/>
            </a:xfrm>
            <a:custGeom>
              <a:avLst/>
              <a:gdLst>
                <a:gd name="T0" fmla="*/ 1 w 5"/>
                <a:gd name="T1" fmla="*/ 4 h 10"/>
                <a:gd name="T2" fmla="*/ 0 w 5"/>
                <a:gd name="T3" fmla="*/ 4 h 10"/>
                <a:gd name="T4" fmla="*/ 0 w 5"/>
                <a:gd name="T5" fmla="*/ 3 h 10"/>
                <a:gd name="T6" fmla="*/ 0 w 5"/>
                <a:gd name="T7" fmla="*/ 3 h 10"/>
                <a:gd name="T8" fmla="*/ 1 w 5"/>
                <a:gd name="T9" fmla="*/ 3 h 10"/>
                <a:gd name="T10" fmla="*/ 1 w 5"/>
                <a:gd name="T11" fmla="*/ 2 h 10"/>
                <a:gd name="T12" fmla="*/ 1 w 5"/>
                <a:gd name="T13" fmla="*/ 1 h 10"/>
                <a:gd name="T14" fmla="*/ 1 w 5"/>
                <a:gd name="T15" fmla="*/ 0 h 10"/>
                <a:gd name="T16" fmla="*/ 2 w 5"/>
                <a:gd name="T17" fmla="*/ 0 h 10"/>
                <a:gd name="T18" fmla="*/ 2 w 5"/>
                <a:gd name="T19" fmla="*/ 0 h 10"/>
                <a:gd name="T20" fmla="*/ 2 w 5"/>
                <a:gd name="T21" fmla="*/ 1 h 10"/>
                <a:gd name="T22" fmla="*/ 2 w 5"/>
                <a:gd name="T23" fmla="*/ 3 h 10"/>
                <a:gd name="T24" fmla="*/ 2 w 5"/>
                <a:gd name="T25" fmla="*/ 3 h 10"/>
                <a:gd name="T26" fmla="*/ 3 w 5"/>
                <a:gd name="T27" fmla="*/ 3 h 10"/>
                <a:gd name="T28" fmla="*/ 4 w 5"/>
                <a:gd name="T29" fmla="*/ 3 h 10"/>
                <a:gd name="T30" fmla="*/ 4 w 5"/>
                <a:gd name="T31" fmla="*/ 4 h 10"/>
                <a:gd name="T32" fmla="*/ 3 w 5"/>
                <a:gd name="T33" fmla="*/ 4 h 10"/>
                <a:gd name="T34" fmla="*/ 3 w 5"/>
                <a:gd name="T35" fmla="*/ 4 h 10"/>
                <a:gd name="T36" fmla="*/ 2 w 5"/>
                <a:gd name="T37" fmla="*/ 4 h 10"/>
                <a:gd name="T38" fmla="*/ 2 w 5"/>
                <a:gd name="T39" fmla="*/ 4 h 10"/>
                <a:gd name="T40" fmla="*/ 2 w 5"/>
                <a:gd name="T41" fmla="*/ 5 h 10"/>
                <a:gd name="T42" fmla="*/ 2 w 5"/>
                <a:gd name="T43" fmla="*/ 6 h 10"/>
                <a:gd name="T44" fmla="*/ 2 w 5"/>
                <a:gd name="T45" fmla="*/ 7 h 10"/>
                <a:gd name="T46" fmla="*/ 3 w 5"/>
                <a:gd name="T47" fmla="*/ 9 h 10"/>
                <a:gd name="T48" fmla="*/ 3 w 5"/>
                <a:gd name="T49" fmla="*/ 9 h 10"/>
                <a:gd name="T50" fmla="*/ 4 w 5"/>
                <a:gd name="T51" fmla="*/ 9 h 10"/>
                <a:gd name="T52" fmla="*/ 4 w 5"/>
                <a:gd name="T53" fmla="*/ 9 h 10"/>
                <a:gd name="T54" fmla="*/ 5 w 5"/>
                <a:gd name="T55" fmla="*/ 9 h 10"/>
                <a:gd name="T56" fmla="*/ 5 w 5"/>
                <a:gd name="T57" fmla="*/ 9 h 10"/>
                <a:gd name="T58" fmla="*/ 4 w 5"/>
                <a:gd name="T59" fmla="*/ 10 h 10"/>
                <a:gd name="T60" fmla="*/ 3 w 5"/>
                <a:gd name="T61" fmla="*/ 10 h 10"/>
                <a:gd name="T62" fmla="*/ 1 w 5"/>
                <a:gd name="T63" fmla="*/ 7 h 10"/>
                <a:gd name="T64" fmla="*/ 1 w 5"/>
                <a:gd name="T65" fmla="*/ 4 h 10"/>
                <a:gd name="T66" fmla="*/ 1 w 5"/>
                <a:gd name="T6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" h="10">
                  <a:moveTo>
                    <a:pt x="1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8"/>
                    <a:pt x="2" y="8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4" y="10"/>
                    <a:pt x="3" y="10"/>
                    <a:pt x="3" y="10"/>
                  </a:cubicBezTo>
                  <a:cubicBezTo>
                    <a:pt x="2" y="10"/>
                    <a:pt x="2" y="9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1" name="Freeform 10611"/>
            <p:cNvSpPr>
              <a:spLocks noEditPoints="1"/>
            </p:cNvSpPr>
            <p:nvPr/>
          </p:nvSpPr>
          <p:spPr bwMode="auto">
            <a:xfrm>
              <a:off x="3540147" y="6430380"/>
              <a:ext cx="6349" cy="57138"/>
            </a:xfrm>
            <a:custGeom>
              <a:avLst/>
              <a:gdLst>
                <a:gd name="T0" fmla="*/ 1 w 1"/>
                <a:gd name="T1" fmla="*/ 1 h 11"/>
                <a:gd name="T2" fmla="*/ 1 w 1"/>
                <a:gd name="T3" fmla="*/ 1 h 11"/>
                <a:gd name="T4" fmla="*/ 1 w 1"/>
                <a:gd name="T5" fmla="*/ 2 h 11"/>
                <a:gd name="T6" fmla="*/ 0 w 1"/>
                <a:gd name="T7" fmla="*/ 2 h 11"/>
                <a:gd name="T8" fmla="*/ 0 w 1"/>
                <a:gd name="T9" fmla="*/ 2 h 11"/>
                <a:gd name="T10" fmla="*/ 0 w 1"/>
                <a:gd name="T11" fmla="*/ 1 h 11"/>
                <a:gd name="T12" fmla="*/ 0 w 1"/>
                <a:gd name="T13" fmla="*/ 1 h 11"/>
                <a:gd name="T14" fmla="*/ 0 w 1"/>
                <a:gd name="T15" fmla="*/ 1 h 11"/>
                <a:gd name="T16" fmla="*/ 0 w 1"/>
                <a:gd name="T17" fmla="*/ 0 h 11"/>
                <a:gd name="T18" fmla="*/ 1 w 1"/>
                <a:gd name="T19" fmla="*/ 1 h 11"/>
                <a:gd name="T20" fmla="*/ 0 w 1"/>
                <a:gd name="T21" fmla="*/ 7 h 11"/>
                <a:gd name="T22" fmla="*/ 0 w 1"/>
                <a:gd name="T23" fmla="*/ 4 h 11"/>
                <a:gd name="T24" fmla="*/ 0 w 1"/>
                <a:gd name="T25" fmla="*/ 4 h 11"/>
                <a:gd name="T26" fmla="*/ 1 w 1"/>
                <a:gd name="T27" fmla="*/ 4 h 11"/>
                <a:gd name="T28" fmla="*/ 1 w 1"/>
                <a:gd name="T29" fmla="*/ 7 h 11"/>
                <a:gd name="T30" fmla="*/ 1 w 1"/>
                <a:gd name="T31" fmla="*/ 10 h 11"/>
                <a:gd name="T32" fmla="*/ 1 w 1"/>
                <a:gd name="T33" fmla="*/ 11 h 11"/>
                <a:gd name="T34" fmla="*/ 0 w 1"/>
                <a:gd name="T35" fmla="*/ 11 h 11"/>
                <a:gd name="T36" fmla="*/ 0 w 1"/>
                <a:gd name="T37" fmla="*/ 11 h 11"/>
                <a:gd name="T38" fmla="*/ 0 w 1"/>
                <a:gd name="T39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" h="1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lose/>
                  <a:moveTo>
                    <a:pt x="0" y="7"/>
                  </a:moveTo>
                  <a:cubicBezTo>
                    <a:pt x="0" y="6"/>
                    <a:pt x="0" y="5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8"/>
                    <a:pt x="0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2" name="Freeform 10612"/>
            <p:cNvSpPr>
              <a:spLocks/>
            </p:cNvSpPr>
            <p:nvPr/>
          </p:nvSpPr>
          <p:spPr bwMode="auto">
            <a:xfrm>
              <a:off x="3550728" y="6451543"/>
              <a:ext cx="29627" cy="35976"/>
            </a:xfrm>
            <a:custGeom>
              <a:avLst/>
              <a:gdLst>
                <a:gd name="T0" fmla="*/ 6 w 6"/>
                <a:gd name="T1" fmla="*/ 7 h 7"/>
                <a:gd name="T2" fmla="*/ 6 w 6"/>
                <a:gd name="T3" fmla="*/ 7 h 7"/>
                <a:gd name="T4" fmla="*/ 5 w 6"/>
                <a:gd name="T5" fmla="*/ 6 h 7"/>
                <a:gd name="T6" fmla="*/ 4 w 6"/>
                <a:gd name="T7" fmla="*/ 5 h 7"/>
                <a:gd name="T8" fmla="*/ 4 w 6"/>
                <a:gd name="T9" fmla="*/ 3 h 7"/>
                <a:gd name="T10" fmla="*/ 4 w 6"/>
                <a:gd name="T11" fmla="*/ 1 h 7"/>
                <a:gd name="T12" fmla="*/ 4 w 6"/>
                <a:gd name="T13" fmla="*/ 0 h 7"/>
                <a:gd name="T14" fmla="*/ 3 w 6"/>
                <a:gd name="T15" fmla="*/ 1 h 7"/>
                <a:gd name="T16" fmla="*/ 2 w 6"/>
                <a:gd name="T17" fmla="*/ 3 h 7"/>
                <a:gd name="T18" fmla="*/ 2 w 6"/>
                <a:gd name="T19" fmla="*/ 7 h 7"/>
                <a:gd name="T20" fmla="*/ 1 w 6"/>
                <a:gd name="T21" fmla="*/ 7 h 7"/>
                <a:gd name="T22" fmla="*/ 1 w 6"/>
                <a:gd name="T23" fmla="*/ 7 h 7"/>
                <a:gd name="T24" fmla="*/ 1 w 6"/>
                <a:gd name="T25" fmla="*/ 2 h 7"/>
                <a:gd name="T26" fmla="*/ 0 w 6"/>
                <a:gd name="T27" fmla="*/ 0 h 7"/>
                <a:gd name="T28" fmla="*/ 1 w 6"/>
                <a:gd name="T29" fmla="*/ 0 h 7"/>
                <a:gd name="T30" fmla="*/ 1 w 6"/>
                <a:gd name="T31" fmla="*/ 0 h 7"/>
                <a:gd name="T32" fmla="*/ 1 w 6"/>
                <a:gd name="T33" fmla="*/ 3 h 7"/>
                <a:gd name="T34" fmla="*/ 1 w 6"/>
                <a:gd name="T35" fmla="*/ 5 h 7"/>
                <a:gd name="T36" fmla="*/ 2 w 6"/>
                <a:gd name="T37" fmla="*/ 4 h 7"/>
                <a:gd name="T38" fmla="*/ 2 w 6"/>
                <a:gd name="T39" fmla="*/ 3 h 7"/>
                <a:gd name="T40" fmla="*/ 2 w 6"/>
                <a:gd name="T41" fmla="*/ 2 h 7"/>
                <a:gd name="T42" fmla="*/ 2 w 6"/>
                <a:gd name="T43" fmla="*/ 1 h 7"/>
                <a:gd name="T44" fmla="*/ 3 w 6"/>
                <a:gd name="T45" fmla="*/ 0 h 7"/>
                <a:gd name="T46" fmla="*/ 4 w 6"/>
                <a:gd name="T47" fmla="*/ 0 h 7"/>
                <a:gd name="T48" fmla="*/ 5 w 6"/>
                <a:gd name="T49" fmla="*/ 1 h 7"/>
                <a:gd name="T50" fmla="*/ 5 w 6"/>
                <a:gd name="T51" fmla="*/ 2 h 7"/>
                <a:gd name="T52" fmla="*/ 5 w 6"/>
                <a:gd name="T53" fmla="*/ 4 h 7"/>
                <a:gd name="T54" fmla="*/ 6 w 6"/>
                <a:gd name="T55" fmla="*/ 6 h 7"/>
                <a:gd name="T56" fmla="*/ 6 w 6"/>
                <a:gd name="T5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5" y="5"/>
                    <a:pt x="4" y="5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3" y="3"/>
                    <a:pt x="2" y="3"/>
                  </a:cubicBezTo>
                  <a:cubicBezTo>
                    <a:pt x="2" y="5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4"/>
                    <a:pt x="1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5"/>
                    <a:pt x="5" y="5"/>
                    <a:pt x="6" y="6"/>
                  </a:cubicBezTo>
                  <a:cubicBezTo>
                    <a:pt x="6" y="6"/>
                    <a:pt x="6" y="6"/>
                    <a:pt x="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3" name="Freeform 10613"/>
            <p:cNvSpPr>
              <a:spLocks noEditPoints="1"/>
            </p:cNvSpPr>
            <p:nvPr/>
          </p:nvSpPr>
          <p:spPr bwMode="auto">
            <a:xfrm>
              <a:off x="3580355" y="6451543"/>
              <a:ext cx="31743" cy="50790"/>
            </a:xfrm>
            <a:custGeom>
              <a:avLst/>
              <a:gdLst>
                <a:gd name="T0" fmla="*/ 4 w 6"/>
                <a:gd name="T1" fmla="*/ 0 h 10"/>
                <a:gd name="T2" fmla="*/ 5 w 6"/>
                <a:gd name="T3" fmla="*/ 1 h 10"/>
                <a:gd name="T4" fmla="*/ 6 w 6"/>
                <a:gd name="T5" fmla="*/ 2 h 10"/>
                <a:gd name="T6" fmla="*/ 6 w 6"/>
                <a:gd name="T7" fmla="*/ 3 h 10"/>
                <a:gd name="T8" fmla="*/ 6 w 6"/>
                <a:gd name="T9" fmla="*/ 6 h 10"/>
                <a:gd name="T10" fmla="*/ 5 w 6"/>
                <a:gd name="T11" fmla="*/ 9 h 10"/>
                <a:gd name="T12" fmla="*/ 3 w 6"/>
                <a:gd name="T13" fmla="*/ 10 h 10"/>
                <a:gd name="T14" fmla="*/ 0 w 6"/>
                <a:gd name="T15" fmla="*/ 9 h 10"/>
                <a:gd name="T16" fmla="*/ 1 w 6"/>
                <a:gd name="T17" fmla="*/ 9 h 10"/>
                <a:gd name="T18" fmla="*/ 2 w 6"/>
                <a:gd name="T19" fmla="*/ 9 h 10"/>
                <a:gd name="T20" fmla="*/ 3 w 6"/>
                <a:gd name="T21" fmla="*/ 9 h 10"/>
                <a:gd name="T22" fmla="*/ 4 w 6"/>
                <a:gd name="T23" fmla="*/ 9 h 10"/>
                <a:gd name="T24" fmla="*/ 5 w 6"/>
                <a:gd name="T25" fmla="*/ 8 h 10"/>
                <a:gd name="T26" fmla="*/ 5 w 6"/>
                <a:gd name="T27" fmla="*/ 6 h 10"/>
                <a:gd name="T28" fmla="*/ 5 w 6"/>
                <a:gd name="T29" fmla="*/ 4 h 10"/>
                <a:gd name="T30" fmla="*/ 4 w 6"/>
                <a:gd name="T31" fmla="*/ 6 h 10"/>
                <a:gd name="T32" fmla="*/ 3 w 6"/>
                <a:gd name="T33" fmla="*/ 7 h 10"/>
                <a:gd name="T34" fmla="*/ 1 w 6"/>
                <a:gd name="T35" fmla="*/ 6 h 10"/>
                <a:gd name="T36" fmla="*/ 1 w 6"/>
                <a:gd name="T37" fmla="*/ 4 h 10"/>
                <a:gd name="T38" fmla="*/ 1 w 6"/>
                <a:gd name="T39" fmla="*/ 2 h 10"/>
                <a:gd name="T40" fmla="*/ 2 w 6"/>
                <a:gd name="T41" fmla="*/ 1 h 10"/>
                <a:gd name="T42" fmla="*/ 4 w 6"/>
                <a:gd name="T43" fmla="*/ 0 h 10"/>
                <a:gd name="T44" fmla="*/ 2 w 6"/>
                <a:gd name="T45" fmla="*/ 2 h 10"/>
                <a:gd name="T46" fmla="*/ 2 w 6"/>
                <a:gd name="T47" fmla="*/ 3 h 10"/>
                <a:gd name="T48" fmla="*/ 2 w 6"/>
                <a:gd name="T49" fmla="*/ 4 h 10"/>
                <a:gd name="T50" fmla="*/ 2 w 6"/>
                <a:gd name="T51" fmla="*/ 6 h 10"/>
                <a:gd name="T52" fmla="*/ 3 w 6"/>
                <a:gd name="T53" fmla="*/ 6 h 10"/>
                <a:gd name="T54" fmla="*/ 4 w 6"/>
                <a:gd name="T55" fmla="*/ 5 h 10"/>
                <a:gd name="T56" fmla="*/ 5 w 6"/>
                <a:gd name="T57" fmla="*/ 2 h 10"/>
                <a:gd name="T58" fmla="*/ 5 w 6"/>
                <a:gd name="T59" fmla="*/ 1 h 10"/>
                <a:gd name="T60" fmla="*/ 3 w 6"/>
                <a:gd name="T61" fmla="*/ 1 h 10"/>
                <a:gd name="T62" fmla="*/ 3 w 6"/>
                <a:gd name="T63" fmla="*/ 1 h 10"/>
                <a:gd name="T64" fmla="*/ 2 w 6"/>
                <a:gd name="T6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" h="10">
                  <a:moveTo>
                    <a:pt x="4" y="0"/>
                  </a:moveTo>
                  <a:cubicBezTo>
                    <a:pt x="4" y="0"/>
                    <a:pt x="5" y="0"/>
                    <a:pt x="5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4"/>
                    <a:pt x="6" y="5"/>
                    <a:pt x="6" y="6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5" y="10"/>
                    <a:pt x="4" y="10"/>
                    <a:pt x="3" y="10"/>
                  </a:cubicBezTo>
                  <a:cubicBezTo>
                    <a:pt x="2" y="10"/>
                    <a:pt x="1" y="10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5" y="5"/>
                    <a:pt x="5" y="4"/>
                  </a:cubicBezTo>
                  <a:cubicBezTo>
                    <a:pt x="5" y="5"/>
                    <a:pt x="5" y="6"/>
                    <a:pt x="4" y="6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2" y="7"/>
                    <a:pt x="2" y="7"/>
                    <a:pt x="1" y="6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0"/>
                    <a:pt x="3" y="0"/>
                    <a:pt x="4" y="0"/>
                  </a:cubicBezTo>
                  <a:close/>
                  <a:moveTo>
                    <a:pt x="2" y="2"/>
                  </a:move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4" name="Freeform 10614"/>
            <p:cNvSpPr>
              <a:spLocks/>
            </p:cNvSpPr>
            <p:nvPr/>
          </p:nvSpPr>
          <p:spPr bwMode="auto">
            <a:xfrm>
              <a:off x="3631145" y="6436729"/>
              <a:ext cx="25395" cy="50790"/>
            </a:xfrm>
            <a:custGeom>
              <a:avLst/>
              <a:gdLst>
                <a:gd name="T0" fmla="*/ 1 w 5"/>
                <a:gd name="T1" fmla="*/ 4 h 10"/>
                <a:gd name="T2" fmla="*/ 0 w 5"/>
                <a:gd name="T3" fmla="*/ 4 h 10"/>
                <a:gd name="T4" fmla="*/ 0 w 5"/>
                <a:gd name="T5" fmla="*/ 3 h 10"/>
                <a:gd name="T6" fmla="*/ 1 w 5"/>
                <a:gd name="T7" fmla="*/ 3 h 10"/>
                <a:gd name="T8" fmla="*/ 1 w 5"/>
                <a:gd name="T9" fmla="*/ 3 h 10"/>
                <a:gd name="T10" fmla="*/ 1 w 5"/>
                <a:gd name="T11" fmla="*/ 2 h 10"/>
                <a:gd name="T12" fmla="*/ 2 w 5"/>
                <a:gd name="T13" fmla="*/ 1 h 10"/>
                <a:gd name="T14" fmla="*/ 2 w 5"/>
                <a:gd name="T15" fmla="*/ 0 h 10"/>
                <a:gd name="T16" fmla="*/ 2 w 5"/>
                <a:gd name="T17" fmla="*/ 0 h 10"/>
                <a:gd name="T18" fmla="*/ 2 w 5"/>
                <a:gd name="T19" fmla="*/ 0 h 10"/>
                <a:gd name="T20" fmla="*/ 2 w 5"/>
                <a:gd name="T21" fmla="*/ 1 h 10"/>
                <a:gd name="T22" fmla="*/ 2 w 5"/>
                <a:gd name="T23" fmla="*/ 3 h 10"/>
                <a:gd name="T24" fmla="*/ 3 w 5"/>
                <a:gd name="T25" fmla="*/ 3 h 10"/>
                <a:gd name="T26" fmla="*/ 4 w 5"/>
                <a:gd name="T27" fmla="*/ 3 h 10"/>
                <a:gd name="T28" fmla="*/ 5 w 5"/>
                <a:gd name="T29" fmla="*/ 3 h 10"/>
                <a:gd name="T30" fmla="*/ 4 w 5"/>
                <a:gd name="T31" fmla="*/ 4 h 10"/>
                <a:gd name="T32" fmla="*/ 4 w 5"/>
                <a:gd name="T33" fmla="*/ 4 h 10"/>
                <a:gd name="T34" fmla="*/ 3 w 5"/>
                <a:gd name="T35" fmla="*/ 4 h 10"/>
                <a:gd name="T36" fmla="*/ 3 w 5"/>
                <a:gd name="T37" fmla="*/ 4 h 10"/>
                <a:gd name="T38" fmla="*/ 2 w 5"/>
                <a:gd name="T39" fmla="*/ 4 h 10"/>
                <a:gd name="T40" fmla="*/ 2 w 5"/>
                <a:gd name="T41" fmla="*/ 5 h 10"/>
                <a:gd name="T42" fmla="*/ 2 w 5"/>
                <a:gd name="T43" fmla="*/ 6 h 10"/>
                <a:gd name="T44" fmla="*/ 2 w 5"/>
                <a:gd name="T45" fmla="*/ 7 h 10"/>
                <a:gd name="T46" fmla="*/ 3 w 5"/>
                <a:gd name="T47" fmla="*/ 9 h 10"/>
                <a:gd name="T48" fmla="*/ 4 w 5"/>
                <a:gd name="T49" fmla="*/ 9 h 10"/>
                <a:gd name="T50" fmla="*/ 4 w 5"/>
                <a:gd name="T51" fmla="*/ 9 h 10"/>
                <a:gd name="T52" fmla="*/ 5 w 5"/>
                <a:gd name="T53" fmla="*/ 9 h 10"/>
                <a:gd name="T54" fmla="*/ 5 w 5"/>
                <a:gd name="T55" fmla="*/ 9 h 10"/>
                <a:gd name="T56" fmla="*/ 5 w 5"/>
                <a:gd name="T57" fmla="*/ 9 h 10"/>
                <a:gd name="T58" fmla="*/ 5 w 5"/>
                <a:gd name="T59" fmla="*/ 10 h 10"/>
                <a:gd name="T60" fmla="*/ 4 w 5"/>
                <a:gd name="T61" fmla="*/ 10 h 10"/>
                <a:gd name="T62" fmla="*/ 2 w 5"/>
                <a:gd name="T63" fmla="*/ 7 h 10"/>
                <a:gd name="T64" fmla="*/ 1 w 5"/>
                <a:gd name="T65" fmla="*/ 4 h 10"/>
                <a:gd name="T66" fmla="*/ 1 w 5"/>
                <a:gd name="T6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" h="10">
                  <a:moveTo>
                    <a:pt x="1" y="4"/>
                  </a:move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2" y="9"/>
                    <a:pt x="2" y="7"/>
                  </a:cubicBezTo>
                  <a:cubicBezTo>
                    <a:pt x="2" y="6"/>
                    <a:pt x="1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5" name="Freeform 10615"/>
            <p:cNvSpPr>
              <a:spLocks/>
            </p:cNvSpPr>
            <p:nvPr/>
          </p:nvSpPr>
          <p:spPr bwMode="auto">
            <a:xfrm>
              <a:off x="3660772" y="6430380"/>
              <a:ext cx="35976" cy="57138"/>
            </a:xfrm>
            <a:custGeom>
              <a:avLst/>
              <a:gdLst>
                <a:gd name="T0" fmla="*/ 0 w 7"/>
                <a:gd name="T1" fmla="*/ 8 h 11"/>
                <a:gd name="T2" fmla="*/ 0 w 7"/>
                <a:gd name="T3" fmla="*/ 2 h 11"/>
                <a:gd name="T4" fmla="*/ 0 w 7"/>
                <a:gd name="T5" fmla="*/ 1 h 11"/>
                <a:gd name="T6" fmla="*/ 1 w 7"/>
                <a:gd name="T7" fmla="*/ 0 h 11"/>
                <a:gd name="T8" fmla="*/ 1 w 7"/>
                <a:gd name="T9" fmla="*/ 4 h 11"/>
                <a:gd name="T10" fmla="*/ 1 w 7"/>
                <a:gd name="T11" fmla="*/ 8 h 11"/>
                <a:gd name="T12" fmla="*/ 3 w 7"/>
                <a:gd name="T13" fmla="*/ 4 h 11"/>
                <a:gd name="T14" fmla="*/ 4 w 7"/>
                <a:gd name="T15" fmla="*/ 5 h 11"/>
                <a:gd name="T16" fmla="*/ 5 w 7"/>
                <a:gd name="T17" fmla="*/ 6 h 11"/>
                <a:gd name="T18" fmla="*/ 5 w 7"/>
                <a:gd name="T19" fmla="*/ 8 h 11"/>
                <a:gd name="T20" fmla="*/ 6 w 7"/>
                <a:gd name="T21" fmla="*/ 10 h 11"/>
                <a:gd name="T22" fmla="*/ 6 w 7"/>
                <a:gd name="T23" fmla="*/ 10 h 11"/>
                <a:gd name="T24" fmla="*/ 7 w 7"/>
                <a:gd name="T25" fmla="*/ 10 h 11"/>
                <a:gd name="T26" fmla="*/ 6 w 7"/>
                <a:gd name="T27" fmla="*/ 11 h 11"/>
                <a:gd name="T28" fmla="*/ 5 w 7"/>
                <a:gd name="T29" fmla="*/ 11 h 11"/>
                <a:gd name="T30" fmla="*/ 4 w 7"/>
                <a:gd name="T31" fmla="*/ 10 h 11"/>
                <a:gd name="T32" fmla="*/ 4 w 7"/>
                <a:gd name="T33" fmla="*/ 9 h 11"/>
                <a:gd name="T34" fmla="*/ 4 w 7"/>
                <a:gd name="T35" fmla="*/ 7 h 11"/>
                <a:gd name="T36" fmla="*/ 4 w 7"/>
                <a:gd name="T37" fmla="*/ 5 h 11"/>
                <a:gd name="T38" fmla="*/ 3 w 7"/>
                <a:gd name="T39" fmla="*/ 5 h 11"/>
                <a:gd name="T40" fmla="*/ 2 w 7"/>
                <a:gd name="T41" fmla="*/ 6 h 11"/>
                <a:gd name="T42" fmla="*/ 2 w 7"/>
                <a:gd name="T43" fmla="*/ 8 h 11"/>
                <a:gd name="T44" fmla="*/ 1 w 7"/>
                <a:gd name="T45" fmla="*/ 10 h 11"/>
                <a:gd name="T46" fmla="*/ 1 w 7"/>
                <a:gd name="T47" fmla="*/ 11 h 11"/>
                <a:gd name="T48" fmla="*/ 0 w 7"/>
                <a:gd name="T4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" h="11">
                  <a:moveTo>
                    <a:pt x="0" y="8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" y="1"/>
                    <a:pt x="1" y="3"/>
                    <a:pt x="1" y="4"/>
                  </a:cubicBezTo>
                  <a:cubicBezTo>
                    <a:pt x="1" y="5"/>
                    <a:pt x="1" y="6"/>
                    <a:pt x="1" y="8"/>
                  </a:cubicBezTo>
                  <a:cubicBezTo>
                    <a:pt x="1" y="5"/>
                    <a:pt x="2" y="4"/>
                    <a:pt x="3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7"/>
                    <a:pt x="5" y="7"/>
                    <a:pt x="5" y="8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7" y="10"/>
                    <a:pt x="6" y="10"/>
                    <a:pt x="6" y="11"/>
                  </a:cubicBezTo>
                  <a:cubicBezTo>
                    <a:pt x="6" y="11"/>
                    <a:pt x="6" y="11"/>
                    <a:pt x="5" y="11"/>
                  </a:cubicBezTo>
                  <a:cubicBezTo>
                    <a:pt x="5" y="11"/>
                    <a:pt x="5" y="11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8"/>
                    <a:pt x="4" y="7"/>
                    <a:pt x="4" y="7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6"/>
                    <a:pt x="2" y="7"/>
                    <a:pt x="2" y="8"/>
                  </a:cubicBezTo>
                  <a:cubicBezTo>
                    <a:pt x="2" y="8"/>
                    <a:pt x="1" y="9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0"/>
                    <a:pt x="0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6" name="Freeform 10616"/>
            <p:cNvSpPr>
              <a:spLocks noEditPoints="1"/>
            </p:cNvSpPr>
            <p:nvPr/>
          </p:nvSpPr>
          <p:spPr bwMode="auto">
            <a:xfrm>
              <a:off x="3696748" y="6451543"/>
              <a:ext cx="29627" cy="35976"/>
            </a:xfrm>
            <a:custGeom>
              <a:avLst/>
              <a:gdLst>
                <a:gd name="T0" fmla="*/ 1 w 6"/>
                <a:gd name="T1" fmla="*/ 4 h 7"/>
                <a:gd name="T2" fmla="*/ 1 w 6"/>
                <a:gd name="T3" fmla="*/ 4 h 7"/>
                <a:gd name="T4" fmla="*/ 1 w 6"/>
                <a:gd name="T5" fmla="*/ 6 h 7"/>
                <a:gd name="T6" fmla="*/ 3 w 6"/>
                <a:gd name="T7" fmla="*/ 6 h 7"/>
                <a:gd name="T8" fmla="*/ 4 w 6"/>
                <a:gd name="T9" fmla="*/ 6 h 7"/>
                <a:gd name="T10" fmla="*/ 5 w 6"/>
                <a:gd name="T11" fmla="*/ 6 h 7"/>
                <a:gd name="T12" fmla="*/ 5 w 6"/>
                <a:gd name="T13" fmla="*/ 5 h 7"/>
                <a:gd name="T14" fmla="*/ 6 w 6"/>
                <a:gd name="T15" fmla="*/ 5 h 7"/>
                <a:gd name="T16" fmla="*/ 5 w 6"/>
                <a:gd name="T17" fmla="*/ 6 h 7"/>
                <a:gd name="T18" fmla="*/ 2 w 6"/>
                <a:gd name="T19" fmla="*/ 7 h 7"/>
                <a:gd name="T20" fmla="*/ 1 w 6"/>
                <a:gd name="T21" fmla="*/ 6 h 7"/>
                <a:gd name="T22" fmla="*/ 0 w 6"/>
                <a:gd name="T23" fmla="*/ 5 h 7"/>
                <a:gd name="T24" fmla="*/ 0 w 6"/>
                <a:gd name="T25" fmla="*/ 2 h 7"/>
                <a:gd name="T26" fmla="*/ 2 w 6"/>
                <a:gd name="T27" fmla="*/ 1 h 7"/>
                <a:gd name="T28" fmla="*/ 3 w 6"/>
                <a:gd name="T29" fmla="*/ 0 h 7"/>
                <a:gd name="T30" fmla="*/ 5 w 6"/>
                <a:gd name="T31" fmla="*/ 0 h 7"/>
                <a:gd name="T32" fmla="*/ 5 w 6"/>
                <a:gd name="T33" fmla="*/ 1 h 7"/>
                <a:gd name="T34" fmla="*/ 4 w 6"/>
                <a:gd name="T35" fmla="*/ 3 h 7"/>
                <a:gd name="T36" fmla="*/ 2 w 6"/>
                <a:gd name="T37" fmla="*/ 4 h 7"/>
                <a:gd name="T38" fmla="*/ 1 w 6"/>
                <a:gd name="T39" fmla="*/ 4 h 7"/>
                <a:gd name="T40" fmla="*/ 2 w 6"/>
                <a:gd name="T41" fmla="*/ 4 h 7"/>
                <a:gd name="T42" fmla="*/ 3 w 6"/>
                <a:gd name="T43" fmla="*/ 3 h 7"/>
                <a:gd name="T44" fmla="*/ 4 w 6"/>
                <a:gd name="T45" fmla="*/ 2 h 7"/>
                <a:gd name="T46" fmla="*/ 4 w 6"/>
                <a:gd name="T47" fmla="*/ 1 h 7"/>
                <a:gd name="T48" fmla="*/ 4 w 6"/>
                <a:gd name="T49" fmla="*/ 1 h 7"/>
                <a:gd name="T50" fmla="*/ 3 w 6"/>
                <a:gd name="T51" fmla="*/ 0 h 7"/>
                <a:gd name="T52" fmla="*/ 2 w 6"/>
                <a:gd name="T53" fmla="*/ 1 h 7"/>
                <a:gd name="T54" fmla="*/ 1 w 6"/>
                <a:gd name="T55" fmla="*/ 3 h 7"/>
                <a:gd name="T56" fmla="*/ 2 w 6"/>
                <a:gd name="T5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7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4" y="6"/>
                    <a:pt x="4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7"/>
                    <a:pt x="3" y="7"/>
                    <a:pt x="2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3"/>
                    <a:pt x="4" y="3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lose/>
                  <a:moveTo>
                    <a:pt x="2" y="4"/>
                  </a:moveTo>
                  <a:cubicBezTo>
                    <a:pt x="3" y="4"/>
                    <a:pt x="3" y="3"/>
                    <a:pt x="3" y="3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2"/>
                    <a:pt x="1" y="3"/>
                    <a:pt x="1" y="3"/>
                  </a:cubicBezTo>
                  <a:cubicBezTo>
                    <a:pt x="1" y="4"/>
                    <a:pt x="2" y="4"/>
                    <a:pt x="2" y="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7" name="Freeform 10617"/>
            <p:cNvSpPr>
              <a:spLocks/>
            </p:cNvSpPr>
            <p:nvPr/>
          </p:nvSpPr>
          <p:spPr bwMode="auto">
            <a:xfrm>
              <a:off x="3745421" y="6436729"/>
              <a:ext cx="40208" cy="50790"/>
            </a:xfrm>
            <a:custGeom>
              <a:avLst/>
              <a:gdLst>
                <a:gd name="T0" fmla="*/ 1 w 8"/>
                <a:gd name="T1" fmla="*/ 0 h 10"/>
                <a:gd name="T2" fmla="*/ 3 w 8"/>
                <a:gd name="T3" fmla="*/ 0 h 10"/>
                <a:gd name="T4" fmla="*/ 4 w 8"/>
                <a:gd name="T5" fmla="*/ 0 h 10"/>
                <a:gd name="T6" fmla="*/ 5 w 8"/>
                <a:gd name="T7" fmla="*/ 0 h 10"/>
                <a:gd name="T8" fmla="*/ 6 w 8"/>
                <a:gd name="T9" fmla="*/ 0 h 10"/>
                <a:gd name="T10" fmla="*/ 7 w 8"/>
                <a:gd name="T11" fmla="*/ 1 h 10"/>
                <a:gd name="T12" fmla="*/ 7 w 8"/>
                <a:gd name="T13" fmla="*/ 2 h 10"/>
                <a:gd name="T14" fmla="*/ 7 w 8"/>
                <a:gd name="T15" fmla="*/ 2 h 10"/>
                <a:gd name="T16" fmla="*/ 7 w 8"/>
                <a:gd name="T17" fmla="*/ 2 h 10"/>
                <a:gd name="T18" fmla="*/ 7 w 8"/>
                <a:gd name="T19" fmla="*/ 2 h 10"/>
                <a:gd name="T20" fmla="*/ 6 w 8"/>
                <a:gd name="T21" fmla="*/ 2 h 10"/>
                <a:gd name="T22" fmla="*/ 4 w 8"/>
                <a:gd name="T23" fmla="*/ 0 h 10"/>
                <a:gd name="T24" fmla="*/ 2 w 8"/>
                <a:gd name="T25" fmla="*/ 1 h 10"/>
                <a:gd name="T26" fmla="*/ 1 w 8"/>
                <a:gd name="T27" fmla="*/ 3 h 10"/>
                <a:gd name="T28" fmla="*/ 2 w 8"/>
                <a:gd name="T29" fmla="*/ 3 h 10"/>
                <a:gd name="T30" fmla="*/ 2 w 8"/>
                <a:gd name="T31" fmla="*/ 4 h 10"/>
                <a:gd name="T32" fmla="*/ 4 w 8"/>
                <a:gd name="T33" fmla="*/ 5 h 10"/>
                <a:gd name="T34" fmla="*/ 5 w 8"/>
                <a:gd name="T35" fmla="*/ 5 h 10"/>
                <a:gd name="T36" fmla="*/ 6 w 8"/>
                <a:gd name="T37" fmla="*/ 5 h 10"/>
                <a:gd name="T38" fmla="*/ 7 w 8"/>
                <a:gd name="T39" fmla="*/ 6 h 10"/>
                <a:gd name="T40" fmla="*/ 8 w 8"/>
                <a:gd name="T41" fmla="*/ 8 h 10"/>
                <a:gd name="T42" fmla="*/ 7 w 8"/>
                <a:gd name="T43" fmla="*/ 10 h 10"/>
                <a:gd name="T44" fmla="*/ 4 w 8"/>
                <a:gd name="T45" fmla="*/ 10 h 10"/>
                <a:gd name="T46" fmla="*/ 1 w 8"/>
                <a:gd name="T47" fmla="*/ 10 h 10"/>
                <a:gd name="T48" fmla="*/ 0 w 8"/>
                <a:gd name="T49" fmla="*/ 9 h 10"/>
                <a:gd name="T50" fmla="*/ 0 w 8"/>
                <a:gd name="T51" fmla="*/ 8 h 10"/>
                <a:gd name="T52" fmla="*/ 0 w 8"/>
                <a:gd name="T53" fmla="*/ 8 h 10"/>
                <a:gd name="T54" fmla="*/ 1 w 8"/>
                <a:gd name="T55" fmla="*/ 8 h 10"/>
                <a:gd name="T56" fmla="*/ 1 w 8"/>
                <a:gd name="T57" fmla="*/ 9 h 10"/>
                <a:gd name="T58" fmla="*/ 1 w 8"/>
                <a:gd name="T59" fmla="*/ 9 h 10"/>
                <a:gd name="T60" fmla="*/ 4 w 8"/>
                <a:gd name="T61" fmla="*/ 10 h 10"/>
                <a:gd name="T62" fmla="*/ 6 w 8"/>
                <a:gd name="T63" fmla="*/ 9 h 10"/>
                <a:gd name="T64" fmla="*/ 7 w 8"/>
                <a:gd name="T65" fmla="*/ 8 h 10"/>
                <a:gd name="T66" fmla="*/ 6 w 8"/>
                <a:gd name="T67" fmla="*/ 6 h 10"/>
                <a:gd name="T68" fmla="*/ 5 w 8"/>
                <a:gd name="T69" fmla="*/ 6 h 10"/>
                <a:gd name="T70" fmla="*/ 3 w 8"/>
                <a:gd name="T71" fmla="*/ 5 h 10"/>
                <a:gd name="T72" fmla="*/ 2 w 8"/>
                <a:gd name="T73" fmla="*/ 5 h 10"/>
                <a:gd name="T74" fmla="*/ 1 w 8"/>
                <a:gd name="T75" fmla="*/ 4 h 10"/>
                <a:gd name="T76" fmla="*/ 0 w 8"/>
                <a:gd name="T77" fmla="*/ 3 h 10"/>
                <a:gd name="T78" fmla="*/ 0 w 8"/>
                <a:gd name="T79" fmla="*/ 1 h 10"/>
                <a:gd name="T80" fmla="*/ 1 w 8"/>
                <a:gd name="T8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" h="10">
                  <a:moveTo>
                    <a:pt x="1" y="0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1"/>
                    <a:pt x="7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8" y="7"/>
                    <a:pt x="8" y="8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6" y="10"/>
                    <a:pt x="5" y="10"/>
                    <a:pt x="4" y="10"/>
                  </a:cubicBezTo>
                  <a:cubicBezTo>
                    <a:pt x="3" y="10"/>
                    <a:pt x="2" y="10"/>
                    <a:pt x="1" y="1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3" y="10"/>
                    <a:pt x="4" y="10"/>
                  </a:cubicBezTo>
                  <a:cubicBezTo>
                    <a:pt x="5" y="10"/>
                    <a:pt x="5" y="9"/>
                    <a:pt x="6" y="9"/>
                  </a:cubicBezTo>
                  <a:cubicBezTo>
                    <a:pt x="6" y="9"/>
                    <a:pt x="7" y="8"/>
                    <a:pt x="7" y="8"/>
                  </a:cubicBezTo>
                  <a:cubicBezTo>
                    <a:pt x="7" y="7"/>
                    <a:pt x="6" y="7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4" y="6"/>
                    <a:pt x="4" y="6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8" name="Freeform 10618"/>
            <p:cNvSpPr>
              <a:spLocks noEditPoints="1"/>
            </p:cNvSpPr>
            <p:nvPr/>
          </p:nvSpPr>
          <p:spPr bwMode="auto">
            <a:xfrm>
              <a:off x="3791978" y="6451543"/>
              <a:ext cx="29627" cy="35976"/>
            </a:xfrm>
            <a:custGeom>
              <a:avLst/>
              <a:gdLst>
                <a:gd name="T0" fmla="*/ 1 w 6"/>
                <a:gd name="T1" fmla="*/ 1 h 7"/>
                <a:gd name="T2" fmla="*/ 3 w 6"/>
                <a:gd name="T3" fmla="*/ 0 h 7"/>
                <a:gd name="T4" fmla="*/ 5 w 6"/>
                <a:gd name="T5" fmla="*/ 1 h 7"/>
                <a:gd name="T6" fmla="*/ 6 w 6"/>
                <a:gd name="T7" fmla="*/ 4 h 7"/>
                <a:gd name="T8" fmla="*/ 5 w 6"/>
                <a:gd name="T9" fmla="*/ 6 h 7"/>
                <a:gd name="T10" fmla="*/ 2 w 6"/>
                <a:gd name="T11" fmla="*/ 7 h 7"/>
                <a:gd name="T12" fmla="*/ 0 w 6"/>
                <a:gd name="T13" fmla="*/ 6 h 7"/>
                <a:gd name="T14" fmla="*/ 0 w 6"/>
                <a:gd name="T15" fmla="*/ 4 h 7"/>
                <a:gd name="T16" fmla="*/ 1 w 6"/>
                <a:gd name="T17" fmla="*/ 1 h 7"/>
                <a:gd name="T18" fmla="*/ 1 w 6"/>
                <a:gd name="T19" fmla="*/ 2 h 7"/>
                <a:gd name="T20" fmla="*/ 1 w 6"/>
                <a:gd name="T21" fmla="*/ 3 h 7"/>
                <a:gd name="T22" fmla="*/ 1 w 6"/>
                <a:gd name="T23" fmla="*/ 4 h 7"/>
                <a:gd name="T24" fmla="*/ 1 w 6"/>
                <a:gd name="T25" fmla="*/ 5 h 7"/>
                <a:gd name="T26" fmla="*/ 1 w 6"/>
                <a:gd name="T27" fmla="*/ 6 h 7"/>
                <a:gd name="T28" fmla="*/ 2 w 6"/>
                <a:gd name="T29" fmla="*/ 6 h 7"/>
                <a:gd name="T30" fmla="*/ 2 w 6"/>
                <a:gd name="T31" fmla="*/ 6 h 7"/>
                <a:gd name="T32" fmla="*/ 4 w 6"/>
                <a:gd name="T33" fmla="*/ 6 h 7"/>
                <a:gd name="T34" fmla="*/ 5 w 6"/>
                <a:gd name="T35" fmla="*/ 4 h 7"/>
                <a:gd name="T36" fmla="*/ 4 w 6"/>
                <a:gd name="T37" fmla="*/ 2 h 7"/>
                <a:gd name="T38" fmla="*/ 3 w 6"/>
                <a:gd name="T39" fmla="*/ 1 h 7"/>
                <a:gd name="T40" fmla="*/ 2 w 6"/>
                <a:gd name="T41" fmla="*/ 1 h 7"/>
                <a:gd name="T42" fmla="*/ 1 w 6"/>
                <a:gd name="T4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7">
                  <a:moveTo>
                    <a:pt x="1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0"/>
                    <a:pt x="5" y="1"/>
                  </a:cubicBezTo>
                  <a:cubicBezTo>
                    <a:pt x="5" y="2"/>
                    <a:pt x="6" y="3"/>
                    <a:pt x="6" y="4"/>
                  </a:cubicBezTo>
                  <a:cubicBezTo>
                    <a:pt x="6" y="5"/>
                    <a:pt x="5" y="5"/>
                    <a:pt x="5" y="6"/>
                  </a:cubicBezTo>
                  <a:cubicBezTo>
                    <a:pt x="4" y="7"/>
                    <a:pt x="3" y="7"/>
                    <a:pt x="2" y="7"/>
                  </a:cubicBezTo>
                  <a:cubicBezTo>
                    <a:pt x="2" y="7"/>
                    <a:pt x="1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2"/>
                    <a:pt x="1" y="1"/>
                  </a:cubicBezTo>
                  <a:close/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4" y="6"/>
                    <a:pt x="4" y="6"/>
                  </a:cubicBezTo>
                  <a:cubicBezTo>
                    <a:pt x="4" y="5"/>
                    <a:pt x="5" y="4"/>
                    <a:pt x="5" y="4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39" name="Freeform 10619"/>
            <p:cNvSpPr>
              <a:spLocks/>
            </p:cNvSpPr>
            <p:nvPr/>
          </p:nvSpPr>
          <p:spPr bwMode="auto">
            <a:xfrm>
              <a:off x="3825838" y="6451543"/>
              <a:ext cx="25395" cy="35976"/>
            </a:xfrm>
            <a:custGeom>
              <a:avLst/>
              <a:gdLst>
                <a:gd name="T0" fmla="*/ 1 w 5"/>
                <a:gd name="T1" fmla="*/ 0 h 7"/>
                <a:gd name="T2" fmla="*/ 1 w 5"/>
                <a:gd name="T3" fmla="*/ 2 h 7"/>
                <a:gd name="T4" fmla="*/ 2 w 5"/>
                <a:gd name="T5" fmla="*/ 6 h 7"/>
                <a:gd name="T6" fmla="*/ 3 w 5"/>
                <a:gd name="T7" fmla="*/ 6 h 7"/>
                <a:gd name="T8" fmla="*/ 4 w 5"/>
                <a:gd name="T9" fmla="*/ 6 h 7"/>
                <a:gd name="T10" fmla="*/ 4 w 5"/>
                <a:gd name="T11" fmla="*/ 3 h 7"/>
                <a:gd name="T12" fmla="*/ 4 w 5"/>
                <a:gd name="T13" fmla="*/ 1 h 7"/>
                <a:gd name="T14" fmla="*/ 3 w 5"/>
                <a:gd name="T15" fmla="*/ 0 h 7"/>
                <a:gd name="T16" fmla="*/ 3 w 5"/>
                <a:gd name="T17" fmla="*/ 0 h 7"/>
                <a:gd name="T18" fmla="*/ 4 w 5"/>
                <a:gd name="T19" fmla="*/ 0 h 7"/>
                <a:gd name="T20" fmla="*/ 5 w 5"/>
                <a:gd name="T21" fmla="*/ 2 h 7"/>
                <a:gd name="T22" fmla="*/ 5 w 5"/>
                <a:gd name="T23" fmla="*/ 3 h 7"/>
                <a:gd name="T24" fmla="*/ 5 w 5"/>
                <a:gd name="T25" fmla="*/ 5 h 7"/>
                <a:gd name="T26" fmla="*/ 2 w 5"/>
                <a:gd name="T27" fmla="*/ 7 h 7"/>
                <a:gd name="T28" fmla="*/ 1 w 5"/>
                <a:gd name="T29" fmla="*/ 6 h 7"/>
                <a:gd name="T30" fmla="*/ 0 w 5"/>
                <a:gd name="T31" fmla="*/ 3 h 7"/>
                <a:gd name="T32" fmla="*/ 0 w 5"/>
                <a:gd name="T33" fmla="*/ 1 h 7"/>
                <a:gd name="T34" fmla="*/ 0 w 5"/>
                <a:gd name="T35" fmla="*/ 1 h 7"/>
                <a:gd name="T36" fmla="*/ 0 w 5"/>
                <a:gd name="T37" fmla="*/ 0 h 7"/>
                <a:gd name="T38" fmla="*/ 1 w 5"/>
                <a:gd name="T39" fmla="*/ 0 h 7"/>
                <a:gd name="T40" fmla="*/ 1 w 5"/>
                <a:gd name="T4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7">
                  <a:moveTo>
                    <a:pt x="1" y="0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4"/>
                    <a:pt x="1" y="5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5"/>
                    <a:pt x="4" y="4"/>
                    <a:pt x="4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5" y="0"/>
                    <a:pt x="5" y="2"/>
                  </a:cubicBezTo>
                  <a:cubicBezTo>
                    <a:pt x="5" y="2"/>
                    <a:pt x="5" y="2"/>
                    <a:pt x="5" y="3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0" name="Freeform 10620"/>
            <p:cNvSpPr>
              <a:spLocks/>
            </p:cNvSpPr>
            <p:nvPr/>
          </p:nvSpPr>
          <p:spPr bwMode="auto">
            <a:xfrm>
              <a:off x="3855465" y="6430380"/>
              <a:ext cx="16930" cy="57138"/>
            </a:xfrm>
            <a:custGeom>
              <a:avLst/>
              <a:gdLst>
                <a:gd name="T0" fmla="*/ 1 w 3"/>
                <a:gd name="T1" fmla="*/ 2 h 11"/>
                <a:gd name="T2" fmla="*/ 0 w 3"/>
                <a:gd name="T3" fmla="*/ 1 h 11"/>
                <a:gd name="T4" fmla="*/ 1 w 3"/>
                <a:gd name="T5" fmla="*/ 0 h 11"/>
                <a:gd name="T6" fmla="*/ 1 w 3"/>
                <a:gd name="T7" fmla="*/ 0 h 11"/>
                <a:gd name="T8" fmla="*/ 2 w 3"/>
                <a:gd name="T9" fmla="*/ 2 h 11"/>
                <a:gd name="T10" fmla="*/ 2 w 3"/>
                <a:gd name="T11" fmla="*/ 5 h 11"/>
                <a:gd name="T12" fmla="*/ 1 w 3"/>
                <a:gd name="T13" fmla="*/ 8 h 11"/>
                <a:gd name="T14" fmla="*/ 2 w 3"/>
                <a:gd name="T15" fmla="*/ 10 h 11"/>
                <a:gd name="T16" fmla="*/ 3 w 3"/>
                <a:gd name="T17" fmla="*/ 10 h 11"/>
                <a:gd name="T18" fmla="*/ 3 w 3"/>
                <a:gd name="T19" fmla="*/ 10 h 11"/>
                <a:gd name="T20" fmla="*/ 2 w 3"/>
                <a:gd name="T21" fmla="*/ 11 h 11"/>
                <a:gd name="T22" fmla="*/ 1 w 3"/>
                <a:gd name="T23" fmla="*/ 10 h 11"/>
                <a:gd name="T24" fmla="*/ 1 w 3"/>
                <a:gd name="T25" fmla="*/ 9 h 11"/>
                <a:gd name="T26" fmla="*/ 0 w 3"/>
                <a:gd name="T27" fmla="*/ 8 h 11"/>
                <a:gd name="T28" fmla="*/ 0 w 3"/>
                <a:gd name="T29" fmla="*/ 7 h 11"/>
                <a:gd name="T30" fmla="*/ 1 w 3"/>
                <a:gd name="T31" fmla="*/ 5 h 11"/>
                <a:gd name="T32" fmla="*/ 1 w 3"/>
                <a:gd name="T3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11">
                  <a:moveTo>
                    <a:pt x="1" y="2"/>
                  </a:moveTo>
                  <a:cubicBezTo>
                    <a:pt x="1" y="2"/>
                    <a:pt x="1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3"/>
                    <a:pt x="2" y="4"/>
                    <a:pt x="2" y="5"/>
                  </a:cubicBezTo>
                  <a:cubicBezTo>
                    <a:pt x="1" y="6"/>
                    <a:pt x="1" y="7"/>
                    <a:pt x="1" y="8"/>
                  </a:cubicBezTo>
                  <a:cubicBezTo>
                    <a:pt x="1" y="9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2" y="11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1" y="9"/>
                    <a:pt x="0" y="8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1" y="7"/>
                    <a:pt x="1" y="6"/>
                    <a:pt x="1" y="5"/>
                  </a:cubicBezTo>
                  <a:cubicBezTo>
                    <a:pt x="1" y="4"/>
                    <a:pt x="1" y="3"/>
                    <a:pt x="1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1" name="Freeform 10621"/>
            <p:cNvSpPr>
              <a:spLocks noEditPoints="1"/>
            </p:cNvSpPr>
            <p:nvPr/>
          </p:nvSpPr>
          <p:spPr bwMode="auto">
            <a:xfrm>
              <a:off x="3891441" y="6451543"/>
              <a:ext cx="25395" cy="35976"/>
            </a:xfrm>
            <a:custGeom>
              <a:avLst/>
              <a:gdLst>
                <a:gd name="T0" fmla="*/ 0 w 5"/>
                <a:gd name="T1" fmla="*/ 1 h 7"/>
                <a:gd name="T2" fmla="*/ 3 w 5"/>
                <a:gd name="T3" fmla="*/ 0 h 7"/>
                <a:gd name="T4" fmla="*/ 5 w 5"/>
                <a:gd name="T5" fmla="*/ 1 h 7"/>
                <a:gd name="T6" fmla="*/ 5 w 5"/>
                <a:gd name="T7" fmla="*/ 4 h 7"/>
                <a:gd name="T8" fmla="*/ 5 w 5"/>
                <a:gd name="T9" fmla="*/ 6 h 7"/>
                <a:gd name="T10" fmla="*/ 2 w 5"/>
                <a:gd name="T11" fmla="*/ 7 h 7"/>
                <a:gd name="T12" fmla="*/ 0 w 5"/>
                <a:gd name="T13" fmla="*/ 6 h 7"/>
                <a:gd name="T14" fmla="*/ 0 w 5"/>
                <a:gd name="T15" fmla="*/ 4 h 7"/>
                <a:gd name="T16" fmla="*/ 0 w 5"/>
                <a:gd name="T17" fmla="*/ 1 h 7"/>
                <a:gd name="T18" fmla="*/ 1 w 5"/>
                <a:gd name="T19" fmla="*/ 2 h 7"/>
                <a:gd name="T20" fmla="*/ 1 w 5"/>
                <a:gd name="T21" fmla="*/ 3 h 7"/>
                <a:gd name="T22" fmla="*/ 1 w 5"/>
                <a:gd name="T23" fmla="*/ 4 h 7"/>
                <a:gd name="T24" fmla="*/ 1 w 5"/>
                <a:gd name="T25" fmla="*/ 5 h 7"/>
                <a:gd name="T26" fmla="*/ 1 w 5"/>
                <a:gd name="T27" fmla="*/ 6 h 7"/>
                <a:gd name="T28" fmla="*/ 2 w 5"/>
                <a:gd name="T29" fmla="*/ 6 h 7"/>
                <a:gd name="T30" fmla="*/ 2 w 5"/>
                <a:gd name="T31" fmla="*/ 6 h 7"/>
                <a:gd name="T32" fmla="*/ 4 w 5"/>
                <a:gd name="T33" fmla="*/ 6 h 7"/>
                <a:gd name="T34" fmla="*/ 5 w 5"/>
                <a:gd name="T35" fmla="*/ 4 h 7"/>
                <a:gd name="T36" fmla="*/ 4 w 5"/>
                <a:gd name="T37" fmla="*/ 2 h 7"/>
                <a:gd name="T38" fmla="*/ 3 w 5"/>
                <a:gd name="T39" fmla="*/ 1 h 7"/>
                <a:gd name="T40" fmla="*/ 2 w 5"/>
                <a:gd name="T41" fmla="*/ 1 h 7"/>
                <a:gd name="T42" fmla="*/ 1 w 5"/>
                <a:gd name="T4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7">
                  <a:moveTo>
                    <a:pt x="0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5" y="2"/>
                    <a:pt x="5" y="3"/>
                    <a:pt x="5" y="4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4" y="7"/>
                    <a:pt x="3" y="7"/>
                    <a:pt x="2" y="7"/>
                  </a:cubicBezTo>
                  <a:cubicBezTo>
                    <a:pt x="1" y="7"/>
                    <a:pt x="1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2"/>
                    <a:pt x="0" y="1"/>
                  </a:cubicBezTo>
                  <a:close/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5"/>
                    <a:pt x="5" y="4"/>
                    <a:pt x="5" y="4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2" name="Freeform 10622"/>
            <p:cNvSpPr>
              <a:spLocks/>
            </p:cNvSpPr>
            <p:nvPr/>
          </p:nvSpPr>
          <p:spPr bwMode="auto">
            <a:xfrm>
              <a:off x="3921069" y="6430380"/>
              <a:ext cx="25395" cy="57138"/>
            </a:xfrm>
            <a:custGeom>
              <a:avLst/>
              <a:gdLst>
                <a:gd name="T0" fmla="*/ 2 w 5"/>
                <a:gd name="T1" fmla="*/ 11 h 11"/>
                <a:gd name="T2" fmla="*/ 1 w 5"/>
                <a:gd name="T3" fmla="*/ 7 h 11"/>
                <a:gd name="T4" fmla="*/ 1 w 5"/>
                <a:gd name="T5" fmla="*/ 5 h 11"/>
                <a:gd name="T6" fmla="*/ 1 w 5"/>
                <a:gd name="T7" fmla="*/ 5 h 11"/>
                <a:gd name="T8" fmla="*/ 1 w 5"/>
                <a:gd name="T9" fmla="*/ 5 h 11"/>
                <a:gd name="T10" fmla="*/ 0 w 5"/>
                <a:gd name="T11" fmla="*/ 5 h 11"/>
                <a:gd name="T12" fmla="*/ 0 w 5"/>
                <a:gd name="T13" fmla="*/ 5 h 11"/>
                <a:gd name="T14" fmla="*/ 0 w 5"/>
                <a:gd name="T15" fmla="*/ 4 h 11"/>
                <a:gd name="T16" fmla="*/ 0 w 5"/>
                <a:gd name="T17" fmla="*/ 4 h 11"/>
                <a:gd name="T18" fmla="*/ 1 w 5"/>
                <a:gd name="T19" fmla="*/ 4 h 11"/>
                <a:gd name="T20" fmla="*/ 1 w 5"/>
                <a:gd name="T21" fmla="*/ 4 h 11"/>
                <a:gd name="T22" fmla="*/ 1 w 5"/>
                <a:gd name="T23" fmla="*/ 3 h 11"/>
                <a:gd name="T24" fmla="*/ 1 w 5"/>
                <a:gd name="T25" fmla="*/ 2 h 11"/>
                <a:gd name="T26" fmla="*/ 1 w 5"/>
                <a:gd name="T27" fmla="*/ 2 h 11"/>
                <a:gd name="T28" fmla="*/ 1 w 5"/>
                <a:gd name="T29" fmla="*/ 1 h 11"/>
                <a:gd name="T30" fmla="*/ 2 w 5"/>
                <a:gd name="T31" fmla="*/ 1 h 11"/>
                <a:gd name="T32" fmla="*/ 2 w 5"/>
                <a:gd name="T33" fmla="*/ 1 h 11"/>
                <a:gd name="T34" fmla="*/ 2 w 5"/>
                <a:gd name="T35" fmla="*/ 0 h 11"/>
                <a:gd name="T36" fmla="*/ 3 w 5"/>
                <a:gd name="T37" fmla="*/ 0 h 11"/>
                <a:gd name="T38" fmla="*/ 4 w 5"/>
                <a:gd name="T39" fmla="*/ 0 h 11"/>
                <a:gd name="T40" fmla="*/ 5 w 5"/>
                <a:gd name="T41" fmla="*/ 2 h 11"/>
                <a:gd name="T42" fmla="*/ 4 w 5"/>
                <a:gd name="T43" fmla="*/ 2 h 11"/>
                <a:gd name="T44" fmla="*/ 4 w 5"/>
                <a:gd name="T45" fmla="*/ 2 h 11"/>
                <a:gd name="T46" fmla="*/ 4 w 5"/>
                <a:gd name="T47" fmla="*/ 1 h 11"/>
                <a:gd name="T48" fmla="*/ 3 w 5"/>
                <a:gd name="T49" fmla="*/ 1 h 11"/>
                <a:gd name="T50" fmla="*/ 3 w 5"/>
                <a:gd name="T51" fmla="*/ 1 h 11"/>
                <a:gd name="T52" fmla="*/ 2 w 5"/>
                <a:gd name="T53" fmla="*/ 1 h 11"/>
                <a:gd name="T54" fmla="*/ 2 w 5"/>
                <a:gd name="T55" fmla="*/ 3 h 11"/>
                <a:gd name="T56" fmla="*/ 2 w 5"/>
                <a:gd name="T57" fmla="*/ 3 h 11"/>
                <a:gd name="T58" fmla="*/ 2 w 5"/>
                <a:gd name="T59" fmla="*/ 4 h 11"/>
                <a:gd name="T60" fmla="*/ 3 w 5"/>
                <a:gd name="T61" fmla="*/ 4 h 11"/>
                <a:gd name="T62" fmla="*/ 4 w 5"/>
                <a:gd name="T63" fmla="*/ 4 h 11"/>
                <a:gd name="T64" fmla="*/ 4 w 5"/>
                <a:gd name="T65" fmla="*/ 4 h 11"/>
                <a:gd name="T66" fmla="*/ 3 w 5"/>
                <a:gd name="T67" fmla="*/ 4 h 11"/>
                <a:gd name="T68" fmla="*/ 2 w 5"/>
                <a:gd name="T69" fmla="*/ 4 h 11"/>
                <a:gd name="T70" fmla="*/ 2 w 5"/>
                <a:gd name="T71" fmla="*/ 6 h 11"/>
                <a:gd name="T72" fmla="*/ 2 w 5"/>
                <a:gd name="T73" fmla="*/ 8 h 11"/>
                <a:gd name="T74" fmla="*/ 2 w 5"/>
                <a:gd name="T75" fmla="*/ 10 h 11"/>
                <a:gd name="T76" fmla="*/ 2 w 5"/>
                <a:gd name="T77" fmla="*/ 11 h 11"/>
                <a:gd name="T78" fmla="*/ 2 w 5"/>
                <a:gd name="T7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" h="11">
                  <a:moveTo>
                    <a:pt x="2" y="11"/>
                  </a:moveTo>
                  <a:cubicBezTo>
                    <a:pt x="1" y="11"/>
                    <a:pt x="1" y="10"/>
                    <a:pt x="1" y="7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7"/>
                    <a:pt x="2" y="8"/>
                  </a:cubicBezTo>
                  <a:cubicBezTo>
                    <a:pt x="2" y="8"/>
                    <a:pt x="2" y="9"/>
                    <a:pt x="2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3" name="Freeform 10623"/>
            <p:cNvSpPr>
              <a:spLocks/>
            </p:cNvSpPr>
            <p:nvPr/>
          </p:nvSpPr>
          <p:spPr bwMode="auto">
            <a:xfrm>
              <a:off x="3961277" y="6436729"/>
              <a:ext cx="40208" cy="50790"/>
            </a:xfrm>
            <a:custGeom>
              <a:avLst/>
              <a:gdLst>
                <a:gd name="T0" fmla="*/ 1 w 8"/>
                <a:gd name="T1" fmla="*/ 0 h 10"/>
                <a:gd name="T2" fmla="*/ 2 w 8"/>
                <a:gd name="T3" fmla="*/ 0 h 10"/>
                <a:gd name="T4" fmla="*/ 2 w 8"/>
                <a:gd name="T5" fmla="*/ 0 h 10"/>
                <a:gd name="T6" fmla="*/ 1 w 8"/>
                <a:gd name="T7" fmla="*/ 4 h 10"/>
                <a:gd name="T8" fmla="*/ 1 w 8"/>
                <a:gd name="T9" fmla="*/ 6 h 10"/>
                <a:gd name="T10" fmla="*/ 2 w 8"/>
                <a:gd name="T11" fmla="*/ 8 h 10"/>
                <a:gd name="T12" fmla="*/ 3 w 8"/>
                <a:gd name="T13" fmla="*/ 9 h 10"/>
                <a:gd name="T14" fmla="*/ 4 w 8"/>
                <a:gd name="T15" fmla="*/ 9 h 10"/>
                <a:gd name="T16" fmla="*/ 6 w 8"/>
                <a:gd name="T17" fmla="*/ 8 h 10"/>
                <a:gd name="T18" fmla="*/ 7 w 8"/>
                <a:gd name="T19" fmla="*/ 4 h 10"/>
                <a:gd name="T20" fmla="*/ 6 w 8"/>
                <a:gd name="T21" fmla="*/ 0 h 10"/>
                <a:gd name="T22" fmla="*/ 7 w 8"/>
                <a:gd name="T23" fmla="*/ 0 h 10"/>
                <a:gd name="T24" fmla="*/ 7 w 8"/>
                <a:gd name="T25" fmla="*/ 0 h 10"/>
                <a:gd name="T26" fmla="*/ 8 w 8"/>
                <a:gd name="T27" fmla="*/ 4 h 10"/>
                <a:gd name="T28" fmla="*/ 7 w 8"/>
                <a:gd name="T29" fmla="*/ 8 h 10"/>
                <a:gd name="T30" fmla="*/ 6 w 8"/>
                <a:gd name="T31" fmla="*/ 10 h 10"/>
                <a:gd name="T32" fmla="*/ 4 w 8"/>
                <a:gd name="T33" fmla="*/ 10 h 10"/>
                <a:gd name="T34" fmla="*/ 2 w 8"/>
                <a:gd name="T35" fmla="*/ 10 h 10"/>
                <a:gd name="T36" fmla="*/ 1 w 8"/>
                <a:gd name="T37" fmla="*/ 9 h 10"/>
                <a:gd name="T38" fmla="*/ 1 w 8"/>
                <a:gd name="T39" fmla="*/ 7 h 10"/>
                <a:gd name="T40" fmla="*/ 0 w 8"/>
                <a:gd name="T41" fmla="*/ 4 h 10"/>
                <a:gd name="T42" fmla="*/ 1 w 8"/>
                <a:gd name="T4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10">
                  <a:moveTo>
                    <a:pt x="1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7"/>
                    <a:pt x="2" y="7"/>
                    <a:pt x="2" y="8"/>
                  </a:cubicBezTo>
                  <a:cubicBezTo>
                    <a:pt x="2" y="8"/>
                    <a:pt x="2" y="9"/>
                    <a:pt x="3" y="9"/>
                  </a:cubicBezTo>
                  <a:cubicBezTo>
                    <a:pt x="3" y="9"/>
                    <a:pt x="4" y="9"/>
                    <a:pt x="4" y="9"/>
                  </a:cubicBezTo>
                  <a:cubicBezTo>
                    <a:pt x="5" y="9"/>
                    <a:pt x="6" y="9"/>
                    <a:pt x="6" y="8"/>
                  </a:cubicBezTo>
                  <a:cubicBezTo>
                    <a:pt x="7" y="7"/>
                    <a:pt x="7" y="6"/>
                    <a:pt x="7" y="4"/>
                  </a:cubicBezTo>
                  <a:cubicBezTo>
                    <a:pt x="7" y="3"/>
                    <a:pt x="7" y="1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2"/>
                    <a:pt x="8" y="4"/>
                  </a:cubicBezTo>
                  <a:cubicBezTo>
                    <a:pt x="8" y="6"/>
                    <a:pt x="8" y="7"/>
                    <a:pt x="7" y="8"/>
                  </a:cubicBezTo>
                  <a:cubicBezTo>
                    <a:pt x="7" y="9"/>
                    <a:pt x="6" y="9"/>
                    <a:pt x="6" y="10"/>
                  </a:cubicBezTo>
                  <a:cubicBezTo>
                    <a:pt x="5" y="10"/>
                    <a:pt x="5" y="10"/>
                    <a:pt x="4" y="10"/>
                  </a:cubicBezTo>
                  <a:cubicBezTo>
                    <a:pt x="3" y="10"/>
                    <a:pt x="3" y="10"/>
                    <a:pt x="2" y="10"/>
                  </a:cubicBezTo>
                  <a:cubicBezTo>
                    <a:pt x="2" y="10"/>
                    <a:pt x="2" y="9"/>
                    <a:pt x="1" y="9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4" name="Freeform 10624"/>
            <p:cNvSpPr>
              <a:spLocks/>
            </p:cNvSpPr>
            <p:nvPr/>
          </p:nvSpPr>
          <p:spPr bwMode="auto">
            <a:xfrm>
              <a:off x="4012066" y="6451543"/>
              <a:ext cx="25395" cy="35976"/>
            </a:xfrm>
            <a:custGeom>
              <a:avLst/>
              <a:gdLst>
                <a:gd name="T0" fmla="*/ 1 w 5"/>
                <a:gd name="T1" fmla="*/ 6 h 7"/>
                <a:gd name="T2" fmla="*/ 1 w 5"/>
                <a:gd name="T3" fmla="*/ 6 h 7"/>
                <a:gd name="T4" fmla="*/ 1 w 5"/>
                <a:gd name="T5" fmla="*/ 7 h 7"/>
                <a:gd name="T6" fmla="*/ 1 w 5"/>
                <a:gd name="T7" fmla="*/ 7 h 7"/>
                <a:gd name="T8" fmla="*/ 0 w 5"/>
                <a:gd name="T9" fmla="*/ 7 h 7"/>
                <a:gd name="T10" fmla="*/ 0 w 5"/>
                <a:gd name="T11" fmla="*/ 3 h 7"/>
                <a:gd name="T12" fmla="*/ 0 w 5"/>
                <a:gd name="T13" fmla="*/ 0 h 7"/>
                <a:gd name="T14" fmla="*/ 0 w 5"/>
                <a:gd name="T15" fmla="*/ 0 h 7"/>
                <a:gd name="T16" fmla="*/ 1 w 5"/>
                <a:gd name="T17" fmla="*/ 0 h 7"/>
                <a:gd name="T18" fmla="*/ 1 w 5"/>
                <a:gd name="T19" fmla="*/ 2 h 7"/>
                <a:gd name="T20" fmla="*/ 1 w 5"/>
                <a:gd name="T21" fmla="*/ 3 h 7"/>
                <a:gd name="T22" fmla="*/ 1 w 5"/>
                <a:gd name="T23" fmla="*/ 1 h 7"/>
                <a:gd name="T24" fmla="*/ 2 w 5"/>
                <a:gd name="T25" fmla="*/ 0 h 7"/>
                <a:gd name="T26" fmla="*/ 3 w 5"/>
                <a:gd name="T27" fmla="*/ 0 h 7"/>
                <a:gd name="T28" fmla="*/ 4 w 5"/>
                <a:gd name="T29" fmla="*/ 0 h 7"/>
                <a:gd name="T30" fmla="*/ 5 w 5"/>
                <a:gd name="T31" fmla="*/ 1 h 7"/>
                <a:gd name="T32" fmla="*/ 4 w 5"/>
                <a:gd name="T33" fmla="*/ 1 h 7"/>
                <a:gd name="T34" fmla="*/ 4 w 5"/>
                <a:gd name="T35" fmla="*/ 2 h 7"/>
                <a:gd name="T36" fmla="*/ 4 w 5"/>
                <a:gd name="T37" fmla="*/ 1 h 7"/>
                <a:gd name="T38" fmla="*/ 4 w 5"/>
                <a:gd name="T39" fmla="*/ 1 h 7"/>
                <a:gd name="T40" fmla="*/ 3 w 5"/>
                <a:gd name="T41" fmla="*/ 1 h 7"/>
                <a:gd name="T42" fmla="*/ 3 w 5"/>
                <a:gd name="T43" fmla="*/ 1 h 7"/>
                <a:gd name="T44" fmla="*/ 2 w 5"/>
                <a:gd name="T45" fmla="*/ 2 h 7"/>
                <a:gd name="T46" fmla="*/ 1 w 5"/>
                <a:gd name="T4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7">
                  <a:moveTo>
                    <a:pt x="1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0" y="7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1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2"/>
                    <a:pt x="1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2" y="3"/>
                    <a:pt x="1" y="4"/>
                    <a:pt x="1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5" name="Freeform 10625"/>
            <p:cNvSpPr>
              <a:spLocks noEditPoints="1"/>
            </p:cNvSpPr>
            <p:nvPr/>
          </p:nvSpPr>
          <p:spPr bwMode="auto">
            <a:xfrm>
              <a:off x="4041694" y="6430380"/>
              <a:ext cx="25395" cy="57138"/>
            </a:xfrm>
            <a:custGeom>
              <a:avLst/>
              <a:gdLst>
                <a:gd name="T0" fmla="*/ 0 w 5"/>
                <a:gd name="T1" fmla="*/ 1 h 11"/>
                <a:gd name="T2" fmla="*/ 0 w 5"/>
                <a:gd name="T3" fmla="*/ 0 h 11"/>
                <a:gd name="T4" fmla="*/ 1 w 5"/>
                <a:gd name="T5" fmla="*/ 0 h 11"/>
                <a:gd name="T6" fmla="*/ 1 w 5"/>
                <a:gd name="T7" fmla="*/ 5 h 11"/>
                <a:gd name="T8" fmla="*/ 1 w 5"/>
                <a:gd name="T9" fmla="*/ 5 h 11"/>
                <a:gd name="T10" fmla="*/ 1 w 5"/>
                <a:gd name="T11" fmla="*/ 4 h 11"/>
                <a:gd name="T12" fmla="*/ 1 w 5"/>
                <a:gd name="T13" fmla="*/ 4 h 11"/>
                <a:gd name="T14" fmla="*/ 1 w 5"/>
                <a:gd name="T15" fmla="*/ 4 h 11"/>
                <a:gd name="T16" fmla="*/ 1 w 5"/>
                <a:gd name="T17" fmla="*/ 4 h 11"/>
                <a:gd name="T18" fmla="*/ 2 w 5"/>
                <a:gd name="T19" fmla="*/ 4 h 11"/>
                <a:gd name="T20" fmla="*/ 2 w 5"/>
                <a:gd name="T21" fmla="*/ 4 h 11"/>
                <a:gd name="T22" fmla="*/ 2 w 5"/>
                <a:gd name="T23" fmla="*/ 4 h 11"/>
                <a:gd name="T24" fmla="*/ 4 w 5"/>
                <a:gd name="T25" fmla="*/ 5 h 11"/>
                <a:gd name="T26" fmla="*/ 5 w 5"/>
                <a:gd name="T27" fmla="*/ 7 h 11"/>
                <a:gd name="T28" fmla="*/ 4 w 5"/>
                <a:gd name="T29" fmla="*/ 9 h 11"/>
                <a:gd name="T30" fmla="*/ 3 w 5"/>
                <a:gd name="T31" fmla="*/ 10 h 11"/>
                <a:gd name="T32" fmla="*/ 2 w 5"/>
                <a:gd name="T33" fmla="*/ 11 h 11"/>
                <a:gd name="T34" fmla="*/ 0 w 5"/>
                <a:gd name="T35" fmla="*/ 10 h 11"/>
                <a:gd name="T36" fmla="*/ 0 w 5"/>
                <a:gd name="T37" fmla="*/ 9 h 11"/>
                <a:gd name="T38" fmla="*/ 0 w 5"/>
                <a:gd name="T39" fmla="*/ 6 h 11"/>
                <a:gd name="T40" fmla="*/ 0 w 5"/>
                <a:gd name="T41" fmla="*/ 2 h 11"/>
                <a:gd name="T42" fmla="*/ 0 w 5"/>
                <a:gd name="T43" fmla="*/ 1 h 11"/>
                <a:gd name="T44" fmla="*/ 2 w 5"/>
                <a:gd name="T45" fmla="*/ 10 h 11"/>
                <a:gd name="T46" fmla="*/ 3 w 5"/>
                <a:gd name="T47" fmla="*/ 10 h 11"/>
                <a:gd name="T48" fmla="*/ 4 w 5"/>
                <a:gd name="T49" fmla="*/ 7 h 11"/>
                <a:gd name="T50" fmla="*/ 3 w 5"/>
                <a:gd name="T51" fmla="*/ 5 h 11"/>
                <a:gd name="T52" fmla="*/ 2 w 5"/>
                <a:gd name="T53" fmla="*/ 4 h 11"/>
                <a:gd name="T54" fmla="*/ 1 w 5"/>
                <a:gd name="T55" fmla="*/ 5 h 11"/>
                <a:gd name="T56" fmla="*/ 1 w 5"/>
                <a:gd name="T57" fmla="*/ 6 h 11"/>
                <a:gd name="T58" fmla="*/ 1 w 5"/>
                <a:gd name="T59" fmla="*/ 9 h 11"/>
                <a:gd name="T60" fmla="*/ 1 w 5"/>
                <a:gd name="T61" fmla="*/ 10 h 11"/>
                <a:gd name="T62" fmla="*/ 2 w 5"/>
                <a:gd name="T63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" h="1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1" y="2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5"/>
                    <a:pt x="5" y="6"/>
                    <a:pt x="5" y="7"/>
                  </a:cubicBezTo>
                  <a:cubicBezTo>
                    <a:pt x="5" y="7"/>
                    <a:pt x="4" y="8"/>
                    <a:pt x="4" y="9"/>
                  </a:cubicBezTo>
                  <a:cubicBezTo>
                    <a:pt x="4" y="9"/>
                    <a:pt x="4" y="10"/>
                    <a:pt x="3" y="10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1" y="11"/>
                    <a:pt x="1" y="11"/>
                    <a:pt x="0" y="10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lose/>
                  <a:moveTo>
                    <a:pt x="2" y="10"/>
                  </a:moveTo>
                  <a:cubicBezTo>
                    <a:pt x="2" y="10"/>
                    <a:pt x="2" y="10"/>
                    <a:pt x="3" y="10"/>
                  </a:cubicBezTo>
                  <a:cubicBezTo>
                    <a:pt x="3" y="9"/>
                    <a:pt x="4" y="8"/>
                    <a:pt x="4" y="7"/>
                  </a:cubicBezTo>
                  <a:cubicBezTo>
                    <a:pt x="4" y="6"/>
                    <a:pt x="4" y="6"/>
                    <a:pt x="3" y="5"/>
                  </a:cubicBezTo>
                  <a:cubicBezTo>
                    <a:pt x="3" y="5"/>
                    <a:pt x="3" y="4"/>
                    <a:pt x="2" y="4"/>
                  </a:cubicBezTo>
                  <a:cubicBezTo>
                    <a:pt x="2" y="4"/>
                    <a:pt x="2" y="4"/>
                    <a:pt x="1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7"/>
                    <a:pt x="1" y="8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2" y="10"/>
                    <a:pt x="2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6" name="Freeform 10626"/>
            <p:cNvSpPr>
              <a:spLocks noEditPoints="1"/>
            </p:cNvSpPr>
            <p:nvPr/>
          </p:nvSpPr>
          <p:spPr bwMode="auto">
            <a:xfrm>
              <a:off x="4071321" y="6451543"/>
              <a:ext cx="29627" cy="35976"/>
            </a:xfrm>
            <a:custGeom>
              <a:avLst/>
              <a:gdLst>
                <a:gd name="T0" fmla="*/ 4 w 6"/>
                <a:gd name="T1" fmla="*/ 3 h 7"/>
                <a:gd name="T2" fmla="*/ 4 w 6"/>
                <a:gd name="T3" fmla="*/ 5 h 7"/>
                <a:gd name="T4" fmla="*/ 5 w 6"/>
                <a:gd name="T5" fmla="*/ 6 h 7"/>
                <a:gd name="T6" fmla="*/ 5 w 6"/>
                <a:gd name="T7" fmla="*/ 6 h 7"/>
                <a:gd name="T8" fmla="*/ 5 w 6"/>
                <a:gd name="T9" fmla="*/ 6 h 7"/>
                <a:gd name="T10" fmla="*/ 6 w 6"/>
                <a:gd name="T11" fmla="*/ 6 h 7"/>
                <a:gd name="T12" fmla="*/ 5 w 6"/>
                <a:gd name="T13" fmla="*/ 7 h 7"/>
                <a:gd name="T14" fmla="*/ 4 w 6"/>
                <a:gd name="T15" fmla="*/ 6 h 7"/>
                <a:gd name="T16" fmla="*/ 4 w 6"/>
                <a:gd name="T17" fmla="*/ 6 h 7"/>
                <a:gd name="T18" fmla="*/ 4 w 6"/>
                <a:gd name="T19" fmla="*/ 5 h 7"/>
                <a:gd name="T20" fmla="*/ 2 w 6"/>
                <a:gd name="T21" fmla="*/ 7 h 7"/>
                <a:gd name="T22" fmla="*/ 1 w 6"/>
                <a:gd name="T23" fmla="*/ 7 h 7"/>
                <a:gd name="T24" fmla="*/ 0 w 6"/>
                <a:gd name="T25" fmla="*/ 7 h 7"/>
                <a:gd name="T26" fmla="*/ 0 w 6"/>
                <a:gd name="T27" fmla="*/ 5 h 7"/>
                <a:gd name="T28" fmla="*/ 0 w 6"/>
                <a:gd name="T29" fmla="*/ 3 h 7"/>
                <a:gd name="T30" fmla="*/ 1 w 6"/>
                <a:gd name="T31" fmla="*/ 1 h 7"/>
                <a:gd name="T32" fmla="*/ 3 w 6"/>
                <a:gd name="T33" fmla="*/ 0 h 7"/>
                <a:gd name="T34" fmla="*/ 4 w 6"/>
                <a:gd name="T35" fmla="*/ 1 h 7"/>
                <a:gd name="T36" fmla="*/ 4 w 6"/>
                <a:gd name="T37" fmla="*/ 3 h 7"/>
                <a:gd name="T38" fmla="*/ 1 w 6"/>
                <a:gd name="T39" fmla="*/ 2 h 7"/>
                <a:gd name="T40" fmla="*/ 1 w 6"/>
                <a:gd name="T41" fmla="*/ 4 h 7"/>
                <a:gd name="T42" fmla="*/ 1 w 6"/>
                <a:gd name="T43" fmla="*/ 5 h 7"/>
                <a:gd name="T44" fmla="*/ 1 w 6"/>
                <a:gd name="T45" fmla="*/ 6 h 7"/>
                <a:gd name="T46" fmla="*/ 1 w 6"/>
                <a:gd name="T47" fmla="*/ 6 h 7"/>
                <a:gd name="T48" fmla="*/ 3 w 6"/>
                <a:gd name="T49" fmla="*/ 5 h 7"/>
                <a:gd name="T50" fmla="*/ 3 w 6"/>
                <a:gd name="T51" fmla="*/ 2 h 7"/>
                <a:gd name="T52" fmla="*/ 3 w 6"/>
                <a:gd name="T53" fmla="*/ 1 h 7"/>
                <a:gd name="T54" fmla="*/ 2 w 6"/>
                <a:gd name="T55" fmla="*/ 1 h 7"/>
                <a:gd name="T56" fmla="*/ 1 w 6"/>
                <a:gd name="T57" fmla="*/ 1 h 7"/>
                <a:gd name="T58" fmla="*/ 1 w 6"/>
                <a:gd name="T5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" h="7">
                  <a:moveTo>
                    <a:pt x="4" y="3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4" y="7"/>
                    <a:pt x="4" y="7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6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1"/>
                    <a:pt x="4" y="2"/>
                    <a:pt x="4" y="3"/>
                  </a:cubicBezTo>
                  <a:close/>
                  <a:moveTo>
                    <a:pt x="1" y="2"/>
                  </a:move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3" y="5"/>
                  </a:cubicBezTo>
                  <a:cubicBezTo>
                    <a:pt x="3" y="4"/>
                    <a:pt x="3" y="3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7" name="Freeform 10627"/>
            <p:cNvSpPr>
              <a:spLocks/>
            </p:cNvSpPr>
            <p:nvPr/>
          </p:nvSpPr>
          <p:spPr bwMode="auto">
            <a:xfrm>
              <a:off x="4100948" y="6451543"/>
              <a:ext cx="31743" cy="35976"/>
            </a:xfrm>
            <a:custGeom>
              <a:avLst/>
              <a:gdLst>
                <a:gd name="T0" fmla="*/ 6 w 6"/>
                <a:gd name="T1" fmla="*/ 7 h 7"/>
                <a:gd name="T2" fmla="*/ 6 w 6"/>
                <a:gd name="T3" fmla="*/ 7 h 7"/>
                <a:gd name="T4" fmla="*/ 5 w 6"/>
                <a:gd name="T5" fmla="*/ 6 h 7"/>
                <a:gd name="T6" fmla="*/ 4 w 6"/>
                <a:gd name="T7" fmla="*/ 5 h 7"/>
                <a:gd name="T8" fmla="*/ 4 w 6"/>
                <a:gd name="T9" fmla="*/ 3 h 7"/>
                <a:gd name="T10" fmla="*/ 4 w 6"/>
                <a:gd name="T11" fmla="*/ 1 h 7"/>
                <a:gd name="T12" fmla="*/ 4 w 6"/>
                <a:gd name="T13" fmla="*/ 0 h 7"/>
                <a:gd name="T14" fmla="*/ 3 w 6"/>
                <a:gd name="T15" fmla="*/ 1 h 7"/>
                <a:gd name="T16" fmla="*/ 2 w 6"/>
                <a:gd name="T17" fmla="*/ 3 h 7"/>
                <a:gd name="T18" fmla="*/ 2 w 6"/>
                <a:gd name="T19" fmla="*/ 7 h 7"/>
                <a:gd name="T20" fmla="*/ 1 w 6"/>
                <a:gd name="T21" fmla="*/ 7 h 7"/>
                <a:gd name="T22" fmla="*/ 1 w 6"/>
                <a:gd name="T23" fmla="*/ 7 h 7"/>
                <a:gd name="T24" fmla="*/ 0 w 6"/>
                <a:gd name="T25" fmla="*/ 2 h 7"/>
                <a:gd name="T26" fmla="*/ 0 w 6"/>
                <a:gd name="T27" fmla="*/ 0 h 7"/>
                <a:gd name="T28" fmla="*/ 1 w 6"/>
                <a:gd name="T29" fmla="*/ 0 h 7"/>
                <a:gd name="T30" fmla="*/ 1 w 6"/>
                <a:gd name="T31" fmla="*/ 0 h 7"/>
                <a:gd name="T32" fmla="*/ 1 w 6"/>
                <a:gd name="T33" fmla="*/ 3 h 7"/>
                <a:gd name="T34" fmla="*/ 1 w 6"/>
                <a:gd name="T35" fmla="*/ 5 h 7"/>
                <a:gd name="T36" fmla="*/ 2 w 6"/>
                <a:gd name="T37" fmla="*/ 4 h 7"/>
                <a:gd name="T38" fmla="*/ 2 w 6"/>
                <a:gd name="T39" fmla="*/ 3 h 7"/>
                <a:gd name="T40" fmla="*/ 2 w 6"/>
                <a:gd name="T41" fmla="*/ 2 h 7"/>
                <a:gd name="T42" fmla="*/ 2 w 6"/>
                <a:gd name="T43" fmla="*/ 1 h 7"/>
                <a:gd name="T44" fmla="*/ 3 w 6"/>
                <a:gd name="T45" fmla="*/ 0 h 7"/>
                <a:gd name="T46" fmla="*/ 4 w 6"/>
                <a:gd name="T47" fmla="*/ 0 h 7"/>
                <a:gd name="T48" fmla="*/ 5 w 6"/>
                <a:gd name="T49" fmla="*/ 1 h 7"/>
                <a:gd name="T50" fmla="*/ 5 w 6"/>
                <a:gd name="T51" fmla="*/ 2 h 7"/>
                <a:gd name="T52" fmla="*/ 5 w 6"/>
                <a:gd name="T53" fmla="*/ 4 h 7"/>
                <a:gd name="T54" fmla="*/ 5 w 6"/>
                <a:gd name="T55" fmla="*/ 6 h 7"/>
                <a:gd name="T56" fmla="*/ 6 w 6"/>
                <a:gd name="T5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4" y="5"/>
                    <a:pt x="4" y="5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5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6" y="6"/>
                    <a:pt x="6" y="6"/>
                    <a:pt x="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8" name="Freeform 10628"/>
            <p:cNvSpPr>
              <a:spLocks/>
            </p:cNvSpPr>
            <p:nvPr/>
          </p:nvSpPr>
          <p:spPr bwMode="auto">
            <a:xfrm>
              <a:off x="4155970" y="6436729"/>
              <a:ext cx="6349" cy="50790"/>
            </a:xfrm>
            <a:custGeom>
              <a:avLst/>
              <a:gdLst>
                <a:gd name="T0" fmla="*/ 1 w 1"/>
                <a:gd name="T1" fmla="*/ 0 h 10"/>
                <a:gd name="T2" fmla="*/ 1 w 1"/>
                <a:gd name="T3" fmla="*/ 10 h 10"/>
                <a:gd name="T4" fmla="*/ 0 w 1"/>
                <a:gd name="T5" fmla="*/ 10 h 10"/>
                <a:gd name="T6" fmla="*/ 0 w 1"/>
                <a:gd name="T7" fmla="*/ 10 h 10"/>
                <a:gd name="T8" fmla="*/ 0 w 1"/>
                <a:gd name="T9" fmla="*/ 9 h 10"/>
                <a:gd name="T10" fmla="*/ 0 w 1"/>
                <a:gd name="T11" fmla="*/ 1 h 10"/>
                <a:gd name="T12" fmla="*/ 0 w 1"/>
                <a:gd name="T13" fmla="*/ 0 h 10"/>
                <a:gd name="T14" fmla="*/ 0 w 1"/>
                <a:gd name="T15" fmla="*/ 0 h 10"/>
                <a:gd name="T16" fmla="*/ 1 w 1"/>
                <a:gd name="T1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10">
                  <a:moveTo>
                    <a:pt x="1" y="0"/>
                  </a:moveTo>
                  <a:cubicBezTo>
                    <a:pt x="1" y="4"/>
                    <a:pt x="1" y="8"/>
                    <a:pt x="1" y="10"/>
                  </a:cubicBezTo>
                  <a:cubicBezTo>
                    <a:pt x="1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5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49" name="Freeform 10629"/>
            <p:cNvSpPr>
              <a:spLocks/>
            </p:cNvSpPr>
            <p:nvPr/>
          </p:nvSpPr>
          <p:spPr bwMode="auto">
            <a:xfrm>
              <a:off x="4170784" y="6451543"/>
              <a:ext cx="31743" cy="35976"/>
            </a:xfrm>
            <a:custGeom>
              <a:avLst/>
              <a:gdLst>
                <a:gd name="T0" fmla="*/ 6 w 6"/>
                <a:gd name="T1" fmla="*/ 7 h 7"/>
                <a:gd name="T2" fmla="*/ 5 w 6"/>
                <a:gd name="T3" fmla="*/ 7 h 7"/>
                <a:gd name="T4" fmla="*/ 4 w 6"/>
                <a:gd name="T5" fmla="*/ 6 h 7"/>
                <a:gd name="T6" fmla="*/ 4 w 6"/>
                <a:gd name="T7" fmla="*/ 5 h 7"/>
                <a:gd name="T8" fmla="*/ 4 w 6"/>
                <a:gd name="T9" fmla="*/ 3 h 7"/>
                <a:gd name="T10" fmla="*/ 4 w 6"/>
                <a:gd name="T11" fmla="*/ 1 h 7"/>
                <a:gd name="T12" fmla="*/ 3 w 6"/>
                <a:gd name="T13" fmla="*/ 0 h 7"/>
                <a:gd name="T14" fmla="*/ 2 w 6"/>
                <a:gd name="T15" fmla="*/ 1 h 7"/>
                <a:gd name="T16" fmla="*/ 2 w 6"/>
                <a:gd name="T17" fmla="*/ 3 h 7"/>
                <a:gd name="T18" fmla="*/ 1 w 6"/>
                <a:gd name="T19" fmla="*/ 7 h 7"/>
                <a:gd name="T20" fmla="*/ 1 w 6"/>
                <a:gd name="T21" fmla="*/ 7 h 7"/>
                <a:gd name="T22" fmla="*/ 0 w 6"/>
                <a:gd name="T23" fmla="*/ 7 h 7"/>
                <a:gd name="T24" fmla="*/ 0 w 6"/>
                <a:gd name="T25" fmla="*/ 2 h 7"/>
                <a:gd name="T26" fmla="*/ 0 w 6"/>
                <a:gd name="T27" fmla="*/ 0 h 7"/>
                <a:gd name="T28" fmla="*/ 0 w 6"/>
                <a:gd name="T29" fmla="*/ 0 h 7"/>
                <a:gd name="T30" fmla="*/ 1 w 6"/>
                <a:gd name="T31" fmla="*/ 0 h 7"/>
                <a:gd name="T32" fmla="*/ 1 w 6"/>
                <a:gd name="T33" fmla="*/ 3 h 7"/>
                <a:gd name="T34" fmla="*/ 1 w 6"/>
                <a:gd name="T35" fmla="*/ 5 h 7"/>
                <a:gd name="T36" fmla="*/ 1 w 6"/>
                <a:gd name="T37" fmla="*/ 4 h 7"/>
                <a:gd name="T38" fmla="*/ 1 w 6"/>
                <a:gd name="T39" fmla="*/ 3 h 7"/>
                <a:gd name="T40" fmla="*/ 1 w 6"/>
                <a:gd name="T41" fmla="*/ 2 h 7"/>
                <a:gd name="T42" fmla="*/ 2 w 6"/>
                <a:gd name="T43" fmla="*/ 1 h 7"/>
                <a:gd name="T44" fmla="*/ 2 w 6"/>
                <a:gd name="T45" fmla="*/ 0 h 7"/>
                <a:gd name="T46" fmla="*/ 3 w 6"/>
                <a:gd name="T47" fmla="*/ 0 h 7"/>
                <a:gd name="T48" fmla="*/ 4 w 6"/>
                <a:gd name="T49" fmla="*/ 1 h 7"/>
                <a:gd name="T50" fmla="*/ 5 w 6"/>
                <a:gd name="T51" fmla="*/ 2 h 7"/>
                <a:gd name="T52" fmla="*/ 5 w 6"/>
                <a:gd name="T53" fmla="*/ 4 h 7"/>
                <a:gd name="T54" fmla="*/ 5 w 6"/>
                <a:gd name="T55" fmla="*/ 6 h 7"/>
                <a:gd name="T56" fmla="*/ 6 w 6"/>
                <a:gd name="T5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1" y="5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1" y="1"/>
                    <a:pt x="1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5" y="1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6"/>
                    <a:pt x="5" y="6"/>
                    <a:pt x="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0" name="Freeform 10630"/>
            <p:cNvSpPr>
              <a:spLocks noEditPoints="1"/>
            </p:cNvSpPr>
            <p:nvPr/>
          </p:nvSpPr>
          <p:spPr bwMode="auto">
            <a:xfrm>
              <a:off x="4202527" y="6430380"/>
              <a:ext cx="29627" cy="57138"/>
            </a:xfrm>
            <a:custGeom>
              <a:avLst/>
              <a:gdLst>
                <a:gd name="T0" fmla="*/ 6 w 6"/>
                <a:gd name="T1" fmla="*/ 0 h 11"/>
                <a:gd name="T2" fmla="*/ 5 w 6"/>
                <a:gd name="T3" fmla="*/ 7 h 11"/>
                <a:gd name="T4" fmla="*/ 6 w 6"/>
                <a:gd name="T5" fmla="*/ 11 h 11"/>
                <a:gd name="T6" fmla="*/ 5 w 6"/>
                <a:gd name="T7" fmla="*/ 11 h 11"/>
                <a:gd name="T8" fmla="*/ 5 w 6"/>
                <a:gd name="T9" fmla="*/ 11 h 11"/>
                <a:gd name="T10" fmla="*/ 4 w 6"/>
                <a:gd name="T11" fmla="*/ 9 h 11"/>
                <a:gd name="T12" fmla="*/ 4 w 6"/>
                <a:gd name="T13" fmla="*/ 9 h 11"/>
                <a:gd name="T14" fmla="*/ 3 w 6"/>
                <a:gd name="T15" fmla="*/ 10 h 11"/>
                <a:gd name="T16" fmla="*/ 2 w 6"/>
                <a:gd name="T17" fmla="*/ 11 h 11"/>
                <a:gd name="T18" fmla="*/ 1 w 6"/>
                <a:gd name="T19" fmla="*/ 10 h 11"/>
                <a:gd name="T20" fmla="*/ 0 w 6"/>
                <a:gd name="T21" fmla="*/ 8 h 11"/>
                <a:gd name="T22" fmla="*/ 1 w 6"/>
                <a:gd name="T23" fmla="*/ 6 h 11"/>
                <a:gd name="T24" fmla="*/ 1 w 6"/>
                <a:gd name="T25" fmla="*/ 5 h 11"/>
                <a:gd name="T26" fmla="*/ 3 w 6"/>
                <a:gd name="T27" fmla="*/ 4 h 11"/>
                <a:gd name="T28" fmla="*/ 4 w 6"/>
                <a:gd name="T29" fmla="*/ 4 h 11"/>
                <a:gd name="T30" fmla="*/ 5 w 6"/>
                <a:gd name="T31" fmla="*/ 5 h 11"/>
                <a:gd name="T32" fmla="*/ 5 w 6"/>
                <a:gd name="T33" fmla="*/ 4 h 11"/>
                <a:gd name="T34" fmla="*/ 5 w 6"/>
                <a:gd name="T35" fmla="*/ 2 h 11"/>
                <a:gd name="T36" fmla="*/ 5 w 6"/>
                <a:gd name="T37" fmla="*/ 1 h 11"/>
                <a:gd name="T38" fmla="*/ 5 w 6"/>
                <a:gd name="T39" fmla="*/ 0 h 11"/>
                <a:gd name="T40" fmla="*/ 6 w 6"/>
                <a:gd name="T41" fmla="*/ 0 h 11"/>
                <a:gd name="T42" fmla="*/ 4 w 6"/>
                <a:gd name="T43" fmla="*/ 5 h 11"/>
                <a:gd name="T44" fmla="*/ 4 w 6"/>
                <a:gd name="T45" fmla="*/ 5 h 11"/>
                <a:gd name="T46" fmla="*/ 3 w 6"/>
                <a:gd name="T47" fmla="*/ 5 h 11"/>
                <a:gd name="T48" fmla="*/ 2 w 6"/>
                <a:gd name="T49" fmla="*/ 5 h 11"/>
                <a:gd name="T50" fmla="*/ 1 w 6"/>
                <a:gd name="T51" fmla="*/ 8 h 11"/>
                <a:gd name="T52" fmla="*/ 1 w 6"/>
                <a:gd name="T53" fmla="*/ 10 h 11"/>
                <a:gd name="T54" fmla="*/ 2 w 6"/>
                <a:gd name="T55" fmla="*/ 10 h 11"/>
                <a:gd name="T56" fmla="*/ 3 w 6"/>
                <a:gd name="T57" fmla="*/ 10 h 11"/>
                <a:gd name="T58" fmla="*/ 4 w 6"/>
                <a:gd name="T59" fmla="*/ 8 h 11"/>
                <a:gd name="T60" fmla="*/ 4 w 6"/>
                <a:gd name="T61" fmla="*/ 6 h 11"/>
                <a:gd name="T62" fmla="*/ 4 w 6"/>
                <a:gd name="T6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" h="11">
                  <a:moveTo>
                    <a:pt x="6" y="0"/>
                  </a:moveTo>
                  <a:cubicBezTo>
                    <a:pt x="5" y="3"/>
                    <a:pt x="5" y="5"/>
                    <a:pt x="5" y="7"/>
                  </a:cubicBezTo>
                  <a:cubicBezTo>
                    <a:pt x="5" y="8"/>
                    <a:pt x="5" y="9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0"/>
                    <a:pt x="4" y="10"/>
                    <a:pt x="3" y="10"/>
                  </a:cubicBezTo>
                  <a:cubicBezTo>
                    <a:pt x="3" y="11"/>
                    <a:pt x="2" y="11"/>
                    <a:pt x="2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5" y="3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lose/>
                  <a:moveTo>
                    <a:pt x="4" y="5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1" y="6"/>
                    <a:pt x="1" y="7"/>
                    <a:pt x="1" y="8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3" y="10"/>
                    <a:pt x="3" y="10"/>
                  </a:cubicBezTo>
                  <a:cubicBezTo>
                    <a:pt x="4" y="9"/>
                    <a:pt x="4" y="8"/>
                    <a:pt x="4" y="8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1" name="Freeform 10631"/>
            <p:cNvSpPr>
              <a:spLocks noEditPoints="1"/>
            </p:cNvSpPr>
            <p:nvPr/>
          </p:nvSpPr>
          <p:spPr bwMode="auto">
            <a:xfrm>
              <a:off x="4236387" y="6430380"/>
              <a:ext cx="6349" cy="57138"/>
            </a:xfrm>
            <a:custGeom>
              <a:avLst/>
              <a:gdLst>
                <a:gd name="T0" fmla="*/ 1 w 1"/>
                <a:gd name="T1" fmla="*/ 1 h 11"/>
                <a:gd name="T2" fmla="*/ 1 w 1"/>
                <a:gd name="T3" fmla="*/ 1 h 11"/>
                <a:gd name="T4" fmla="*/ 1 w 1"/>
                <a:gd name="T5" fmla="*/ 2 h 11"/>
                <a:gd name="T6" fmla="*/ 1 w 1"/>
                <a:gd name="T7" fmla="*/ 2 h 11"/>
                <a:gd name="T8" fmla="*/ 0 w 1"/>
                <a:gd name="T9" fmla="*/ 2 h 11"/>
                <a:gd name="T10" fmla="*/ 0 w 1"/>
                <a:gd name="T11" fmla="*/ 1 h 11"/>
                <a:gd name="T12" fmla="*/ 0 w 1"/>
                <a:gd name="T13" fmla="*/ 1 h 11"/>
                <a:gd name="T14" fmla="*/ 0 w 1"/>
                <a:gd name="T15" fmla="*/ 1 h 11"/>
                <a:gd name="T16" fmla="*/ 1 w 1"/>
                <a:gd name="T17" fmla="*/ 0 h 11"/>
                <a:gd name="T18" fmla="*/ 1 w 1"/>
                <a:gd name="T19" fmla="*/ 1 h 11"/>
                <a:gd name="T20" fmla="*/ 0 w 1"/>
                <a:gd name="T21" fmla="*/ 7 h 11"/>
                <a:gd name="T22" fmla="*/ 1 w 1"/>
                <a:gd name="T23" fmla="*/ 4 h 11"/>
                <a:gd name="T24" fmla="*/ 1 w 1"/>
                <a:gd name="T25" fmla="*/ 4 h 11"/>
                <a:gd name="T26" fmla="*/ 1 w 1"/>
                <a:gd name="T27" fmla="*/ 4 h 11"/>
                <a:gd name="T28" fmla="*/ 1 w 1"/>
                <a:gd name="T29" fmla="*/ 7 h 11"/>
                <a:gd name="T30" fmla="*/ 1 w 1"/>
                <a:gd name="T31" fmla="*/ 10 h 11"/>
                <a:gd name="T32" fmla="*/ 1 w 1"/>
                <a:gd name="T33" fmla="*/ 11 h 11"/>
                <a:gd name="T34" fmla="*/ 1 w 1"/>
                <a:gd name="T35" fmla="*/ 11 h 11"/>
                <a:gd name="T36" fmla="*/ 0 w 1"/>
                <a:gd name="T37" fmla="*/ 11 h 11"/>
                <a:gd name="T38" fmla="*/ 0 w 1"/>
                <a:gd name="T39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" h="1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lose/>
                  <a:moveTo>
                    <a:pt x="0" y="7"/>
                  </a:moveTo>
                  <a:cubicBezTo>
                    <a:pt x="0" y="6"/>
                    <a:pt x="0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1"/>
                    <a:pt x="0" y="11"/>
                  </a:cubicBezTo>
                  <a:cubicBezTo>
                    <a:pt x="0" y="10"/>
                    <a:pt x="0" y="8"/>
                    <a:pt x="0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2" name="Freeform 10632"/>
            <p:cNvSpPr>
              <a:spLocks noEditPoints="1"/>
            </p:cNvSpPr>
            <p:nvPr/>
          </p:nvSpPr>
          <p:spPr bwMode="auto">
            <a:xfrm>
              <a:off x="4251201" y="6451543"/>
              <a:ext cx="31743" cy="35976"/>
            </a:xfrm>
            <a:custGeom>
              <a:avLst/>
              <a:gdLst>
                <a:gd name="T0" fmla="*/ 4 w 6"/>
                <a:gd name="T1" fmla="*/ 3 h 7"/>
                <a:gd name="T2" fmla="*/ 4 w 6"/>
                <a:gd name="T3" fmla="*/ 5 h 7"/>
                <a:gd name="T4" fmla="*/ 5 w 6"/>
                <a:gd name="T5" fmla="*/ 6 h 7"/>
                <a:gd name="T6" fmla="*/ 5 w 6"/>
                <a:gd name="T7" fmla="*/ 6 h 7"/>
                <a:gd name="T8" fmla="*/ 5 w 6"/>
                <a:gd name="T9" fmla="*/ 6 h 7"/>
                <a:gd name="T10" fmla="*/ 6 w 6"/>
                <a:gd name="T11" fmla="*/ 6 h 7"/>
                <a:gd name="T12" fmla="*/ 5 w 6"/>
                <a:gd name="T13" fmla="*/ 7 h 7"/>
                <a:gd name="T14" fmla="*/ 4 w 6"/>
                <a:gd name="T15" fmla="*/ 6 h 7"/>
                <a:gd name="T16" fmla="*/ 4 w 6"/>
                <a:gd name="T17" fmla="*/ 6 h 7"/>
                <a:gd name="T18" fmla="*/ 4 w 6"/>
                <a:gd name="T19" fmla="*/ 5 h 7"/>
                <a:gd name="T20" fmla="*/ 2 w 6"/>
                <a:gd name="T21" fmla="*/ 7 h 7"/>
                <a:gd name="T22" fmla="*/ 1 w 6"/>
                <a:gd name="T23" fmla="*/ 7 h 7"/>
                <a:gd name="T24" fmla="*/ 0 w 6"/>
                <a:gd name="T25" fmla="*/ 7 h 7"/>
                <a:gd name="T26" fmla="*/ 0 w 6"/>
                <a:gd name="T27" fmla="*/ 5 h 7"/>
                <a:gd name="T28" fmla="*/ 0 w 6"/>
                <a:gd name="T29" fmla="*/ 3 h 7"/>
                <a:gd name="T30" fmla="*/ 1 w 6"/>
                <a:gd name="T31" fmla="*/ 1 h 7"/>
                <a:gd name="T32" fmla="*/ 3 w 6"/>
                <a:gd name="T33" fmla="*/ 0 h 7"/>
                <a:gd name="T34" fmla="*/ 4 w 6"/>
                <a:gd name="T35" fmla="*/ 1 h 7"/>
                <a:gd name="T36" fmla="*/ 4 w 6"/>
                <a:gd name="T37" fmla="*/ 3 h 7"/>
                <a:gd name="T38" fmla="*/ 1 w 6"/>
                <a:gd name="T39" fmla="*/ 2 h 7"/>
                <a:gd name="T40" fmla="*/ 1 w 6"/>
                <a:gd name="T41" fmla="*/ 4 h 7"/>
                <a:gd name="T42" fmla="*/ 1 w 6"/>
                <a:gd name="T43" fmla="*/ 5 h 7"/>
                <a:gd name="T44" fmla="*/ 1 w 6"/>
                <a:gd name="T45" fmla="*/ 6 h 7"/>
                <a:gd name="T46" fmla="*/ 1 w 6"/>
                <a:gd name="T47" fmla="*/ 6 h 7"/>
                <a:gd name="T48" fmla="*/ 3 w 6"/>
                <a:gd name="T49" fmla="*/ 5 h 7"/>
                <a:gd name="T50" fmla="*/ 4 w 6"/>
                <a:gd name="T51" fmla="*/ 2 h 7"/>
                <a:gd name="T52" fmla="*/ 3 w 6"/>
                <a:gd name="T53" fmla="*/ 1 h 7"/>
                <a:gd name="T54" fmla="*/ 2 w 6"/>
                <a:gd name="T55" fmla="*/ 1 h 7"/>
                <a:gd name="T56" fmla="*/ 2 w 6"/>
                <a:gd name="T57" fmla="*/ 1 h 7"/>
                <a:gd name="T58" fmla="*/ 1 w 6"/>
                <a:gd name="T5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" h="7">
                  <a:moveTo>
                    <a:pt x="4" y="3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4" y="7"/>
                    <a:pt x="4" y="7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6"/>
                    <a:pt x="3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1"/>
                    <a:pt x="4" y="2"/>
                    <a:pt x="4" y="3"/>
                  </a:cubicBezTo>
                  <a:close/>
                  <a:moveTo>
                    <a:pt x="1" y="2"/>
                  </a:move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3" y="5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4166" name="Group 34165"/>
          <p:cNvGrpSpPr/>
          <p:nvPr/>
        </p:nvGrpSpPr>
        <p:grpSpPr>
          <a:xfrm>
            <a:off x="10640652" y="3771899"/>
            <a:ext cx="1074670" cy="546312"/>
            <a:chOff x="5897629" y="6172200"/>
            <a:chExt cx="886701" cy="450757"/>
          </a:xfrm>
        </p:grpSpPr>
        <p:sp>
          <p:nvSpPr>
            <p:cNvPr id="34153" name="Freeform 10633"/>
            <p:cNvSpPr>
              <a:spLocks/>
            </p:cNvSpPr>
            <p:nvPr/>
          </p:nvSpPr>
          <p:spPr bwMode="auto">
            <a:xfrm>
              <a:off x="6079625" y="6172200"/>
              <a:ext cx="88882" cy="97347"/>
            </a:xfrm>
            <a:custGeom>
              <a:avLst/>
              <a:gdLst>
                <a:gd name="T0" fmla="*/ 9 w 18"/>
                <a:gd name="T1" fmla="*/ 0 h 19"/>
                <a:gd name="T2" fmla="*/ 18 w 18"/>
                <a:gd name="T3" fmla="*/ 9 h 19"/>
                <a:gd name="T4" fmla="*/ 9 w 18"/>
                <a:gd name="T5" fmla="*/ 19 h 19"/>
                <a:gd name="T6" fmla="*/ 0 w 18"/>
                <a:gd name="T7" fmla="*/ 9 h 19"/>
                <a:gd name="T8" fmla="*/ 9 w 18"/>
                <a:gd name="T9" fmla="*/ 0 h 19"/>
                <a:gd name="T10" fmla="*/ 9 w 18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9">
                  <a:moveTo>
                    <a:pt x="9" y="0"/>
                  </a:move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9"/>
                    <a:pt x="9" y="19"/>
                  </a:cubicBezTo>
                  <a:cubicBezTo>
                    <a:pt x="4" y="19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lose/>
                </a:path>
              </a:pathLst>
            </a:custGeom>
            <a:solidFill>
              <a:srgbClr val="EA85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4" name="Freeform 10634"/>
            <p:cNvSpPr>
              <a:spLocks noEditPoints="1"/>
            </p:cNvSpPr>
            <p:nvPr/>
          </p:nvSpPr>
          <p:spPr bwMode="auto">
            <a:xfrm>
              <a:off x="5897629" y="6193362"/>
              <a:ext cx="520593" cy="429595"/>
            </a:xfrm>
            <a:custGeom>
              <a:avLst/>
              <a:gdLst>
                <a:gd name="T0" fmla="*/ 63 w 104"/>
                <a:gd name="T1" fmla="*/ 83 h 83"/>
                <a:gd name="T2" fmla="*/ 37 w 104"/>
                <a:gd name="T3" fmla="*/ 83 h 83"/>
                <a:gd name="T4" fmla="*/ 35 w 104"/>
                <a:gd name="T5" fmla="*/ 82 h 83"/>
                <a:gd name="T6" fmla="*/ 35 w 104"/>
                <a:gd name="T7" fmla="*/ 44 h 83"/>
                <a:gd name="T8" fmla="*/ 35 w 104"/>
                <a:gd name="T9" fmla="*/ 43 h 83"/>
                <a:gd name="T10" fmla="*/ 40 w 104"/>
                <a:gd name="T11" fmla="*/ 38 h 83"/>
                <a:gd name="T12" fmla="*/ 1 w 104"/>
                <a:gd name="T13" fmla="*/ 8 h 83"/>
                <a:gd name="T14" fmla="*/ 0 w 104"/>
                <a:gd name="T15" fmla="*/ 7 h 83"/>
                <a:gd name="T16" fmla="*/ 2 w 104"/>
                <a:gd name="T17" fmla="*/ 6 h 83"/>
                <a:gd name="T18" fmla="*/ 40 w 104"/>
                <a:gd name="T19" fmla="*/ 34 h 83"/>
                <a:gd name="T20" fmla="*/ 41 w 104"/>
                <a:gd name="T21" fmla="*/ 36 h 83"/>
                <a:gd name="T22" fmla="*/ 74 w 104"/>
                <a:gd name="T23" fmla="*/ 1 h 83"/>
                <a:gd name="T24" fmla="*/ 76 w 104"/>
                <a:gd name="T25" fmla="*/ 0 h 83"/>
                <a:gd name="T26" fmla="*/ 103 w 104"/>
                <a:gd name="T27" fmla="*/ 25 h 83"/>
                <a:gd name="T28" fmla="*/ 103 w 104"/>
                <a:gd name="T29" fmla="*/ 27 h 83"/>
                <a:gd name="T30" fmla="*/ 101 w 104"/>
                <a:gd name="T31" fmla="*/ 27 h 83"/>
                <a:gd name="T32" fmla="*/ 75 w 104"/>
                <a:gd name="T33" fmla="*/ 3 h 83"/>
                <a:gd name="T34" fmla="*/ 43 w 104"/>
                <a:gd name="T35" fmla="*/ 38 h 83"/>
                <a:gd name="T36" fmla="*/ 65 w 104"/>
                <a:gd name="T37" fmla="*/ 81 h 83"/>
                <a:gd name="T38" fmla="*/ 64 w 104"/>
                <a:gd name="T39" fmla="*/ 83 h 83"/>
                <a:gd name="T40" fmla="*/ 63 w 104"/>
                <a:gd name="T41" fmla="*/ 83 h 83"/>
                <a:gd name="T42" fmla="*/ 38 w 104"/>
                <a:gd name="T43" fmla="*/ 80 h 83"/>
                <a:gd name="T44" fmla="*/ 61 w 104"/>
                <a:gd name="T45" fmla="*/ 80 h 83"/>
                <a:gd name="T46" fmla="*/ 41 w 104"/>
                <a:gd name="T47" fmla="*/ 40 h 83"/>
                <a:gd name="T48" fmla="*/ 38 w 104"/>
                <a:gd name="T49" fmla="*/ 44 h 83"/>
                <a:gd name="T50" fmla="*/ 38 w 104"/>
                <a:gd name="T51" fmla="*/ 8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4" h="83">
                  <a:moveTo>
                    <a:pt x="63" y="83"/>
                  </a:moveTo>
                  <a:cubicBezTo>
                    <a:pt x="37" y="83"/>
                    <a:pt x="37" y="83"/>
                    <a:pt x="37" y="83"/>
                  </a:cubicBezTo>
                  <a:cubicBezTo>
                    <a:pt x="36" y="83"/>
                    <a:pt x="35" y="83"/>
                    <a:pt x="35" y="82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29" y="25"/>
                    <a:pt x="16" y="15"/>
                    <a:pt x="1" y="8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0" y="6"/>
                    <a:pt x="1" y="6"/>
                    <a:pt x="2" y="6"/>
                  </a:cubicBezTo>
                  <a:cubicBezTo>
                    <a:pt x="17" y="12"/>
                    <a:pt x="29" y="22"/>
                    <a:pt x="40" y="34"/>
                  </a:cubicBezTo>
                  <a:cubicBezTo>
                    <a:pt x="40" y="35"/>
                    <a:pt x="41" y="35"/>
                    <a:pt x="41" y="36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4" y="0"/>
                    <a:pt x="75" y="0"/>
                    <a:pt x="76" y="0"/>
                  </a:cubicBezTo>
                  <a:cubicBezTo>
                    <a:pt x="103" y="25"/>
                    <a:pt x="103" y="25"/>
                    <a:pt x="103" y="25"/>
                  </a:cubicBezTo>
                  <a:cubicBezTo>
                    <a:pt x="104" y="26"/>
                    <a:pt x="104" y="27"/>
                    <a:pt x="103" y="27"/>
                  </a:cubicBezTo>
                  <a:cubicBezTo>
                    <a:pt x="103" y="28"/>
                    <a:pt x="102" y="28"/>
                    <a:pt x="101" y="27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52" y="50"/>
                    <a:pt x="59" y="65"/>
                    <a:pt x="65" y="81"/>
                  </a:cubicBezTo>
                  <a:cubicBezTo>
                    <a:pt x="65" y="82"/>
                    <a:pt x="65" y="82"/>
                    <a:pt x="64" y="83"/>
                  </a:cubicBezTo>
                  <a:cubicBezTo>
                    <a:pt x="64" y="83"/>
                    <a:pt x="64" y="83"/>
                    <a:pt x="63" y="83"/>
                  </a:cubicBezTo>
                  <a:close/>
                  <a:moveTo>
                    <a:pt x="38" y="80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56" y="65"/>
                    <a:pt x="49" y="51"/>
                    <a:pt x="41" y="40"/>
                  </a:cubicBezTo>
                  <a:cubicBezTo>
                    <a:pt x="38" y="44"/>
                    <a:pt x="38" y="44"/>
                    <a:pt x="38" y="44"/>
                  </a:cubicBezTo>
                  <a:lnTo>
                    <a:pt x="38" y="80"/>
                  </a:lnTo>
                  <a:close/>
                </a:path>
              </a:pathLst>
            </a:custGeom>
            <a:solidFill>
              <a:srgbClr val="2E3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5" name="Freeform 10635"/>
            <p:cNvSpPr>
              <a:spLocks noEditPoints="1"/>
            </p:cNvSpPr>
            <p:nvPr/>
          </p:nvSpPr>
          <p:spPr bwMode="auto">
            <a:xfrm>
              <a:off x="6234110" y="6440961"/>
              <a:ext cx="524825" cy="67719"/>
            </a:xfrm>
            <a:custGeom>
              <a:avLst/>
              <a:gdLst>
                <a:gd name="T0" fmla="*/ 7 w 105"/>
                <a:gd name="T1" fmla="*/ 8 h 13"/>
                <a:gd name="T2" fmla="*/ 6 w 105"/>
                <a:gd name="T3" fmla="*/ 6 h 13"/>
                <a:gd name="T4" fmla="*/ 2 w 105"/>
                <a:gd name="T5" fmla="*/ 4 h 13"/>
                <a:gd name="T6" fmla="*/ 5 w 105"/>
                <a:gd name="T7" fmla="*/ 6 h 13"/>
                <a:gd name="T8" fmla="*/ 5 w 105"/>
                <a:gd name="T9" fmla="*/ 9 h 13"/>
                <a:gd name="T10" fmla="*/ 2 w 105"/>
                <a:gd name="T11" fmla="*/ 10 h 13"/>
                <a:gd name="T12" fmla="*/ 5 w 105"/>
                <a:gd name="T13" fmla="*/ 8 h 13"/>
                <a:gd name="T14" fmla="*/ 9 w 105"/>
                <a:gd name="T15" fmla="*/ 8 h 13"/>
                <a:gd name="T16" fmla="*/ 11 w 105"/>
                <a:gd name="T17" fmla="*/ 4 h 13"/>
                <a:gd name="T18" fmla="*/ 15 w 105"/>
                <a:gd name="T19" fmla="*/ 4 h 13"/>
                <a:gd name="T20" fmla="*/ 17 w 105"/>
                <a:gd name="T21" fmla="*/ 9 h 13"/>
                <a:gd name="T22" fmla="*/ 19 w 105"/>
                <a:gd name="T23" fmla="*/ 7 h 13"/>
                <a:gd name="T24" fmla="*/ 18 w 105"/>
                <a:gd name="T25" fmla="*/ 10 h 13"/>
                <a:gd name="T26" fmla="*/ 22 w 105"/>
                <a:gd name="T27" fmla="*/ 5 h 13"/>
                <a:gd name="T28" fmla="*/ 26 w 105"/>
                <a:gd name="T29" fmla="*/ 5 h 13"/>
                <a:gd name="T30" fmla="*/ 26 w 105"/>
                <a:gd name="T31" fmla="*/ 7 h 13"/>
                <a:gd name="T32" fmla="*/ 30 w 105"/>
                <a:gd name="T33" fmla="*/ 12 h 13"/>
                <a:gd name="T34" fmla="*/ 29 w 105"/>
                <a:gd name="T35" fmla="*/ 8 h 13"/>
                <a:gd name="T36" fmla="*/ 33 w 105"/>
                <a:gd name="T37" fmla="*/ 5 h 13"/>
                <a:gd name="T38" fmla="*/ 30 w 105"/>
                <a:gd name="T39" fmla="*/ 7 h 13"/>
                <a:gd name="T40" fmla="*/ 42 w 105"/>
                <a:gd name="T41" fmla="*/ 5 h 13"/>
                <a:gd name="T42" fmla="*/ 40 w 105"/>
                <a:gd name="T43" fmla="*/ 7 h 13"/>
                <a:gd name="T44" fmla="*/ 45 w 105"/>
                <a:gd name="T45" fmla="*/ 9 h 13"/>
                <a:gd name="T46" fmla="*/ 45 w 105"/>
                <a:gd name="T47" fmla="*/ 8 h 13"/>
                <a:gd name="T48" fmla="*/ 41 w 105"/>
                <a:gd name="T49" fmla="*/ 8 h 13"/>
                <a:gd name="T50" fmla="*/ 45 w 105"/>
                <a:gd name="T51" fmla="*/ 5 h 13"/>
                <a:gd name="T52" fmla="*/ 49 w 105"/>
                <a:gd name="T53" fmla="*/ 5 h 13"/>
                <a:gd name="T54" fmla="*/ 48 w 105"/>
                <a:gd name="T55" fmla="*/ 2 h 13"/>
                <a:gd name="T56" fmla="*/ 46 w 105"/>
                <a:gd name="T57" fmla="*/ 1 h 13"/>
                <a:gd name="T58" fmla="*/ 49 w 105"/>
                <a:gd name="T59" fmla="*/ 3 h 13"/>
                <a:gd name="T60" fmla="*/ 55 w 105"/>
                <a:gd name="T61" fmla="*/ 8 h 13"/>
                <a:gd name="T62" fmla="*/ 52 w 105"/>
                <a:gd name="T63" fmla="*/ 6 h 13"/>
                <a:gd name="T64" fmla="*/ 56 w 105"/>
                <a:gd name="T65" fmla="*/ 8 h 13"/>
                <a:gd name="T66" fmla="*/ 61 w 105"/>
                <a:gd name="T67" fmla="*/ 5 h 13"/>
                <a:gd name="T68" fmla="*/ 61 w 105"/>
                <a:gd name="T69" fmla="*/ 7 h 13"/>
                <a:gd name="T70" fmla="*/ 63 w 105"/>
                <a:gd name="T71" fmla="*/ 9 h 13"/>
                <a:gd name="T72" fmla="*/ 69 w 105"/>
                <a:gd name="T73" fmla="*/ 4 h 13"/>
                <a:gd name="T74" fmla="*/ 72 w 105"/>
                <a:gd name="T75" fmla="*/ 5 h 13"/>
                <a:gd name="T76" fmla="*/ 78 w 105"/>
                <a:gd name="T77" fmla="*/ 7 h 13"/>
                <a:gd name="T78" fmla="*/ 82 w 105"/>
                <a:gd name="T79" fmla="*/ 4 h 13"/>
                <a:gd name="T80" fmla="*/ 82 w 105"/>
                <a:gd name="T81" fmla="*/ 9 h 13"/>
                <a:gd name="T82" fmla="*/ 81 w 105"/>
                <a:gd name="T83" fmla="*/ 11 h 13"/>
                <a:gd name="T84" fmla="*/ 83 w 105"/>
                <a:gd name="T85" fmla="*/ 11 h 13"/>
                <a:gd name="T86" fmla="*/ 84 w 105"/>
                <a:gd name="T87" fmla="*/ 7 h 13"/>
                <a:gd name="T88" fmla="*/ 81 w 105"/>
                <a:gd name="T89" fmla="*/ 5 h 13"/>
                <a:gd name="T90" fmla="*/ 84 w 105"/>
                <a:gd name="T91" fmla="*/ 5 h 13"/>
                <a:gd name="T92" fmla="*/ 95 w 105"/>
                <a:gd name="T93" fmla="*/ 4 h 13"/>
                <a:gd name="T94" fmla="*/ 89 w 105"/>
                <a:gd name="T95" fmla="*/ 6 h 13"/>
                <a:gd name="T96" fmla="*/ 88 w 105"/>
                <a:gd name="T97" fmla="*/ 9 h 13"/>
                <a:gd name="T98" fmla="*/ 90 w 105"/>
                <a:gd name="T99" fmla="*/ 11 h 13"/>
                <a:gd name="T100" fmla="*/ 92 w 105"/>
                <a:gd name="T101" fmla="*/ 10 h 13"/>
                <a:gd name="T102" fmla="*/ 91 w 105"/>
                <a:gd name="T103" fmla="*/ 8 h 13"/>
                <a:gd name="T104" fmla="*/ 90 w 105"/>
                <a:gd name="T105" fmla="*/ 7 h 13"/>
                <a:gd name="T106" fmla="*/ 95 w 105"/>
                <a:gd name="T107" fmla="*/ 4 h 13"/>
                <a:gd name="T108" fmla="*/ 98 w 105"/>
                <a:gd name="T109" fmla="*/ 10 h 13"/>
                <a:gd name="T110" fmla="*/ 98 w 105"/>
                <a:gd name="T111" fmla="*/ 9 h 13"/>
                <a:gd name="T112" fmla="*/ 104 w 105"/>
                <a:gd name="T113" fmla="*/ 4 h 13"/>
                <a:gd name="T114" fmla="*/ 99 w 105"/>
                <a:gd name="T115" fmla="*/ 3 h 13"/>
                <a:gd name="T116" fmla="*/ 100 w 105"/>
                <a:gd name="T117" fmla="*/ 1 h 13"/>
                <a:gd name="T118" fmla="*/ 104 w 105"/>
                <a:gd name="T11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5" h="13">
                  <a:moveTo>
                    <a:pt x="11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5"/>
                    <a:pt x="5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4" y="10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9"/>
                    <a:pt x="1" y="9"/>
                  </a:cubicBezTo>
                  <a:cubicBezTo>
                    <a:pt x="1" y="8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1" y="9"/>
                  </a:cubicBezTo>
                  <a:cubicBezTo>
                    <a:pt x="1" y="9"/>
                    <a:pt x="2" y="10"/>
                    <a:pt x="2" y="10"/>
                  </a:cubicBezTo>
                  <a:cubicBezTo>
                    <a:pt x="3" y="11"/>
                    <a:pt x="3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lose/>
                  <a:moveTo>
                    <a:pt x="15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4"/>
                    <a:pt x="15" y="4"/>
                    <a:pt x="15" y="4"/>
                  </a:cubicBezTo>
                  <a:close/>
                  <a:moveTo>
                    <a:pt x="22" y="4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7"/>
                    <a:pt x="16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7" y="6"/>
                    <a:pt x="16" y="6"/>
                    <a:pt x="16" y="6"/>
                  </a:cubicBezTo>
                  <a:cubicBezTo>
                    <a:pt x="15" y="6"/>
                    <a:pt x="15" y="7"/>
                    <a:pt x="15" y="8"/>
                  </a:cubicBezTo>
                  <a:cubicBezTo>
                    <a:pt x="15" y="8"/>
                    <a:pt x="15" y="8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6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lose/>
                  <a:moveTo>
                    <a:pt x="26" y="4"/>
                  </a:moveTo>
                  <a:cubicBezTo>
                    <a:pt x="22" y="4"/>
                    <a:pt x="22" y="4"/>
                    <a:pt x="22" y="4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4"/>
                    <a:pt x="26" y="4"/>
                    <a:pt x="26" y="4"/>
                  </a:cubicBezTo>
                  <a:close/>
                  <a:moveTo>
                    <a:pt x="35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8"/>
                    <a:pt x="26" y="9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4"/>
                    <a:pt x="35" y="4"/>
                    <a:pt x="35" y="4"/>
                  </a:cubicBezTo>
                  <a:close/>
                  <a:moveTo>
                    <a:pt x="32" y="7"/>
                  </a:moveTo>
                  <a:cubicBezTo>
                    <a:pt x="32" y="7"/>
                    <a:pt x="32" y="7"/>
                    <a:pt x="31" y="7"/>
                  </a:cubicBezTo>
                  <a:cubicBezTo>
                    <a:pt x="31" y="7"/>
                    <a:pt x="31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7"/>
                    <a:pt x="32" y="7"/>
                    <a:pt x="32" y="7"/>
                  </a:cubicBezTo>
                  <a:close/>
                  <a:moveTo>
                    <a:pt x="48" y="4"/>
                  </a:moveTo>
                  <a:cubicBezTo>
                    <a:pt x="39" y="4"/>
                    <a:pt x="39" y="4"/>
                    <a:pt x="39" y="4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8"/>
                    <a:pt x="40" y="8"/>
                  </a:cubicBezTo>
                  <a:cubicBezTo>
                    <a:pt x="40" y="9"/>
                    <a:pt x="41" y="9"/>
                    <a:pt x="41" y="9"/>
                  </a:cubicBezTo>
                  <a:cubicBezTo>
                    <a:pt x="41" y="9"/>
                    <a:pt x="42" y="10"/>
                    <a:pt x="42" y="10"/>
                  </a:cubicBezTo>
                  <a:cubicBezTo>
                    <a:pt x="42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5" y="10"/>
                    <a:pt x="45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4"/>
                    <a:pt x="48" y="4"/>
                    <a:pt x="48" y="4"/>
                  </a:cubicBezTo>
                  <a:close/>
                  <a:moveTo>
                    <a:pt x="45" y="8"/>
                  </a:moveTo>
                  <a:cubicBezTo>
                    <a:pt x="44" y="8"/>
                    <a:pt x="44" y="8"/>
                    <a:pt x="44" y="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2" y="9"/>
                    <a:pt x="41" y="9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7"/>
                    <a:pt x="42" y="7"/>
                  </a:cubicBezTo>
                  <a:cubicBezTo>
                    <a:pt x="43" y="7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lose/>
                  <a:moveTo>
                    <a:pt x="51" y="4"/>
                  </a:moveTo>
                  <a:cubicBezTo>
                    <a:pt x="47" y="4"/>
                    <a:pt x="47" y="4"/>
                    <a:pt x="47" y="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lose/>
                  <a:moveTo>
                    <a:pt x="49" y="3"/>
                  </a:moveTo>
                  <a:cubicBezTo>
                    <a:pt x="49" y="3"/>
                    <a:pt x="49" y="3"/>
                    <a:pt x="49" y="3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3"/>
                    <a:pt x="49" y="3"/>
                    <a:pt x="49" y="3"/>
                  </a:cubicBezTo>
                  <a:close/>
                  <a:moveTo>
                    <a:pt x="61" y="4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4" y="6"/>
                    <a:pt x="54" y="6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5" y="7"/>
                    <a:pt x="55" y="7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3" y="9"/>
                    <a:pt x="53" y="9"/>
                  </a:cubicBezTo>
                  <a:cubicBezTo>
                    <a:pt x="53" y="9"/>
                    <a:pt x="52" y="8"/>
                    <a:pt x="52" y="8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6"/>
                    <a:pt x="52" y="6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9"/>
                    <a:pt x="53" y="10"/>
                    <a:pt x="53" y="10"/>
                  </a:cubicBezTo>
                  <a:cubicBezTo>
                    <a:pt x="53" y="10"/>
                    <a:pt x="54" y="10"/>
                    <a:pt x="54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56" y="10"/>
                    <a:pt x="56" y="10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4"/>
                    <a:pt x="61" y="4"/>
                    <a:pt x="61" y="4"/>
                  </a:cubicBezTo>
                  <a:close/>
                  <a:moveTo>
                    <a:pt x="69" y="4"/>
                  </a:moveTo>
                  <a:cubicBezTo>
                    <a:pt x="60" y="4"/>
                    <a:pt x="60" y="4"/>
                    <a:pt x="60" y="4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3" y="10"/>
                    <a:pt x="63" y="9"/>
                    <a:pt x="63" y="9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4"/>
                    <a:pt x="69" y="4"/>
                    <a:pt x="69" y="4"/>
                  </a:cubicBezTo>
                  <a:close/>
                  <a:moveTo>
                    <a:pt x="72" y="4"/>
                  </a:moveTo>
                  <a:cubicBezTo>
                    <a:pt x="68" y="4"/>
                    <a:pt x="68" y="4"/>
                    <a:pt x="6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4"/>
                    <a:pt x="72" y="4"/>
                    <a:pt x="72" y="4"/>
                  </a:cubicBezTo>
                  <a:close/>
                  <a:moveTo>
                    <a:pt x="78" y="7"/>
                  </a:moveTo>
                  <a:cubicBezTo>
                    <a:pt x="72" y="7"/>
                    <a:pt x="72" y="7"/>
                    <a:pt x="72" y="7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7"/>
                    <a:pt x="78" y="7"/>
                    <a:pt x="78" y="7"/>
                  </a:cubicBezTo>
                  <a:close/>
                  <a:moveTo>
                    <a:pt x="85" y="4"/>
                  </a:moveTo>
                  <a:cubicBezTo>
                    <a:pt x="84" y="4"/>
                    <a:pt x="84" y="4"/>
                    <a:pt x="84" y="4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4"/>
                    <a:pt x="85" y="4"/>
                    <a:pt x="85" y="4"/>
                  </a:cubicBezTo>
                  <a:close/>
                  <a:moveTo>
                    <a:pt x="84" y="5"/>
                  </a:moveTo>
                  <a:cubicBezTo>
                    <a:pt x="84" y="4"/>
                    <a:pt x="83" y="4"/>
                    <a:pt x="82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79" y="5"/>
                    <a:pt x="79" y="5"/>
                  </a:cubicBezTo>
                  <a:cubicBezTo>
                    <a:pt x="79" y="6"/>
                    <a:pt x="80" y="7"/>
                    <a:pt x="81" y="7"/>
                  </a:cubicBezTo>
                  <a:cubicBezTo>
                    <a:pt x="81" y="7"/>
                    <a:pt x="82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1" y="9"/>
                    <a:pt x="81" y="8"/>
                    <a:pt x="81" y="8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80" y="10"/>
                    <a:pt x="80" y="10"/>
                  </a:cubicBezTo>
                  <a:cubicBezTo>
                    <a:pt x="80" y="10"/>
                    <a:pt x="80" y="11"/>
                    <a:pt x="80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3" y="10"/>
                    <a:pt x="83" y="10"/>
                    <a:pt x="83" y="9"/>
                  </a:cubicBezTo>
                  <a:cubicBezTo>
                    <a:pt x="83" y="9"/>
                    <a:pt x="84" y="9"/>
                    <a:pt x="84" y="9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8"/>
                    <a:pt x="84" y="7"/>
                    <a:pt x="84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6"/>
                    <a:pt x="84" y="6"/>
                    <a:pt x="84" y="5"/>
                  </a:cubicBezTo>
                  <a:cubicBezTo>
                    <a:pt x="84" y="5"/>
                    <a:pt x="84" y="5"/>
                    <a:pt x="84" y="5"/>
                  </a:cubicBezTo>
                  <a:close/>
                  <a:moveTo>
                    <a:pt x="83" y="7"/>
                  </a:moveTo>
                  <a:cubicBezTo>
                    <a:pt x="83" y="7"/>
                    <a:pt x="83" y="7"/>
                    <a:pt x="83" y="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1" y="7"/>
                    <a:pt x="81" y="6"/>
                    <a:pt x="81" y="6"/>
                  </a:cubicBezTo>
                  <a:cubicBezTo>
                    <a:pt x="81" y="6"/>
                    <a:pt x="81" y="6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4"/>
                    <a:pt x="82" y="4"/>
                  </a:cubicBezTo>
                  <a:cubicBezTo>
                    <a:pt x="82" y="4"/>
                    <a:pt x="82" y="4"/>
                    <a:pt x="82" y="5"/>
                  </a:cubicBezTo>
                  <a:cubicBezTo>
                    <a:pt x="83" y="5"/>
                    <a:pt x="83" y="5"/>
                    <a:pt x="83" y="6"/>
                  </a:cubicBezTo>
                  <a:cubicBezTo>
                    <a:pt x="83" y="7"/>
                    <a:pt x="83" y="7"/>
                    <a:pt x="83" y="7"/>
                  </a:cubicBezTo>
                  <a:close/>
                  <a:moveTo>
                    <a:pt x="88" y="4"/>
                  </a:moveTo>
                  <a:cubicBezTo>
                    <a:pt x="84" y="4"/>
                    <a:pt x="84" y="4"/>
                    <a:pt x="84" y="4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5"/>
                    <a:pt x="87" y="5"/>
                    <a:pt x="87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4"/>
                    <a:pt x="88" y="4"/>
                    <a:pt x="88" y="4"/>
                  </a:cubicBezTo>
                  <a:close/>
                  <a:moveTo>
                    <a:pt x="95" y="4"/>
                  </a:moveTo>
                  <a:cubicBezTo>
                    <a:pt x="88" y="4"/>
                    <a:pt x="88" y="4"/>
                    <a:pt x="88" y="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10"/>
                    <a:pt x="89" y="10"/>
                    <a:pt x="89" y="10"/>
                  </a:cubicBezTo>
                  <a:cubicBezTo>
                    <a:pt x="89" y="11"/>
                    <a:pt x="89" y="11"/>
                    <a:pt x="90" y="11"/>
                  </a:cubicBezTo>
                  <a:cubicBezTo>
                    <a:pt x="90" y="12"/>
                    <a:pt x="90" y="12"/>
                    <a:pt x="91" y="12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92" y="13"/>
                    <a:pt x="93" y="13"/>
                    <a:pt x="93" y="13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93" y="12"/>
                    <a:pt x="92" y="12"/>
                    <a:pt x="92" y="12"/>
                  </a:cubicBezTo>
                  <a:cubicBezTo>
                    <a:pt x="91" y="12"/>
                    <a:pt x="90" y="11"/>
                    <a:pt x="90" y="11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1" y="9"/>
                  </a:cubicBezTo>
                  <a:cubicBezTo>
                    <a:pt x="91" y="8"/>
                    <a:pt x="91" y="8"/>
                    <a:pt x="92" y="8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93" y="9"/>
                    <a:pt x="94" y="9"/>
                    <a:pt x="94" y="9"/>
                  </a:cubicBezTo>
                  <a:cubicBezTo>
                    <a:pt x="94" y="9"/>
                    <a:pt x="93" y="10"/>
                    <a:pt x="93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1" y="10"/>
                    <a:pt x="91" y="10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4" y="10"/>
                    <a:pt x="94" y="10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8"/>
                    <a:pt x="93" y="8"/>
                    <a:pt x="92" y="8"/>
                  </a:cubicBezTo>
                  <a:cubicBezTo>
                    <a:pt x="92" y="8"/>
                    <a:pt x="91" y="8"/>
                    <a:pt x="91" y="8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5" y="4"/>
                    <a:pt x="95" y="4"/>
                    <a:pt x="95" y="4"/>
                  </a:cubicBezTo>
                  <a:close/>
                  <a:moveTo>
                    <a:pt x="102" y="4"/>
                  </a:moveTo>
                  <a:cubicBezTo>
                    <a:pt x="95" y="4"/>
                    <a:pt x="95" y="4"/>
                    <a:pt x="95" y="4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7" y="7"/>
                    <a:pt x="96" y="7"/>
                    <a:pt x="96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9"/>
                    <a:pt x="97" y="9"/>
                    <a:pt x="97" y="9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100" y="12"/>
                    <a:pt x="100" y="12"/>
                    <a:pt x="100" y="12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1" y="12"/>
                    <a:pt x="101" y="12"/>
                    <a:pt x="100" y="12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8" y="9"/>
                    <a:pt x="98" y="9"/>
                  </a:cubicBezTo>
                  <a:cubicBezTo>
                    <a:pt x="99" y="8"/>
                    <a:pt x="100" y="7"/>
                    <a:pt x="100" y="6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4"/>
                    <a:pt x="102" y="4"/>
                    <a:pt x="102" y="4"/>
                  </a:cubicBezTo>
                  <a:close/>
                  <a:moveTo>
                    <a:pt x="105" y="4"/>
                  </a:moveTo>
                  <a:cubicBezTo>
                    <a:pt x="104" y="4"/>
                    <a:pt x="104" y="4"/>
                    <a:pt x="104" y="4"/>
                  </a:cubicBezTo>
                  <a:cubicBezTo>
                    <a:pt x="104" y="3"/>
                    <a:pt x="104" y="3"/>
                    <a:pt x="103" y="3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2" y="1"/>
                    <a:pt x="101" y="0"/>
                    <a:pt x="100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99" y="0"/>
                    <a:pt x="99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3"/>
                    <a:pt x="99" y="3"/>
                    <a:pt x="99" y="3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0" y="4"/>
                    <a:pt x="100" y="4"/>
                    <a:pt x="100" y="3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1" y="1"/>
                    <a:pt x="102" y="1"/>
                    <a:pt x="102" y="2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4" y="5"/>
                    <a:pt x="104" y="5"/>
                    <a:pt x="104" y="5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lose/>
                </a:path>
              </a:pathLst>
            </a:custGeom>
            <a:solidFill>
              <a:srgbClr val="2E3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6" name="Freeform 10636"/>
            <p:cNvSpPr>
              <a:spLocks noEditPoints="1"/>
            </p:cNvSpPr>
            <p:nvPr/>
          </p:nvSpPr>
          <p:spPr bwMode="auto">
            <a:xfrm>
              <a:off x="6234110" y="6440961"/>
              <a:ext cx="524825" cy="67719"/>
            </a:xfrm>
            <a:custGeom>
              <a:avLst/>
              <a:gdLst>
                <a:gd name="T0" fmla="*/ 7 w 105"/>
                <a:gd name="T1" fmla="*/ 8 h 13"/>
                <a:gd name="T2" fmla="*/ 6 w 105"/>
                <a:gd name="T3" fmla="*/ 6 h 13"/>
                <a:gd name="T4" fmla="*/ 2 w 105"/>
                <a:gd name="T5" fmla="*/ 4 h 13"/>
                <a:gd name="T6" fmla="*/ 5 w 105"/>
                <a:gd name="T7" fmla="*/ 6 h 13"/>
                <a:gd name="T8" fmla="*/ 5 w 105"/>
                <a:gd name="T9" fmla="*/ 9 h 13"/>
                <a:gd name="T10" fmla="*/ 2 w 105"/>
                <a:gd name="T11" fmla="*/ 10 h 13"/>
                <a:gd name="T12" fmla="*/ 5 w 105"/>
                <a:gd name="T13" fmla="*/ 8 h 13"/>
                <a:gd name="T14" fmla="*/ 9 w 105"/>
                <a:gd name="T15" fmla="*/ 8 h 13"/>
                <a:gd name="T16" fmla="*/ 11 w 105"/>
                <a:gd name="T17" fmla="*/ 4 h 13"/>
                <a:gd name="T18" fmla="*/ 15 w 105"/>
                <a:gd name="T19" fmla="*/ 4 h 13"/>
                <a:gd name="T20" fmla="*/ 17 w 105"/>
                <a:gd name="T21" fmla="*/ 9 h 13"/>
                <a:gd name="T22" fmla="*/ 19 w 105"/>
                <a:gd name="T23" fmla="*/ 7 h 13"/>
                <a:gd name="T24" fmla="*/ 18 w 105"/>
                <a:gd name="T25" fmla="*/ 10 h 13"/>
                <a:gd name="T26" fmla="*/ 22 w 105"/>
                <a:gd name="T27" fmla="*/ 5 h 13"/>
                <a:gd name="T28" fmla="*/ 26 w 105"/>
                <a:gd name="T29" fmla="*/ 5 h 13"/>
                <a:gd name="T30" fmla="*/ 26 w 105"/>
                <a:gd name="T31" fmla="*/ 7 h 13"/>
                <a:gd name="T32" fmla="*/ 30 w 105"/>
                <a:gd name="T33" fmla="*/ 12 h 13"/>
                <a:gd name="T34" fmla="*/ 29 w 105"/>
                <a:gd name="T35" fmla="*/ 8 h 13"/>
                <a:gd name="T36" fmla="*/ 33 w 105"/>
                <a:gd name="T37" fmla="*/ 5 h 13"/>
                <a:gd name="T38" fmla="*/ 30 w 105"/>
                <a:gd name="T39" fmla="*/ 7 h 13"/>
                <a:gd name="T40" fmla="*/ 42 w 105"/>
                <a:gd name="T41" fmla="*/ 5 h 13"/>
                <a:gd name="T42" fmla="*/ 40 w 105"/>
                <a:gd name="T43" fmla="*/ 7 h 13"/>
                <a:gd name="T44" fmla="*/ 45 w 105"/>
                <a:gd name="T45" fmla="*/ 9 h 13"/>
                <a:gd name="T46" fmla="*/ 45 w 105"/>
                <a:gd name="T47" fmla="*/ 8 h 13"/>
                <a:gd name="T48" fmla="*/ 41 w 105"/>
                <a:gd name="T49" fmla="*/ 8 h 13"/>
                <a:gd name="T50" fmla="*/ 45 w 105"/>
                <a:gd name="T51" fmla="*/ 5 h 13"/>
                <a:gd name="T52" fmla="*/ 49 w 105"/>
                <a:gd name="T53" fmla="*/ 5 h 13"/>
                <a:gd name="T54" fmla="*/ 48 w 105"/>
                <a:gd name="T55" fmla="*/ 2 h 13"/>
                <a:gd name="T56" fmla="*/ 46 w 105"/>
                <a:gd name="T57" fmla="*/ 1 h 13"/>
                <a:gd name="T58" fmla="*/ 49 w 105"/>
                <a:gd name="T59" fmla="*/ 3 h 13"/>
                <a:gd name="T60" fmla="*/ 55 w 105"/>
                <a:gd name="T61" fmla="*/ 8 h 13"/>
                <a:gd name="T62" fmla="*/ 52 w 105"/>
                <a:gd name="T63" fmla="*/ 6 h 13"/>
                <a:gd name="T64" fmla="*/ 56 w 105"/>
                <a:gd name="T65" fmla="*/ 8 h 13"/>
                <a:gd name="T66" fmla="*/ 61 w 105"/>
                <a:gd name="T67" fmla="*/ 5 h 13"/>
                <a:gd name="T68" fmla="*/ 61 w 105"/>
                <a:gd name="T69" fmla="*/ 7 h 13"/>
                <a:gd name="T70" fmla="*/ 63 w 105"/>
                <a:gd name="T71" fmla="*/ 9 h 13"/>
                <a:gd name="T72" fmla="*/ 69 w 105"/>
                <a:gd name="T73" fmla="*/ 4 h 13"/>
                <a:gd name="T74" fmla="*/ 72 w 105"/>
                <a:gd name="T75" fmla="*/ 5 h 13"/>
                <a:gd name="T76" fmla="*/ 78 w 105"/>
                <a:gd name="T77" fmla="*/ 7 h 13"/>
                <a:gd name="T78" fmla="*/ 82 w 105"/>
                <a:gd name="T79" fmla="*/ 4 h 13"/>
                <a:gd name="T80" fmla="*/ 82 w 105"/>
                <a:gd name="T81" fmla="*/ 9 h 13"/>
                <a:gd name="T82" fmla="*/ 81 w 105"/>
                <a:gd name="T83" fmla="*/ 11 h 13"/>
                <a:gd name="T84" fmla="*/ 83 w 105"/>
                <a:gd name="T85" fmla="*/ 11 h 13"/>
                <a:gd name="T86" fmla="*/ 84 w 105"/>
                <a:gd name="T87" fmla="*/ 7 h 13"/>
                <a:gd name="T88" fmla="*/ 81 w 105"/>
                <a:gd name="T89" fmla="*/ 5 h 13"/>
                <a:gd name="T90" fmla="*/ 84 w 105"/>
                <a:gd name="T91" fmla="*/ 5 h 13"/>
                <a:gd name="T92" fmla="*/ 95 w 105"/>
                <a:gd name="T93" fmla="*/ 4 h 13"/>
                <a:gd name="T94" fmla="*/ 89 w 105"/>
                <a:gd name="T95" fmla="*/ 6 h 13"/>
                <a:gd name="T96" fmla="*/ 88 w 105"/>
                <a:gd name="T97" fmla="*/ 9 h 13"/>
                <a:gd name="T98" fmla="*/ 90 w 105"/>
                <a:gd name="T99" fmla="*/ 11 h 13"/>
                <a:gd name="T100" fmla="*/ 92 w 105"/>
                <a:gd name="T101" fmla="*/ 10 h 13"/>
                <a:gd name="T102" fmla="*/ 91 w 105"/>
                <a:gd name="T103" fmla="*/ 8 h 13"/>
                <a:gd name="T104" fmla="*/ 90 w 105"/>
                <a:gd name="T105" fmla="*/ 7 h 13"/>
                <a:gd name="T106" fmla="*/ 95 w 105"/>
                <a:gd name="T107" fmla="*/ 4 h 13"/>
                <a:gd name="T108" fmla="*/ 98 w 105"/>
                <a:gd name="T109" fmla="*/ 10 h 13"/>
                <a:gd name="T110" fmla="*/ 98 w 105"/>
                <a:gd name="T111" fmla="*/ 9 h 13"/>
                <a:gd name="T112" fmla="*/ 104 w 105"/>
                <a:gd name="T113" fmla="*/ 4 h 13"/>
                <a:gd name="T114" fmla="*/ 99 w 105"/>
                <a:gd name="T115" fmla="*/ 3 h 13"/>
                <a:gd name="T116" fmla="*/ 100 w 105"/>
                <a:gd name="T117" fmla="*/ 1 h 13"/>
                <a:gd name="T118" fmla="*/ 104 w 105"/>
                <a:gd name="T11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5" h="13">
                  <a:moveTo>
                    <a:pt x="11" y="4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5"/>
                    <a:pt x="5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4" y="10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9"/>
                    <a:pt x="1" y="9"/>
                  </a:cubicBezTo>
                  <a:cubicBezTo>
                    <a:pt x="1" y="8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1" y="9"/>
                  </a:cubicBezTo>
                  <a:cubicBezTo>
                    <a:pt x="1" y="9"/>
                    <a:pt x="2" y="10"/>
                    <a:pt x="2" y="10"/>
                  </a:cubicBezTo>
                  <a:cubicBezTo>
                    <a:pt x="3" y="11"/>
                    <a:pt x="3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1" y="4"/>
                    <a:pt x="11" y="4"/>
                  </a:cubicBezTo>
                  <a:close/>
                  <a:moveTo>
                    <a:pt x="15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4"/>
                    <a:pt x="15" y="4"/>
                    <a:pt x="15" y="4"/>
                  </a:cubicBezTo>
                  <a:close/>
                  <a:moveTo>
                    <a:pt x="22" y="4"/>
                  </a:move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7"/>
                    <a:pt x="16" y="7"/>
                  </a:cubicBezTo>
                  <a:cubicBezTo>
                    <a:pt x="16" y="7"/>
                    <a:pt x="17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7" y="6"/>
                    <a:pt x="16" y="6"/>
                    <a:pt x="16" y="6"/>
                  </a:cubicBezTo>
                  <a:cubicBezTo>
                    <a:pt x="15" y="6"/>
                    <a:pt x="15" y="7"/>
                    <a:pt x="15" y="8"/>
                  </a:cubicBezTo>
                  <a:cubicBezTo>
                    <a:pt x="15" y="8"/>
                    <a:pt x="15" y="8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6" y="9"/>
                  </a:cubicBezTo>
                  <a:cubicBezTo>
                    <a:pt x="16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lose/>
                  <a:moveTo>
                    <a:pt x="26" y="4"/>
                  </a:moveTo>
                  <a:cubicBezTo>
                    <a:pt x="22" y="4"/>
                    <a:pt x="22" y="4"/>
                    <a:pt x="22" y="4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4"/>
                    <a:pt x="26" y="4"/>
                    <a:pt x="26" y="4"/>
                  </a:cubicBezTo>
                  <a:close/>
                  <a:moveTo>
                    <a:pt x="35" y="4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8"/>
                    <a:pt x="26" y="9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4"/>
                    <a:pt x="35" y="4"/>
                    <a:pt x="35" y="4"/>
                  </a:cubicBezTo>
                  <a:close/>
                  <a:moveTo>
                    <a:pt x="32" y="7"/>
                  </a:moveTo>
                  <a:cubicBezTo>
                    <a:pt x="32" y="7"/>
                    <a:pt x="32" y="7"/>
                    <a:pt x="31" y="7"/>
                  </a:cubicBezTo>
                  <a:cubicBezTo>
                    <a:pt x="31" y="7"/>
                    <a:pt x="31" y="8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7"/>
                    <a:pt x="32" y="7"/>
                    <a:pt x="32" y="7"/>
                  </a:cubicBezTo>
                  <a:close/>
                  <a:moveTo>
                    <a:pt x="48" y="4"/>
                  </a:moveTo>
                  <a:cubicBezTo>
                    <a:pt x="39" y="4"/>
                    <a:pt x="39" y="4"/>
                    <a:pt x="39" y="4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0" y="8"/>
                    <a:pt x="40" y="8"/>
                  </a:cubicBezTo>
                  <a:cubicBezTo>
                    <a:pt x="40" y="9"/>
                    <a:pt x="41" y="9"/>
                    <a:pt x="41" y="9"/>
                  </a:cubicBezTo>
                  <a:cubicBezTo>
                    <a:pt x="41" y="9"/>
                    <a:pt x="42" y="10"/>
                    <a:pt x="42" y="10"/>
                  </a:cubicBezTo>
                  <a:cubicBezTo>
                    <a:pt x="42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5" y="10"/>
                    <a:pt x="45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4"/>
                    <a:pt x="48" y="4"/>
                    <a:pt x="48" y="4"/>
                  </a:cubicBezTo>
                  <a:close/>
                  <a:moveTo>
                    <a:pt x="45" y="8"/>
                  </a:moveTo>
                  <a:cubicBezTo>
                    <a:pt x="44" y="8"/>
                    <a:pt x="44" y="8"/>
                    <a:pt x="44" y="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2" y="9"/>
                    <a:pt x="41" y="9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7"/>
                    <a:pt x="42" y="7"/>
                  </a:cubicBezTo>
                  <a:cubicBezTo>
                    <a:pt x="43" y="7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lose/>
                  <a:moveTo>
                    <a:pt x="51" y="4"/>
                  </a:moveTo>
                  <a:cubicBezTo>
                    <a:pt x="47" y="4"/>
                    <a:pt x="47" y="4"/>
                    <a:pt x="47" y="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lose/>
                  <a:moveTo>
                    <a:pt x="49" y="3"/>
                  </a:moveTo>
                  <a:cubicBezTo>
                    <a:pt x="49" y="3"/>
                    <a:pt x="49" y="3"/>
                    <a:pt x="49" y="3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5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3"/>
                    <a:pt x="49" y="3"/>
                    <a:pt x="49" y="3"/>
                  </a:cubicBezTo>
                  <a:close/>
                  <a:moveTo>
                    <a:pt x="61" y="4"/>
                  </a:moveTo>
                  <a:cubicBezTo>
                    <a:pt x="51" y="4"/>
                    <a:pt x="51" y="4"/>
                    <a:pt x="51" y="4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4" y="6"/>
                    <a:pt x="54" y="6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5" y="7"/>
                    <a:pt x="55" y="7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3" y="9"/>
                    <a:pt x="53" y="9"/>
                  </a:cubicBezTo>
                  <a:cubicBezTo>
                    <a:pt x="53" y="9"/>
                    <a:pt x="52" y="8"/>
                    <a:pt x="52" y="8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2" y="6"/>
                    <a:pt x="52" y="6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9"/>
                    <a:pt x="53" y="10"/>
                    <a:pt x="53" y="10"/>
                  </a:cubicBezTo>
                  <a:cubicBezTo>
                    <a:pt x="53" y="10"/>
                    <a:pt x="54" y="10"/>
                    <a:pt x="54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56" y="10"/>
                    <a:pt x="56" y="10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4"/>
                    <a:pt x="61" y="4"/>
                    <a:pt x="61" y="4"/>
                  </a:cubicBezTo>
                  <a:close/>
                  <a:moveTo>
                    <a:pt x="69" y="4"/>
                  </a:moveTo>
                  <a:cubicBezTo>
                    <a:pt x="60" y="4"/>
                    <a:pt x="60" y="4"/>
                    <a:pt x="60" y="4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3" y="10"/>
                    <a:pt x="63" y="9"/>
                    <a:pt x="63" y="9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4"/>
                    <a:pt x="69" y="4"/>
                    <a:pt x="69" y="4"/>
                  </a:cubicBezTo>
                  <a:close/>
                  <a:moveTo>
                    <a:pt x="72" y="4"/>
                  </a:moveTo>
                  <a:cubicBezTo>
                    <a:pt x="68" y="4"/>
                    <a:pt x="68" y="4"/>
                    <a:pt x="68" y="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4"/>
                    <a:pt x="72" y="4"/>
                    <a:pt x="72" y="4"/>
                  </a:cubicBezTo>
                  <a:close/>
                  <a:moveTo>
                    <a:pt x="78" y="7"/>
                  </a:moveTo>
                  <a:cubicBezTo>
                    <a:pt x="72" y="7"/>
                    <a:pt x="72" y="7"/>
                    <a:pt x="72" y="7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8"/>
                    <a:pt x="78" y="8"/>
                    <a:pt x="78" y="8"/>
                  </a:cubicBezTo>
                  <a:cubicBezTo>
                    <a:pt x="78" y="7"/>
                    <a:pt x="78" y="7"/>
                    <a:pt x="78" y="7"/>
                  </a:cubicBezTo>
                  <a:close/>
                  <a:moveTo>
                    <a:pt x="85" y="4"/>
                  </a:moveTo>
                  <a:cubicBezTo>
                    <a:pt x="84" y="4"/>
                    <a:pt x="84" y="4"/>
                    <a:pt x="84" y="4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4"/>
                    <a:pt x="85" y="4"/>
                    <a:pt x="85" y="4"/>
                  </a:cubicBezTo>
                  <a:close/>
                  <a:moveTo>
                    <a:pt x="84" y="5"/>
                  </a:moveTo>
                  <a:cubicBezTo>
                    <a:pt x="84" y="4"/>
                    <a:pt x="83" y="4"/>
                    <a:pt x="82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79" y="5"/>
                    <a:pt x="79" y="5"/>
                  </a:cubicBezTo>
                  <a:cubicBezTo>
                    <a:pt x="79" y="6"/>
                    <a:pt x="80" y="7"/>
                    <a:pt x="81" y="7"/>
                  </a:cubicBezTo>
                  <a:cubicBezTo>
                    <a:pt x="81" y="7"/>
                    <a:pt x="82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3" y="8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1" y="9"/>
                    <a:pt x="81" y="8"/>
                    <a:pt x="81" y="8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80" y="10"/>
                    <a:pt x="80" y="10"/>
                  </a:cubicBezTo>
                  <a:cubicBezTo>
                    <a:pt x="80" y="10"/>
                    <a:pt x="80" y="11"/>
                    <a:pt x="80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83" y="10"/>
                    <a:pt x="83" y="10"/>
                    <a:pt x="83" y="9"/>
                  </a:cubicBezTo>
                  <a:cubicBezTo>
                    <a:pt x="83" y="9"/>
                    <a:pt x="84" y="9"/>
                    <a:pt x="84" y="9"/>
                  </a:cubicBezTo>
                  <a:cubicBezTo>
                    <a:pt x="84" y="8"/>
                    <a:pt x="84" y="8"/>
                    <a:pt x="84" y="8"/>
                  </a:cubicBezTo>
                  <a:cubicBezTo>
                    <a:pt x="84" y="8"/>
                    <a:pt x="84" y="7"/>
                    <a:pt x="84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6"/>
                    <a:pt x="84" y="6"/>
                    <a:pt x="84" y="5"/>
                  </a:cubicBezTo>
                  <a:cubicBezTo>
                    <a:pt x="84" y="5"/>
                    <a:pt x="84" y="5"/>
                    <a:pt x="84" y="5"/>
                  </a:cubicBezTo>
                  <a:close/>
                  <a:moveTo>
                    <a:pt x="83" y="7"/>
                  </a:moveTo>
                  <a:cubicBezTo>
                    <a:pt x="83" y="7"/>
                    <a:pt x="83" y="7"/>
                    <a:pt x="83" y="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1" y="7"/>
                    <a:pt x="81" y="6"/>
                    <a:pt x="81" y="6"/>
                  </a:cubicBezTo>
                  <a:cubicBezTo>
                    <a:pt x="81" y="6"/>
                    <a:pt x="81" y="6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4"/>
                    <a:pt x="82" y="4"/>
                  </a:cubicBezTo>
                  <a:cubicBezTo>
                    <a:pt x="82" y="4"/>
                    <a:pt x="82" y="4"/>
                    <a:pt x="82" y="5"/>
                  </a:cubicBezTo>
                  <a:cubicBezTo>
                    <a:pt x="83" y="5"/>
                    <a:pt x="83" y="5"/>
                    <a:pt x="83" y="6"/>
                  </a:cubicBezTo>
                  <a:cubicBezTo>
                    <a:pt x="83" y="7"/>
                    <a:pt x="83" y="7"/>
                    <a:pt x="83" y="7"/>
                  </a:cubicBezTo>
                  <a:close/>
                  <a:moveTo>
                    <a:pt x="88" y="4"/>
                  </a:moveTo>
                  <a:cubicBezTo>
                    <a:pt x="84" y="4"/>
                    <a:pt x="84" y="4"/>
                    <a:pt x="84" y="4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7" y="5"/>
                    <a:pt x="87" y="5"/>
                    <a:pt x="87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4"/>
                    <a:pt x="88" y="4"/>
                    <a:pt x="88" y="4"/>
                  </a:cubicBezTo>
                  <a:close/>
                  <a:moveTo>
                    <a:pt x="95" y="4"/>
                  </a:moveTo>
                  <a:cubicBezTo>
                    <a:pt x="88" y="4"/>
                    <a:pt x="88" y="4"/>
                    <a:pt x="88" y="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9" y="7"/>
                    <a:pt x="89" y="7"/>
                    <a:pt x="89" y="7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10"/>
                    <a:pt x="89" y="10"/>
                    <a:pt x="89" y="10"/>
                  </a:cubicBezTo>
                  <a:cubicBezTo>
                    <a:pt x="89" y="11"/>
                    <a:pt x="89" y="11"/>
                    <a:pt x="90" y="11"/>
                  </a:cubicBezTo>
                  <a:cubicBezTo>
                    <a:pt x="90" y="12"/>
                    <a:pt x="90" y="12"/>
                    <a:pt x="91" y="12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2" y="13"/>
                    <a:pt x="92" y="13"/>
                    <a:pt x="92" y="13"/>
                  </a:cubicBezTo>
                  <a:cubicBezTo>
                    <a:pt x="92" y="13"/>
                    <a:pt x="93" y="13"/>
                    <a:pt x="93" y="13"/>
                  </a:cubicBezTo>
                  <a:cubicBezTo>
                    <a:pt x="93" y="12"/>
                    <a:pt x="93" y="12"/>
                    <a:pt x="93" y="12"/>
                  </a:cubicBezTo>
                  <a:cubicBezTo>
                    <a:pt x="93" y="12"/>
                    <a:pt x="92" y="12"/>
                    <a:pt x="92" y="12"/>
                  </a:cubicBezTo>
                  <a:cubicBezTo>
                    <a:pt x="91" y="12"/>
                    <a:pt x="90" y="11"/>
                    <a:pt x="90" y="11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9"/>
                    <a:pt x="90" y="9"/>
                    <a:pt x="90" y="9"/>
                  </a:cubicBezTo>
                  <a:cubicBezTo>
                    <a:pt x="90" y="9"/>
                    <a:pt x="90" y="9"/>
                    <a:pt x="91" y="9"/>
                  </a:cubicBezTo>
                  <a:cubicBezTo>
                    <a:pt x="91" y="8"/>
                    <a:pt x="91" y="8"/>
                    <a:pt x="92" y="8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93" y="9"/>
                    <a:pt x="94" y="9"/>
                    <a:pt x="94" y="9"/>
                  </a:cubicBezTo>
                  <a:cubicBezTo>
                    <a:pt x="94" y="9"/>
                    <a:pt x="93" y="10"/>
                    <a:pt x="93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10"/>
                    <a:pt x="91" y="10"/>
                    <a:pt x="91" y="10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4" y="10"/>
                    <a:pt x="94" y="10"/>
                    <a:pt x="94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8"/>
                    <a:pt x="93" y="8"/>
                    <a:pt x="92" y="8"/>
                  </a:cubicBezTo>
                  <a:cubicBezTo>
                    <a:pt x="92" y="8"/>
                    <a:pt x="91" y="8"/>
                    <a:pt x="91" y="8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5"/>
                    <a:pt x="93" y="5"/>
                    <a:pt x="93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5" y="4"/>
                    <a:pt x="95" y="4"/>
                    <a:pt x="95" y="4"/>
                  </a:cubicBezTo>
                  <a:close/>
                  <a:moveTo>
                    <a:pt x="102" y="4"/>
                  </a:moveTo>
                  <a:cubicBezTo>
                    <a:pt x="95" y="4"/>
                    <a:pt x="95" y="4"/>
                    <a:pt x="95" y="4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97" y="7"/>
                    <a:pt x="97" y="7"/>
                    <a:pt x="97" y="7"/>
                  </a:cubicBezTo>
                  <a:cubicBezTo>
                    <a:pt x="97" y="7"/>
                    <a:pt x="96" y="7"/>
                    <a:pt x="96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9"/>
                    <a:pt x="97" y="9"/>
                    <a:pt x="97" y="9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100" y="12"/>
                    <a:pt x="100" y="12"/>
                    <a:pt x="100" y="12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101" y="12"/>
                    <a:pt x="101" y="12"/>
                    <a:pt x="100" y="12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8" y="9"/>
                    <a:pt x="98" y="9"/>
                  </a:cubicBezTo>
                  <a:cubicBezTo>
                    <a:pt x="99" y="8"/>
                    <a:pt x="100" y="7"/>
                    <a:pt x="100" y="6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0" y="5"/>
                    <a:pt x="100" y="5"/>
                    <a:pt x="100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2" y="4"/>
                    <a:pt x="102" y="4"/>
                    <a:pt x="102" y="4"/>
                  </a:cubicBezTo>
                  <a:close/>
                  <a:moveTo>
                    <a:pt x="105" y="4"/>
                  </a:moveTo>
                  <a:cubicBezTo>
                    <a:pt x="104" y="4"/>
                    <a:pt x="104" y="4"/>
                    <a:pt x="104" y="4"/>
                  </a:cubicBezTo>
                  <a:cubicBezTo>
                    <a:pt x="104" y="3"/>
                    <a:pt x="104" y="3"/>
                    <a:pt x="103" y="3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102" y="1"/>
                    <a:pt x="101" y="0"/>
                    <a:pt x="100" y="0"/>
                  </a:cubicBezTo>
                  <a:cubicBezTo>
                    <a:pt x="100" y="0"/>
                    <a:pt x="99" y="0"/>
                    <a:pt x="99" y="0"/>
                  </a:cubicBezTo>
                  <a:cubicBezTo>
                    <a:pt x="99" y="0"/>
                    <a:pt x="99" y="0"/>
                    <a:pt x="99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3"/>
                    <a:pt x="99" y="3"/>
                    <a:pt x="99" y="3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0" y="4"/>
                    <a:pt x="100" y="4"/>
                    <a:pt x="100" y="3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1"/>
                    <a:pt x="100" y="1"/>
                    <a:pt x="100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1" y="1"/>
                    <a:pt x="102" y="1"/>
                    <a:pt x="102" y="2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3" y="4"/>
                    <a:pt x="103" y="4"/>
                    <a:pt x="103" y="4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2" y="5"/>
                    <a:pt x="102" y="5"/>
                    <a:pt x="102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3" y="12"/>
                    <a:pt x="103" y="12"/>
                    <a:pt x="103" y="12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4" y="5"/>
                    <a:pt x="104" y="5"/>
                    <a:pt x="104" y="5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4"/>
                    <a:pt x="105" y="4"/>
                    <a:pt x="105" y="4"/>
                  </a:cubicBezTo>
                  <a:close/>
                </a:path>
              </a:pathLst>
            </a:custGeom>
            <a:noFill/>
            <a:ln w="11113" cap="flat">
              <a:solidFill>
                <a:srgbClr val="2E319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7" name="Freeform 10637"/>
            <p:cNvSpPr>
              <a:spLocks noEditPoints="1"/>
            </p:cNvSpPr>
            <p:nvPr/>
          </p:nvSpPr>
          <p:spPr bwMode="auto">
            <a:xfrm>
              <a:off x="6234110" y="6362661"/>
              <a:ext cx="256064" cy="67719"/>
            </a:xfrm>
            <a:custGeom>
              <a:avLst/>
              <a:gdLst>
                <a:gd name="T0" fmla="*/ 1 w 51"/>
                <a:gd name="T1" fmla="*/ 5 h 13"/>
                <a:gd name="T2" fmla="*/ 2 w 51"/>
                <a:gd name="T3" fmla="*/ 9 h 13"/>
                <a:gd name="T4" fmla="*/ 4 w 51"/>
                <a:gd name="T5" fmla="*/ 10 h 13"/>
                <a:gd name="T6" fmla="*/ 6 w 51"/>
                <a:gd name="T7" fmla="*/ 13 h 13"/>
                <a:gd name="T8" fmla="*/ 7 w 51"/>
                <a:gd name="T9" fmla="*/ 4 h 13"/>
                <a:gd name="T10" fmla="*/ 4 w 51"/>
                <a:gd name="T11" fmla="*/ 9 h 13"/>
                <a:gd name="T12" fmla="*/ 2 w 51"/>
                <a:gd name="T13" fmla="*/ 8 h 13"/>
                <a:gd name="T14" fmla="*/ 5 w 51"/>
                <a:gd name="T15" fmla="*/ 8 h 13"/>
                <a:gd name="T16" fmla="*/ 0 w 51"/>
                <a:gd name="T17" fmla="*/ 12 h 13"/>
                <a:gd name="T18" fmla="*/ 5 w 51"/>
                <a:gd name="T19" fmla="*/ 9 h 13"/>
                <a:gd name="T20" fmla="*/ 12 w 51"/>
                <a:gd name="T21" fmla="*/ 5 h 13"/>
                <a:gd name="T22" fmla="*/ 13 w 51"/>
                <a:gd name="T23" fmla="*/ 8 h 13"/>
                <a:gd name="T24" fmla="*/ 11 w 51"/>
                <a:gd name="T25" fmla="*/ 9 h 13"/>
                <a:gd name="T26" fmla="*/ 10 w 51"/>
                <a:gd name="T27" fmla="*/ 8 h 13"/>
                <a:gd name="T28" fmla="*/ 12 w 51"/>
                <a:gd name="T29" fmla="*/ 8 h 13"/>
                <a:gd name="T30" fmla="*/ 10 w 51"/>
                <a:gd name="T31" fmla="*/ 7 h 13"/>
                <a:gd name="T32" fmla="*/ 9 w 51"/>
                <a:gd name="T33" fmla="*/ 6 h 13"/>
                <a:gd name="T34" fmla="*/ 9 w 51"/>
                <a:gd name="T35" fmla="*/ 5 h 13"/>
                <a:gd name="T36" fmla="*/ 10 w 51"/>
                <a:gd name="T37" fmla="*/ 5 h 13"/>
                <a:gd name="T38" fmla="*/ 11 w 51"/>
                <a:gd name="T39" fmla="*/ 6 h 13"/>
                <a:gd name="T40" fmla="*/ 11 w 51"/>
                <a:gd name="T41" fmla="*/ 5 h 13"/>
                <a:gd name="T42" fmla="*/ 10 w 51"/>
                <a:gd name="T43" fmla="*/ 4 h 13"/>
                <a:gd name="T44" fmla="*/ 9 w 51"/>
                <a:gd name="T45" fmla="*/ 7 h 13"/>
                <a:gd name="T46" fmla="*/ 8 w 51"/>
                <a:gd name="T47" fmla="*/ 8 h 13"/>
                <a:gd name="T48" fmla="*/ 11 w 51"/>
                <a:gd name="T49" fmla="*/ 10 h 13"/>
                <a:gd name="T50" fmla="*/ 13 w 51"/>
                <a:gd name="T51" fmla="*/ 10 h 13"/>
                <a:gd name="T52" fmla="*/ 12 w 51"/>
                <a:gd name="T53" fmla="*/ 4 h 13"/>
                <a:gd name="T54" fmla="*/ 14 w 51"/>
                <a:gd name="T55" fmla="*/ 13 h 13"/>
                <a:gd name="T56" fmla="*/ 16 w 51"/>
                <a:gd name="T57" fmla="*/ 4 h 13"/>
                <a:gd name="T58" fmla="*/ 15 w 51"/>
                <a:gd name="T59" fmla="*/ 5 h 13"/>
                <a:gd name="T60" fmla="*/ 18 w 51"/>
                <a:gd name="T61" fmla="*/ 5 h 13"/>
                <a:gd name="T62" fmla="*/ 19 w 51"/>
                <a:gd name="T63" fmla="*/ 4 h 13"/>
                <a:gd name="T64" fmla="*/ 25 w 51"/>
                <a:gd name="T65" fmla="*/ 5 h 13"/>
                <a:gd name="T66" fmla="*/ 19 w 51"/>
                <a:gd name="T67" fmla="*/ 7 h 13"/>
                <a:gd name="T68" fmla="*/ 21 w 51"/>
                <a:gd name="T69" fmla="*/ 9 h 13"/>
                <a:gd name="T70" fmla="*/ 22 w 51"/>
                <a:gd name="T71" fmla="*/ 9 h 13"/>
                <a:gd name="T72" fmla="*/ 26 w 51"/>
                <a:gd name="T73" fmla="*/ 13 h 13"/>
                <a:gd name="T74" fmla="*/ 27 w 51"/>
                <a:gd name="T75" fmla="*/ 4 h 13"/>
                <a:gd name="T76" fmla="*/ 31 w 51"/>
                <a:gd name="T77" fmla="*/ 5 h 13"/>
                <a:gd name="T78" fmla="*/ 31 w 51"/>
                <a:gd name="T79" fmla="*/ 8 h 13"/>
                <a:gd name="T80" fmla="*/ 33 w 51"/>
                <a:gd name="T81" fmla="*/ 10 h 13"/>
                <a:gd name="T82" fmla="*/ 37 w 51"/>
                <a:gd name="T83" fmla="*/ 12 h 13"/>
                <a:gd name="T84" fmla="*/ 39 w 51"/>
                <a:gd name="T85" fmla="*/ 4 h 13"/>
                <a:gd name="T86" fmla="*/ 34 w 51"/>
                <a:gd name="T87" fmla="*/ 7 h 13"/>
                <a:gd name="T88" fmla="*/ 37 w 51"/>
                <a:gd name="T89" fmla="*/ 8 h 13"/>
                <a:gd name="T90" fmla="*/ 37 w 51"/>
                <a:gd name="T91" fmla="*/ 1 h 13"/>
                <a:gd name="T92" fmla="*/ 39 w 51"/>
                <a:gd name="T93" fmla="*/ 2 h 13"/>
                <a:gd name="T94" fmla="*/ 45 w 51"/>
                <a:gd name="T95" fmla="*/ 5 h 13"/>
                <a:gd name="T96" fmla="*/ 43 w 51"/>
                <a:gd name="T97" fmla="*/ 6 h 13"/>
                <a:gd name="T98" fmla="*/ 39 w 51"/>
                <a:gd name="T99" fmla="*/ 6 h 13"/>
                <a:gd name="T100" fmla="*/ 43 w 51"/>
                <a:gd name="T101" fmla="*/ 7 h 13"/>
                <a:gd name="T102" fmla="*/ 40 w 51"/>
                <a:gd name="T103" fmla="*/ 10 h 13"/>
                <a:gd name="T104" fmla="*/ 46 w 51"/>
                <a:gd name="T105" fmla="*/ 13 h 13"/>
                <a:gd name="T106" fmla="*/ 47 w 51"/>
                <a:gd name="T107" fmla="*/ 4 h 13"/>
                <a:gd name="T108" fmla="*/ 49 w 51"/>
                <a:gd name="T109" fmla="*/ 3 h 13"/>
                <a:gd name="T110" fmla="*/ 44 w 51"/>
                <a:gd name="T111" fmla="*/ 1 h 13"/>
                <a:gd name="T112" fmla="*/ 44 w 51"/>
                <a:gd name="T113" fmla="*/ 3 h 13"/>
                <a:gd name="T114" fmla="*/ 45 w 51"/>
                <a:gd name="T115" fmla="*/ 3 h 13"/>
                <a:gd name="T116" fmla="*/ 45 w 51"/>
                <a:gd name="T117" fmla="*/ 2 h 13"/>
                <a:gd name="T118" fmla="*/ 48 w 51"/>
                <a:gd name="T119" fmla="*/ 3 h 13"/>
                <a:gd name="T120" fmla="*/ 48 w 51"/>
                <a:gd name="T121" fmla="*/ 5 h 13"/>
                <a:gd name="T122" fmla="*/ 51 w 51"/>
                <a:gd name="T12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" h="13">
                  <a:moveTo>
                    <a:pt x="7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lose/>
                  <a:moveTo>
                    <a:pt x="5" y="8"/>
                  </a:moveTo>
                  <a:cubicBezTo>
                    <a:pt x="5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lose/>
                  <a:moveTo>
                    <a:pt x="5" y="9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lose/>
                  <a:moveTo>
                    <a:pt x="12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lose/>
                  <a:moveTo>
                    <a:pt x="13" y="8"/>
                  </a:move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5"/>
                  </a:cubicBezTo>
                  <a:cubicBezTo>
                    <a:pt x="8" y="5"/>
                    <a:pt x="8" y="6"/>
                    <a:pt x="8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9"/>
                    <a:pt x="9" y="9"/>
                  </a:cubicBezTo>
                  <a:cubicBezTo>
                    <a:pt x="9" y="10"/>
                    <a:pt x="9" y="10"/>
                    <a:pt x="10" y="10"/>
                  </a:cubicBez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8"/>
                    <a:pt x="13" y="8"/>
                    <a:pt x="13" y="8"/>
                  </a:cubicBezTo>
                  <a:close/>
                  <a:moveTo>
                    <a:pt x="16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lose/>
                  <a:moveTo>
                    <a:pt x="19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lose/>
                  <a:moveTo>
                    <a:pt x="27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lose/>
                  <a:moveTo>
                    <a:pt x="39" y="4"/>
                  </a:moveTo>
                  <a:cubicBezTo>
                    <a:pt x="31" y="4"/>
                    <a:pt x="31" y="4"/>
                    <a:pt x="31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8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3" y="10"/>
                    <a:pt x="33" y="10"/>
                  </a:cubicBezTo>
                  <a:cubicBezTo>
                    <a:pt x="33" y="10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lose/>
                  <a:moveTo>
                    <a:pt x="37" y="7"/>
                  </a:moveTo>
                  <a:cubicBezTo>
                    <a:pt x="34" y="7"/>
                    <a:pt x="34" y="7"/>
                    <a:pt x="34" y="7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7"/>
                    <a:pt x="37" y="7"/>
                    <a:pt x="37" y="7"/>
                  </a:cubicBezTo>
                  <a:close/>
                  <a:moveTo>
                    <a:pt x="39" y="2"/>
                  </a:moveTo>
                  <a:cubicBezTo>
                    <a:pt x="39" y="2"/>
                    <a:pt x="39" y="2"/>
                    <a:pt x="39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lose/>
                  <a:moveTo>
                    <a:pt x="47" y="4"/>
                  </a:moveTo>
                  <a:cubicBezTo>
                    <a:pt x="39" y="4"/>
                    <a:pt x="39" y="4"/>
                    <a:pt x="39" y="4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lose/>
                  <a:moveTo>
                    <a:pt x="51" y="4"/>
                  </a:moveTo>
                  <a:cubicBezTo>
                    <a:pt x="49" y="4"/>
                    <a:pt x="49" y="4"/>
                    <a:pt x="49" y="4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7" y="1"/>
                    <a:pt x="46" y="0"/>
                    <a:pt x="4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4" y="0"/>
                    <a:pt x="44" y="0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5" y="4"/>
                    <a:pt x="45" y="4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7" y="1"/>
                    <a:pt x="48" y="2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lose/>
                </a:path>
              </a:pathLst>
            </a:custGeom>
            <a:solidFill>
              <a:srgbClr val="2E31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8" name="Freeform 10638"/>
            <p:cNvSpPr>
              <a:spLocks noEditPoints="1"/>
            </p:cNvSpPr>
            <p:nvPr/>
          </p:nvSpPr>
          <p:spPr bwMode="auto">
            <a:xfrm>
              <a:off x="6234110" y="6362661"/>
              <a:ext cx="256064" cy="67719"/>
            </a:xfrm>
            <a:custGeom>
              <a:avLst/>
              <a:gdLst>
                <a:gd name="T0" fmla="*/ 1 w 51"/>
                <a:gd name="T1" fmla="*/ 5 h 13"/>
                <a:gd name="T2" fmla="*/ 2 w 51"/>
                <a:gd name="T3" fmla="*/ 9 h 13"/>
                <a:gd name="T4" fmla="*/ 4 w 51"/>
                <a:gd name="T5" fmla="*/ 10 h 13"/>
                <a:gd name="T6" fmla="*/ 6 w 51"/>
                <a:gd name="T7" fmla="*/ 13 h 13"/>
                <a:gd name="T8" fmla="*/ 7 w 51"/>
                <a:gd name="T9" fmla="*/ 4 h 13"/>
                <a:gd name="T10" fmla="*/ 4 w 51"/>
                <a:gd name="T11" fmla="*/ 9 h 13"/>
                <a:gd name="T12" fmla="*/ 2 w 51"/>
                <a:gd name="T13" fmla="*/ 8 h 13"/>
                <a:gd name="T14" fmla="*/ 5 w 51"/>
                <a:gd name="T15" fmla="*/ 8 h 13"/>
                <a:gd name="T16" fmla="*/ 0 w 51"/>
                <a:gd name="T17" fmla="*/ 12 h 13"/>
                <a:gd name="T18" fmla="*/ 5 w 51"/>
                <a:gd name="T19" fmla="*/ 9 h 13"/>
                <a:gd name="T20" fmla="*/ 12 w 51"/>
                <a:gd name="T21" fmla="*/ 5 h 13"/>
                <a:gd name="T22" fmla="*/ 13 w 51"/>
                <a:gd name="T23" fmla="*/ 8 h 13"/>
                <a:gd name="T24" fmla="*/ 11 w 51"/>
                <a:gd name="T25" fmla="*/ 9 h 13"/>
                <a:gd name="T26" fmla="*/ 10 w 51"/>
                <a:gd name="T27" fmla="*/ 8 h 13"/>
                <a:gd name="T28" fmla="*/ 12 w 51"/>
                <a:gd name="T29" fmla="*/ 8 h 13"/>
                <a:gd name="T30" fmla="*/ 10 w 51"/>
                <a:gd name="T31" fmla="*/ 7 h 13"/>
                <a:gd name="T32" fmla="*/ 9 w 51"/>
                <a:gd name="T33" fmla="*/ 6 h 13"/>
                <a:gd name="T34" fmla="*/ 9 w 51"/>
                <a:gd name="T35" fmla="*/ 5 h 13"/>
                <a:gd name="T36" fmla="*/ 10 w 51"/>
                <a:gd name="T37" fmla="*/ 5 h 13"/>
                <a:gd name="T38" fmla="*/ 11 w 51"/>
                <a:gd name="T39" fmla="*/ 6 h 13"/>
                <a:gd name="T40" fmla="*/ 11 w 51"/>
                <a:gd name="T41" fmla="*/ 5 h 13"/>
                <a:gd name="T42" fmla="*/ 10 w 51"/>
                <a:gd name="T43" fmla="*/ 4 h 13"/>
                <a:gd name="T44" fmla="*/ 9 w 51"/>
                <a:gd name="T45" fmla="*/ 7 h 13"/>
                <a:gd name="T46" fmla="*/ 8 w 51"/>
                <a:gd name="T47" fmla="*/ 8 h 13"/>
                <a:gd name="T48" fmla="*/ 11 w 51"/>
                <a:gd name="T49" fmla="*/ 10 h 13"/>
                <a:gd name="T50" fmla="*/ 13 w 51"/>
                <a:gd name="T51" fmla="*/ 10 h 13"/>
                <a:gd name="T52" fmla="*/ 12 w 51"/>
                <a:gd name="T53" fmla="*/ 4 h 13"/>
                <a:gd name="T54" fmla="*/ 14 w 51"/>
                <a:gd name="T55" fmla="*/ 13 h 13"/>
                <a:gd name="T56" fmla="*/ 16 w 51"/>
                <a:gd name="T57" fmla="*/ 4 h 13"/>
                <a:gd name="T58" fmla="*/ 15 w 51"/>
                <a:gd name="T59" fmla="*/ 5 h 13"/>
                <a:gd name="T60" fmla="*/ 18 w 51"/>
                <a:gd name="T61" fmla="*/ 5 h 13"/>
                <a:gd name="T62" fmla="*/ 19 w 51"/>
                <a:gd name="T63" fmla="*/ 4 h 13"/>
                <a:gd name="T64" fmla="*/ 25 w 51"/>
                <a:gd name="T65" fmla="*/ 5 h 13"/>
                <a:gd name="T66" fmla="*/ 19 w 51"/>
                <a:gd name="T67" fmla="*/ 7 h 13"/>
                <a:gd name="T68" fmla="*/ 21 w 51"/>
                <a:gd name="T69" fmla="*/ 9 h 13"/>
                <a:gd name="T70" fmla="*/ 22 w 51"/>
                <a:gd name="T71" fmla="*/ 9 h 13"/>
                <a:gd name="T72" fmla="*/ 26 w 51"/>
                <a:gd name="T73" fmla="*/ 13 h 13"/>
                <a:gd name="T74" fmla="*/ 27 w 51"/>
                <a:gd name="T75" fmla="*/ 4 h 13"/>
                <a:gd name="T76" fmla="*/ 31 w 51"/>
                <a:gd name="T77" fmla="*/ 5 h 13"/>
                <a:gd name="T78" fmla="*/ 31 w 51"/>
                <a:gd name="T79" fmla="*/ 8 h 13"/>
                <a:gd name="T80" fmla="*/ 33 w 51"/>
                <a:gd name="T81" fmla="*/ 10 h 13"/>
                <a:gd name="T82" fmla="*/ 37 w 51"/>
                <a:gd name="T83" fmla="*/ 12 h 13"/>
                <a:gd name="T84" fmla="*/ 39 w 51"/>
                <a:gd name="T85" fmla="*/ 4 h 13"/>
                <a:gd name="T86" fmla="*/ 34 w 51"/>
                <a:gd name="T87" fmla="*/ 7 h 13"/>
                <a:gd name="T88" fmla="*/ 37 w 51"/>
                <a:gd name="T89" fmla="*/ 8 h 13"/>
                <a:gd name="T90" fmla="*/ 37 w 51"/>
                <a:gd name="T91" fmla="*/ 1 h 13"/>
                <a:gd name="T92" fmla="*/ 39 w 51"/>
                <a:gd name="T93" fmla="*/ 2 h 13"/>
                <a:gd name="T94" fmla="*/ 45 w 51"/>
                <a:gd name="T95" fmla="*/ 5 h 13"/>
                <a:gd name="T96" fmla="*/ 43 w 51"/>
                <a:gd name="T97" fmla="*/ 6 h 13"/>
                <a:gd name="T98" fmla="*/ 39 w 51"/>
                <a:gd name="T99" fmla="*/ 6 h 13"/>
                <a:gd name="T100" fmla="*/ 43 w 51"/>
                <a:gd name="T101" fmla="*/ 7 h 13"/>
                <a:gd name="T102" fmla="*/ 40 w 51"/>
                <a:gd name="T103" fmla="*/ 10 h 13"/>
                <a:gd name="T104" fmla="*/ 46 w 51"/>
                <a:gd name="T105" fmla="*/ 13 h 13"/>
                <a:gd name="T106" fmla="*/ 47 w 51"/>
                <a:gd name="T107" fmla="*/ 4 h 13"/>
                <a:gd name="T108" fmla="*/ 49 w 51"/>
                <a:gd name="T109" fmla="*/ 3 h 13"/>
                <a:gd name="T110" fmla="*/ 44 w 51"/>
                <a:gd name="T111" fmla="*/ 1 h 13"/>
                <a:gd name="T112" fmla="*/ 44 w 51"/>
                <a:gd name="T113" fmla="*/ 3 h 13"/>
                <a:gd name="T114" fmla="*/ 45 w 51"/>
                <a:gd name="T115" fmla="*/ 3 h 13"/>
                <a:gd name="T116" fmla="*/ 45 w 51"/>
                <a:gd name="T117" fmla="*/ 2 h 13"/>
                <a:gd name="T118" fmla="*/ 48 w 51"/>
                <a:gd name="T119" fmla="*/ 3 h 13"/>
                <a:gd name="T120" fmla="*/ 48 w 51"/>
                <a:gd name="T121" fmla="*/ 5 h 13"/>
                <a:gd name="T122" fmla="*/ 51 w 51"/>
                <a:gd name="T12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" h="13">
                  <a:moveTo>
                    <a:pt x="7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lose/>
                  <a:moveTo>
                    <a:pt x="5" y="8"/>
                  </a:moveTo>
                  <a:cubicBezTo>
                    <a:pt x="5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lose/>
                  <a:moveTo>
                    <a:pt x="5" y="9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5" y="9"/>
                  </a:cubicBezTo>
                  <a:close/>
                  <a:moveTo>
                    <a:pt x="12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lose/>
                  <a:moveTo>
                    <a:pt x="13" y="8"/>
                  </a:move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8" y="4"/>
                    <a:pt x="8" y="5"/>
                  </a:cubicBezTo>
                  <a:cubicBezTo>
                    <a:pt x="8" y="5"/>
                    <a:pt x="8" y="6"/>
                    <a:pt x="8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9"/>
                    <a:pt x="9" y="9"/>
                  </a:cubicBezTo>
                  <a:cubicBezTo>
                    <a:pt x="9" y="10"/>
                    <a:pt x="9" y="10"/>
                    <a:pt x="10" y="10"/>
                  </a:cubicBez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8"/>
                    <a:pt x="13" y="8"/>
                    <a:pt x="13" y="8"/>
                  </a:cubicBezTo>
                  <a:close/>
                  <a:moveTo>
                    <a:pt x="16" y="4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lose/>
                  <a:moveTo>
                    <a:pt x="19" y="4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lose/>
                  <a:moveTo>
                    <a:pt x="27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lose/>
                  <a:moveTo>
                    <a:pt x="39" y="4"/>
                  </a:moveTo>
                  <a:cubicBezTo>
                    <a:pt x="31" y="4"/>
                    <a:pt x="31" y="4"/>
                    <a:pt x="31" y="4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8"/>
                    <a:pt x="32" y="9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2" y="9"/>
                    <a:pt x="33" y="10"/>
                    <a:pt x="33" y="10"/>
                  </a:cubicBezTo>
                  <a:cubicBezTo>
                    <a:pt x="33" y="10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lose/>
                  <a:moveTo>
                    <a:pt x="37" y="7"/>
                  </a:moveTo>
                  <a:cubicBezTo>
                    <a:pt x="34" y="7"/>
                    <a:pt x="34" y="7"/>
                    <a:pt x="34" y="7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7"/>
                    <a:pt x="37" y="7"/>
                    <a:pt x="37" y="7"/>
                  </a:cubicBezTo>
                  <a:close/>
                  <a:moveTo>
                    <a:pt x="39" y="2"/>
                  </a:moveTo>
                  <a:cubicBezTo>
                    <a:pt x="39" y="2"/>
                    <a:pt x="39" y="2"/>
                    <a:pt x="39" y="2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lose/>
                  <a:moveTo>
                    <a:pt x="47" y="4"/>
                  </a:moveTo>
                  <a:cubicBezTo>
                    <a:pt x="39" y="4"/>
                    <a:pt x="39" y="4"/>
                    <a:pt x="39" y="4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lose/>
                  <a:moveTo>
                    <a:pt x="51" y="4"/>
                  </a:moveTo>
                  <a:cubicBezTo>
                    <a:pt x="49" y="4"/>
                    <a:pt x="49" y="4"/>
                    <a:pt x="49" y="4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7" y="1"/>
                    <a:pt x="46" y="0"/>
                    <a:pt x="4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4" y="0"/>
                    <a:pt x="44" y="0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1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5" y="4"/>
                    <a:pt x="45" y="4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7" y="1"/>
                    <a:pt x="48" y="2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lose/>
                </a:path>
              </a:pathLst>
            </a:custGeom>
            <a:noFill/>
            <a:ln w="11113" cap="flat">
              <a:solidFill>
                <a:srgbClr val="2E319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59" name="Freeform 10639"/>
            <p:cNvSpPr>
              <a:spLocks noEditPoints="1"/>
            </p:cNvSpPr>
            <p:nvPr/>
          </p:nvSpPr>
          <p:spPr bwMode="auto">
            <a:xfrm>
              <a:off x="6234110" y="6523494"/>
              <a:ext cx="550220" cy="67719"/>
            </a:xfrm>
            <a:custGeom>
              <a:avLst/>
              <a:gdLst>
                <a:gd name="T0" fmla="*/ 0 w 110"/>
                <a:gd name="T1" fmla="*/ 10 h 13"/>
                <a:gd name="T2" fmla="*/ 5 w 110"/>
                <a:gd name="T3" fmla="*/ 10 h 13"/>
                <a:gd name="T4" fmla="*/ 5 w 110"/>
                <a:gd name="T5" fmla="*/ 2 h 13"/>
                <a:gd name="T6" fmla="*/ 7 w 110"/>
                <a:gd name="T7" fmla="*/ 6 h 13"/>
                <a:gd name="T8" fmla="*/ 10 w 110"/>
                <a:gd name="T9" fmla="*/ 5 h 13"/>
                <a:gd name="T10" fmla="*/ 8 w 110"/>
                <a:gd name="T11" fmla="*/ 7 h 13"/>
                <a:gd name="T12" fmla="*/ 12 w 110"/>
                <a:gd name="T13" fmla="*/ 10 h 13"/>
                <a:gd name="T14" fmla="*/ 11 w 110"/>
                <a:gd name="T15" fmla="*/ 10 h 13"/>
                <a:gd name="T16" fmla="*/ 16 w 110"/>
                <a:gd name="T17" fmla="*/ 5 h 13"/>
                <a:gd name="T18" fmla="*/ 14 w 110"/>
                <a:gd name="T19" fmla="*/ 0 h 13"/>
                <a:gd name="T20" fmla="*/ 18 w 110"/>
                <a:gd name="T21" fmla="*/ 8 h 13"/>
                <a:gd name="T22" fmla="*/ 20 w 110"/>
                <a:gd name="T23" fmla="*/ 2 h 13"/>
                <a:gd name="T24" fmla="*/ 20 w 110"/>
                <a:gd name="T25" fmla="*/ 6 h 13"/>
                <a:gd name="T26" fmla="*/ 25 w 110"/>
                <a:gd name="T27" fmla="*/ 10 h 13"/>
                <a:gd name="T28" fmla="*/ 28 w 110"/>
                <a:gd name="T29" fmla="*/ 10 h 13"/>
                <a:gd name="T30" fmla="*/ 32 w 110"/>
                <a:gd name="T31" fmla="*/ 10 h 13"/>
                <a:gd name="T32" fmla="*/ 28 w 110"/>
                <a:gd name="T33" fmla="*/ 10 h 13"/>
                <a:gd name="T34" fmla="*/ 34 w 110"/>
                <a:gd name="T35" fmla="*/ 10 h 13"/>
                <a:gd name="T36" fmla="*/ 33 w 110"/>
                <a:gd name="T37" fmla="*/ 5 h 13"/>
                <a:gd name="T38" fmla="*/ 35 w 110"/>
                <a:gd name="T39" fmla="*/ 8 h 13"/>
                <a:gd name="T40" fmla="*/ 40 w 110"/>
                <a:gd name="T41" fmla="*/ 4 h 13"/>
                <a:gd name="T42" fmla="*/ 41 w 110"/>
                <a:gd name="T43" fmla="*/ 2 h 13"/>
                <a:gd name="T44" fmla="*/ 42 w 110"/>
                <a:gd name="T45" fmla="*/ 8 h 13"/>
                <a:gd name="T46" fmla="*/ 43 w 110"/>
                <a:gd name="T47" fmla="*/ 10 h 13"/>
                <a:gd name="T48" fmla="*/ 44 w 110"/>
                <a:gd name="T49" fmla="*/ 3 h 13"/>
                <a:gd name="T50" fmla="*/ 46 w 110"/>
                <a:gd name="T51" fmla="*/ 10 h 13"/>
                <a:gd name="T52" fmla="*/ 51 w 110"/>
                <a:gd name="T53" fmla="*/ 8 h 13"/>
                <a:gd name="T54" fmla="*/ 52 w 110"/>
                <a:gd name="T55" fmla="*/ 2 h 13"/>
                <a:gd name="T56" fmla="*/ 57 w 110"/>
                <a:gd name="T57" fmla="*/ 10 h 13"/>
                <a:gd name="T58" fmla="*/ 55 w 110"/>
                <a:gd name="T59" fmla="*/ 8 h 13"/>
                <a:gd name="T60" fmla="*/ 62 w 110"/>
                <a:gd name="T61" fmla="*/ 4 h 13"/>
                <a:gd name="T62" fmla="*/ 63 w 110"/>
                <a:gd name="T63" fmla="*/ 10 h 13"/>
                <a:gd name="T64" fmla="*/ 61 w 110"/>
                <a:gd name="T65" fmla="*/ 9 h 13"/>
                <a:gd name="T66" fmla="*/ 66 w 110"/>
                <a:gd name="T67" fmla="*/ 8 h 13"/>
                <a:gd name="T68" fmla="*/ 65 w 110"/>
                <a:gd name="T69" fmla="*/ 2 h 13"/>
                <a:gd name="T70" fmla="*/ 63 w 110"/>
                <a:gd name="T71" fmla="*/ 8 h 13"/>
                <a:gd name="T72" fmla="*/ 71 w 110"/>
                <a:gd name="T73" fmla="*/ 4 h 13"/>
                <a:gd name="T74" fmla="*/ 72 w 110"/>
                <a:gd name="T75" fmla="*/ 6 h 13"/>
                <a:gd name="T76" fmla="*/ 75 w 110"/>
                <a:gd name="T77" fmla="*/ 11 h 13"/>
                <a:gd name="T78" fmla="*/ 77 w 110"/>
                <a:gd name="T79" fmla="*/ 1 h 13"/>
                <a:gd name="T80" fmla="*/ 79 w 110"/>
                <a:gd name="T81" fmla="*/ 5 h 13"/>
                <a:gd name="T82" fmla="*/ 81 w 110"/>
                <a:gd name="T83" fmla="*/ 9 h 13"/>
                <a:gd name="T84" fmla="*/ 79 w 110"/>
                <a:gd name="T85" fmla="*/ 8 h 13"/>
                <a:gd name="T86" fmla="*/ 84 w 110"/>
                <a:gd name="T87" fmla="*/ 5 h 13"/>
                <a:gd name="T88" fmla="*/ 82 w 110"/>
                <a:gd name="T89" fmla="*/ 2 h 13"/>
                <a:gd name="T90" fmla="*/ 85 w 110"/>
                <a:gd name="T91" fmla="*/ 8 h 13"/>
                <a:gd name="T92" fmla="*/ 87 w 110"/>
                <a:gd name="T93" fmla="*/ 2 h 13"/>
                <a:gd name="T94" fmla="*/ 88 w 110"/>
                <a:gd name="T95" fmla="*/ 6 h 13"/>
                <a:gd name="T96" fmla="*/ 92 w 110"/>
                <a:gd name="T97" fmla="*/ 7 h 13"/>
                <a:gd name="T98" fmla="*/ 93 w 110"/>
                <a:gd name="T99" fmla="*/ 0 h 13"/>
                <a:gd name="T100" fmla="*/ 98 w 110"/>
                <a:gd name="T101" fmla="*/ 2 h 13"/>
                <a:gd name="T102" fmla="*/ 101 w 110"/>
                <a:gd name="T103" fmla="*/ 6 h 13"/>
                <a:gd name="T104" fmla="*/ 102 w 110"/>
                <a:gd name="T105" fmla="*/ 6 h 13"/>
                <a:gd name="T106" fmla="*/ 104 w 110"/>
                <a:gd name="T107" fmla="*/ 5 h 13"/>
                <a:gd name="T108" fmla="*/ 105 w 110"/>
                <a:gd name="T109" fmla="*/ 9 h 13"/>
                <a:gd name="T110" fmla="*/ 104 w 110"/>
                <a:gd name="T111" fmla="*/ 5 h 13"/>
                <a:gd name="T112" fmla="*/ 108 w 110"/>
                <a:gd name="T113" fmla="*/ 10 h 13"/>
                <a:gd name="T114" fmla="*/ 108 w 110"/>
                <a:gd name="T11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0" h="13">
                  <a:moveTo>
                    <a:pt x="0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3" y="5"/>
                    <a:pt x="3" y="3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lose/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1"/>
                    <a:pt x="1" y="1"/>
                    <a:pt x="1" y="1"/>
                  </a:cubicBezTo>
                  <a:close/>
                  <a:moveTo>
                    <a:pt x="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0"/>
                    <a:pt x="4" y="10"/>
                    <a:pt x="4" y="10"/>
                  </a:cubicBezTo>
                  <a:close/>
                  <a:moveTo>
                    <a:pt x="7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6" y="7"/>
                    <a:pt x="6" y="8"/>
                  </a:cubicBezTo>
                  <a:cubicBezTo>
                    <a:pt x="6" y="9"/>
                    <a:pt x="7" y="10"/>
                    <a:pt x="7" y="10"/>
                  </a:cubicBezTo>
                  <a:cubicBezTo>
                    <a:pt x="8" y="10"/>
                    <a:pt x="8" y="10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9"/>
                    <a:pt x="10" y="9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9" y="2"/>
                    <a:pt x="8" y="2"/>
                  </a:cubicBezTo>
                  <a:cubicBezTo>
                    <a:pt x="7" y="2"/>
                    <a:pt x="7" y="3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lose/>
                  <a:moveTo>
                    <a:pt x="8" y="8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7" y="8"/>
                    <a:pt x="7" y="8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8" y="7"/>
                    <a:pt x="8" y="6"/>
                    <a:pt x="8" y="6"/>
                  </a:cubicBezTo>
                  <a:cubicBezTo>
                    <a:pt x="8" y="8"/>
                    <a:pt x="8" y="8"/>
                    <a:pt x="8" y="8"/>
                  </a:cubicBezTo>
                  <a:close/>
                  <a:moveTo>
                    <a:pt x="11" y="6"/>
                  </a:moveTo>
                  <a:cubicBezTo>
                    <a:pt x="11" y="5"/>
                    <a:pt x="11" y="4"/>
                    <a:pt x="12" y="4"/>
                  </a:cubicBezTo>
                  <a:cubicBezTo>
                    <a:pt x="12" y="4"/>
                    <a:pt x="12" y="5"/>
                    <a:pt x="12" y="6"/>
                  </a:cubicBezTo>
                  <a:cubicBezTo>
                    <a:pt x="12" y="8"/>
                    <a:pt x="12" y="9"/>
                    <a:pt x="12" y="9"/>
                  </a:cubicBezTo>
                  <a:cubicBezTo>
                    <a:pt x="11" y="9"/>
                    <a:pt x="11" y="8"/>
                    <a:pt x="11" y="6"/>
                  </a:cubicBezTo>
                  <a:close/>
                  <a:moveTo>
                    <a:pt x="12" y="1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2"/>
                    <a:pt x="11" y="2"/>
                  </a:cubicBezTo>
                  <a:cubicBezTo>
                    <a:pt x="11" y="2"/>
                    <a:pt x="10" y="3"/>
                    <a:pt x="10" y="6"/>
                  </a:cubicBezTo>
                  <a:cubicBezTo>
                    <a:pt x="10" y="9"/>
                    <a:pt x="11" y="10"/>
                    <a:pt x="11" y="10"/>
                  </a:cubicBezTo>
                  <a:cubicBezTo>
                    <a:pt x="12" y="10"/>
                    <a:pt x="12" y="10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10"/>
                    <a:pt x="12" y="10"/>
                    <a:pt x="12" y="10"/>
                  </a:cubicBezTo>
                  <a:close/>
                  <a:moveTo>
                    <a:pt x="14" y="10"/>
                  </a:moveTo>
                  <a:cubicBezTo>
                    <a:pt x="15" y="10"/>
                    <a:pt x="15" y="10"/>
                    <a:pt x="15" y="10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4"/>
                    <a:pt x="15" y="4"/>
                    <a:pt x="16" y="4"/>
                  </a:cubicBezTo>
                  <a:cubicBezTo>
                    <a:pt x="16" y="4"/>
                    <a:pt x="16" y="4"/>
                    <a:pt x="16" y="5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2"/>
                    <a:pt x="16" y="2"/>
                  </a:cubicBezTo>
                  <a:cubicBezTo>
                    <a:pt x="16" y="2"/>
                    <a:pt x="15" y="2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0"/>
                    <a:pt x="14" y="10"/>
                    <a:pt x="14" y="10"/>
                  </a:cubicBezTo>
                  <a:close/>
                  <a:moveTo>
                    <a:pt x="19" y="5"/>
                  </a:moveTo>
                  <a:cubicBezTo>
                    <a:pt x="19" y="5"/>
                    <a:pt x="19" y="5"/>
                    <a:pt x="19" y="5"/>
                  </a:cubicBezTo>
                  <a:cubicBezTo>
                    <a:pt x="19" y="4"/>
                    <a:pt x="19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6"/>
                    <a:pt x="18" y="7"/>
                    <a:pt x="18" y="8"/>
                  </a:cubicBezTo>
                  <a:cubicBezTo>
                    <a:pt x="18" y="9"/>
                    <a:pt x="18" y="10"/>
                    <a:pt x="19" y="10"/>
                  </a:cubicBezTo>
                  <a:cubicBezTo>
                    <a:pt x="19" y="10"/>
                    <a:pt x="20" y="10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9"/>
                    <a:pt x="21" y="9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3"/>
                    <a:pt x="21" y="2"/>
                    <a:pt x="20" y="2"/>
                  </a:cubicBezTo>
                  <a:cubicBezTo>
                    <a:pt x="19" y="2"/>
                    <a:pt x="18" y="3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5"/>
                    <a:pt x="19" y="5"/>
                    <a:pt x="19" y="5"/>
                  </a:cubicBezTo>
                  <a:close/>
                  <a:moveTo>
                    <a:pt x="20" y="8"/>
                  </a:moveTo>
                  <a:cubicBezTo>
                    <a:pt x="20" y="9"/>
                    <a:pt x="20" y="9"/>
                    <a:pt x="19" y="9"/>
                  </a:cubicBezTo>
                  <a:cubicBezTo>
                    <a:pt x="19" y="9"/>
                    <a:pt x="19" y="8"/>
                    <a:pt x="19" y="8"/>
                  </a:cubicBezTo>
                  <a:cubicBezTo>
                    <a:pt x="19" y="7"/>
                    <a:pt x="19" y="7"/>
                    <a:pt x="20" y="7"/>
                  </a:cubicBezTo>
                  <a:cubicBezTo>
                    <a:pt x="20" y="7"/>
                    <a:pt x="20" y="6"/>
                    <a:pt x="20" y="6"/>
                  </a:cubicBezTo>
                  <a:cubicBezTo>
                    <a:pt x="20" y="8"/>
                    <a:pt x="20" y="8"/>
                    <a:pt x="20" y="8"/>
                  </a:cubicBezTo>
                  <a:close/>
                  <a:moveTo>
                    <a:pt x="22" y="10"/>
                  </a:moveTo>
                  <a:cubicBezTo>
                    <a:pt x="23" y="10"/>
                    <a:pt x="23" y="10"/>
                    <a:pt x="23" y="10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4"/>
                    <a:pt x="24" y="4"/>
                  </a:cubicBezTo>
                  <a:cubicBezTo>
                    <a:pt x="24" y="4"/>
                    <a:pt x="24" y="4"/>
                    <a:pt x="24" y="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3"/>
                    <a:pt x="25" y="2"/>
                    <a:pt x="24" y="2"/>
                  </a:cubicBezTo>
                  <a:cubicBezTo>
                    <a:pt x="24" y="2"/>
                    <a:pt x="23" y="2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0"/>
                    <a:pt x="22" y="10"/>
                    <a:pt x="22" y="10"/>
                  </a:cubicBezTo>
                  <a:close/>
                  <a:moveTo>
                    <a:pt x="28" y="10"/>
                  </a:moveTo>
                  <a:cubicBezTo>
                    <a:pt x="29" y="10"/>
                    <a:pt x="29" y="10"/>
                    <a:pt x="29" y="10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8" y="10"/>
                    <a:pt x="28" y="10"/>
                    <a:pt x="28" y="10"/>
                  </a:cubicBezTo>
                  <a:close/>
                  <a:moveTo>
                    <a:pt x="34" y="5"/>
                  </a:moveTo>
                  <a:cubicBezTo>
                    <a:pt x="34" y="5"/>
                    <a:pt x="34" y="5"/>
                    <a:pt x="34" y="5"/>
                  </a:cubicBezTo>
                  <a:cubicBezTo>
                    <a:pt x="34" y="4"/>
                    <a:pt x="35" y="4"/>
                    <a:pt x="35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3" y="7"/>
                    <a:pt x="33" y="8"/>
                  </a:cubicBezTo>
                  <a:cubicBezTo>
                    <a:pt x="33" y="9"/>
                    <a:pt x="34" y="10"/>
                    <a:pt x="34" y="10"/>
                  </a:cubicBezTo>
                  <a:cubicBezTo>
                    <a:pt x="35" y="10"/>
                    <a:pt x="35" y="10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10"/>
                    <a:pt x="35" y="10"/>
                    <a:pt x="36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10"/>
                    <a:pt x="36" y="9"/>
                    <a:pt x="36" y="9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3"/>
                    <a:pt x="36" y="2"/>
                    <a:pt x="35" y="2"/>
                  </a:cubicBezTo>
                  <a:cubicBezTo>
                    <a:pt x="34" y="2"/>
                    <a:pt x="33" y="3"/>
                    <a:pt x="33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4" y="5"/>
                    <a:pt x="34" y="5"/>
                    <a:pt x="34" y="5"/>
                  </a:cubicBezTo>
                  <a:close/>
                  <a:moveTo>
                    <a:pt x="35" y="8"/>
                  </a:moveTo>
                  <a:cubicBezTo>
                    <a:pt x="35" y="9"/>
                    <a:pt x="35" y="9"/>
                    <a:pt x="35" y="9"/>
                  </a:cubicBezTo>
                  <a:cubicBezTo>
                    <a:pt x="34" y="9"/>
                    <a:pt x="34" y="8"/>
                    <a:pt x="34" y="8"/>
                  </a:cubicBezTo>
                  <a:cubicBezTo>
                    <a:pt x="34" y="7"/>
                    <a:pt x="34" y="7"/>
                    <a:pt x="35" y="7"/>
                  </a:cubicBezTo>
                  <a:cubicBezTo>
                    <a:pt x="35" y="7"/>
                    <a:pt x="35" y="6"/>
                    <a:pt x="35" y="6"/>
                  </a:cubicBezTo>
                  <a:cubicBezTo>
                    <a:pt x="35" y="8"/>
                    <a:pt x="35" y="8"/>
                    <a:pt x="35" y="8"/>
                  </a:cubicBezTo>
                  <a:close/>
                  <a:moveTo>
                    <a:pt x="37" y="10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4"/>
                    <a:pt x="38" y="4"/>
                    <a:pt x="39" y="4"/>
                  </a:cubicBezTo>
                  <a:cubicBezTo>
                    <a:pt x="39" y="4"/>
                    <a:pt x="39" y="4"/>
                    <a:pt x="39" y="5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2"/>
                    <a:pt x="39" y="2"/>
                  </a:cubicBezTo>
                  <a:cubicBezTo>
                    <a:pt x="39" y="2"/>
                    <a:pt x="38" y="2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10"/>
                    <a:pt x="37" y="10"/>
                    <a:pt x="37" y="10"/>
                  </a:cubicBezTo>
                  <a:close/>
                  <a:moveTo>
                    <a:pt x="41" y="2"/>
                  </a:moveTo>
                  <a:cubicBezTo>
                    <a:pt x="41" y="2"/>
                    <a:pt x="41" y="2"/>
                    <a:pt x="41" y="2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1" y="10"/>
                    <a:pt x="42" y="10"/>
                    <a:pt x="42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2" y="9"/>
                    <a:pt x="42" y="9"/>
                    <a:pt x="42" y="8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2"/>
                    <a:pt x="41" y="2"/>
                    <a:pt x="41" y="2"/>
                  </a:cubicBezTo>
                  <a:close/>
                  <a:moveTo>
                    <a:pt x="43" y="10"/>
                  </a:moveTo>
                  <a:cubicBezTo>
                    <a:pt x="45" y="10"/>
                    <a:pt x="45" y="10"/>
                    <a:pt x="45" y="10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6" y="4"/>
                    <a:pt x="46" y="4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2"/>
                    <a:pt x="46" y="2"/>
                    <a:pt x="45" y="2"/>
                  </a:cubicBezTo>
                  <a:cubicBezTo>
                    <a:pt x="45" y="2"/>
                    <a:pt x="45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10"/>
                    <a:pt x="43" y="10"/>
                    <a:pt x="43" y="10"/>
                  </a:cubicBezTo>
                  <a:close/>
                  <a:moveTo>
                    <a:pt x="46" y="10"/>
                  </a:moveTo>
                  <a:cubicBezTo>
                    <a:pt x="47" y="10"/>
                    <a:pt x="47" y="10"/>
                    <a:pt x="47" y="10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10"/>
                    <a:pt x="46" y="10"/>
                    <a:pt x="46" y="10"/>
                  </a:cubicBezTo>
                  <a:close/>
                  <a:moveTo>
                    <a:pt x="46" y="1"/>
                  </a:moveTo>
                  <a:cubicBezTo>
                    <a:pt x="47" y="1"/>
                    <a:pt x="47" y="1"/>
                    <a:pt x="47" y="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9" y="10"/>
                  </a:moveTo>
                  <a:cubicBezTo>
                    <a:pt x="51" y="10"/>
                    <a:pt x="51" y="10"/>
                    <a:pt x="51" y="10"/>
                  </a:cubicBezTo>
                  <a:cubicBezTo>
                    <a:pt x="51" y="8"/>
                    <a:pt x="51" y="8"/>
                    <a:pt x="51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9" y="10"/>
                    <a:pt x="49" y="10"/>
                    <a:pt x="49" y="10"/>
                  </a:cubicBezTo>
                  <a:close/>
                  <a:moveTo>
                    <a:pt x="52" y="2"/>
                  </a:moveTo>
                  <a:cubicBezTo>
                    <a:pt x="52" y="2"/>
                    <a:pt x="52" y="2"/>
                    <a:pt x="52" y="2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2"/>
                    <a:pt x="52" y="2"/>
                    <a:pt x="52" y="2"/>
                  </a:cubicBezTo>
                  <a:close/>
                  <a:moveTo>
                    <a:pt x="55" y="10"/>
                  </a:moveTo>
                  <a:cubicBezTo>
                    <a:pt x="56" y="10"/>
                    <a:pt x="56" y="10"/>
                    <a:pt x="56" y="10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5" y="10"/>
                    <a:pt x="55" y="10"/>
                    <a:pt x="55" y="10"/>
                  </a:cubicBezTo>
                  <a:close/>
                  <a:moveTo>
                    <a:pt x="61" y="5"/>
                  </a:moveTo>
                  <a:cubicBezTo>
                    <a:pt x="61" y="5"/>
                    <a:pt x="61" y="5"/>
                    <a:pt x="61" y="5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2" y="5"/>
                    <a:pt x="62" y="5"/>
                    <a:pt x="61" y="5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0" y="6"/>
                    <a:pt x="60" y="7"/>
                    <a:pt x="60" y="8"/>
                  </a:cubicBezTo>
                  <a:cubicBezTo>
                    <a:pt x="60" y="9"/>
                    <a:pt x="60" y="10"/>
                    <a:pt x="61" y="10"/>
                  </a:cubicBezTo>
                  <a:cubicBezTo>
                    <a:pt x="61" y="10"/>
                    <a:pt x="61" y="10"/>
                    <a:pt x="62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3" y="10"/>
                    <a:pt x="63" y="9"/>
                    <a:pt x="63" y="9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0" y="2"/>
                    <a:pt x="60" y="3"/>
                    <a:pt x="60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1" y="5"/>
                    <a:pt x="61" y="5"/>
                    <a:pt x="61" y="5"/>
                  </a:cubicBezTo>
                  <a:close/>
                  <a:moveTo>
                    <a:pt x="62" y="8"/>
                  </a:moveTo>
                  <a:cubicBezTo>
                    <a:pt x="62" y="9"/>
                    <a:pt x="61" y="9"/>
                    <a:pt x="61" y="9"/>
                  </a:cubicBezTo>
                  <a:cubicBezTo>
                    <a:pt x="61" y="9"/>
                    <a:pt x="61" y="8"/>
                    <a:pt x="61" y="8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1" y="7"/>
                    <a:pt x="62" y="6"/>
                    <a:pt x="62" y="6"/>
                  </a:cubicBezTo>
                  <a:cubicBezTo>
                    <a:pt x="62" y="8"/>
                    <a:pt x="62" y="8"/>
                    <a:pt x="62" y="8"/>
                  </a:cubicBezTo>
                  <a:close/>
                  <a:moveTo>
                    <a:pt x="63" y="8"/>
                  </a:moveTo>
                  <a:cubicBezTo>
                    <a:pt x="63" y="8"/>
                    <a:pt x="63" y="8"/>
                    <a:pt x="63" y="8"/>
                  </a:cubicBezTo>
                  <a:cubicBezTo>
                    <a:pt x="63" y="9"/>
                    <a:pt x="64" y="10"/>
                    <a:pt x="65" y="10"/>
                  </a:cubicBezTo>
                  <a:cubicBezTo>
                    <a:pt x="66" y="10"/>
                    <a:pt x="66" y="10"/>
                    <a:pt x="66" y="8"/>
                  </a:cubicBezTo>
                  <a:cubicBezTo>
                    <a:pt x="66" y="7"/>
                    <a:pt x="66" y="6"/>
                    <a:pt x="65" y="6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5"/>
                    <a:pt x="64" y="5"/>
                    <a:pt x="64" y="4"/>
                  </a:cubicBezTo>
                  <a:cubicBezTo>
                    <a:pt x="64" y="4"/>
                    <a:pt x="65" y="4"/>
                    <a:pt x="65" y="4"/>
                  </a:cubicBezTo>
                  <a:cubicBezTo>
                    <a:pt x="65" y="4"/>
                    <a:pt x="65" y="4"/>
                    <a:pt x="65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3"/>
                    <a:pt x="66" y="2"/>
                    <a:pt x="65" y="2"/>
                  </a:cubicBezTo>
                  <a:cubicBezTo>
                    <a:pt x="64" y="2"/>
                    <a:pt x="63" y="3"/>
                    <a:pt x="63" y="4"/>
                  </a:cubicBezTo>
                  <a:cubicBezTo>
                    <a:pt x="63" y="6"/>
                    <a:pt x="64" y="6"/>
                    <a:pt x="64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8"/>
                    <a:pt x="65" y="8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4" y="9"/>
                    <a:pt x="64" y="9"/>
                    <a:pt x="64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3" y="8"/>
                    <a:pt x="63" y="8"/>
                    <a:pt x="63" y="8"/>
                  </a:cubicBezTo>
                  <a:close/>
                  <a:moveTo>
                    <a:pt x="69" y="0"/>
                  </a:moveTo>
                  <a:cubicBezTo>
                    <a:pt x="70" y="6"/>
                    <a:pt x="70" y="6"/>
                    <a:pt x="70" y="6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69" y="0"/>
                    <a:pt x="69" y="0"/>
                    <a:pt x="69" y="0"/>
                  </a:cubicBezTo>
                  <a:close/>
                  <a:moveTo>
                    <a:pt x="72" y="6"/>
                  </a:moveTo>
                  <a:cubicBezTo>
                    <a:pt x="72" y="9"/>
                    <a:pt x="72" y="10"/>
                    <a:pt x="74" y="10"/>
                  </a:cubicBezTo>
                  <a:cubicBezTo>
                    <a:pt x="75" y="10"/>
                    <a:pt x="75" y="9"/>
                    <a:pt x="75" y="6"/>
                  </a:cubicBezTo>
                  <a:cubicBezTo>
                    <a:pt x="75" y="4"/>
                    <a:pt x="75" y="2"/>
                    <a:pt x="74" y="2"/>
                  </a:cubicBezTo>
                  <a:cubicBezTo>
                    <a:pt x="73" y="2"/>
                    <a:pt x="72" y="4"/>
                    <a:pt x="72" y="6"/>
                  </a:cubicBezTo>
                  <a:close/>
                  <a:moveTo>
                    <a:pt x="73" y="6"/>
                  </a:moveTo>
                  <a:cubicBezTo>
                    <a:pt x="73" y="5"/>
                    <a:pt x="73" y="4"/>
                    <a:pt x="74" y="4"/>
                  </a:cubicBezTo>
                  <a:cubicBezTo>
                    <a:pt x="74" y="4"/>
                    <a:pt x="74" y="4"/>
                    <a:pt x="74" y="6"/>
                  </a:cubicBezTo>
                  <a:cubicBezTo>
                    <a:pt x="74" y="8"/>
                    <a:pt x="74" y="9"/>
                    <a:pt x="74" y="9"/>
                  </a:cubicBezTo>
                  <a:cubicBezTo>
                    <a:pt x="73" y="9"/>
                    <a:pt x="73" y="8"/>
                    <a:pt x="73" y="6"/>
                  </a:cubicBezTo>
                  <a:close/>
                  <a:moveTo>
                    <a:pt x="76" y="10"/>
                  </a:move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5" y="11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7" y="13"/>
                    <a:pt x="77" y="12"/>
                    <a:pt x="77" y="11"/>
                  </a:cubicBezTo>
                  <a:cubicBezTo>
                    <a:pt x="77" y="2"/>
                    <a:pt x="77" y="2"/>
                    <a:pt x="77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10"/>
                    <a:pt x="76" y="10"/>
                    <a:pt x="76" y="10"/>
                  </a:cubicBezTo>
                  <a:close/>
                  <a:moveTo>
                    <a:pt x="76" y="1"/>
                  </a:moveTo>
                  <a:cubicBezTo>
                    <a:pt x="77" y="1"/>
                    <a:pt x="77" y="1"/>
                    <a:pt x="77" y="1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1"/>
                    <a:pt x="76" y="1"/>
                    <a:pt x="76" y="1"/>
                  </a:cubicBezTo>
                  <a:close/>
                  <a:moveTo>
                    <a:pt x="79" y="5"/>
                  </a:moveTo>
                  <a:cubicBezTo>
                    <a:pt x="79" y="5"/>
                    <a:pt x="79" y="5"/>
                    <a:pt x="79" y="5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5"/>
                    <a:pt x="80" y="5"/>
                    <a:pt x="79" y="5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8" y="6"/>
                    <a:pt x="78" y="7"/>
                    <a:pt x="78" y="8"/>
                  </a:cubicBezTo>
                  <a:cubicBezTo>
                    <a:pt x="78" y="9"/>
                    <a:pt x="78" y="10"/>
                    <a:pt x="79" y="10"/>
                  </a:cubicBezTo>
                  <a:cubicBezTo>
                    <a:pt x="79" y="10"/>
                    <a:pt x="80" y="10"/>
                    <a:pt x="80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1" y="10"/>
                    <a:pt x="81" y="9"/>
                    <a:pt x="81" y="9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3"/>
                    <a:pt x="81" y="2"/>
                    <a:pt x="79" y="2"/>
                  </a:cubicBezTo>
                  <a:cubicBezTo>
                    <a:pt x="79" y="2"/>
                    <a:pt x="78" y="3"/>
                    <a:pt x="78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9" y="5"/>
                    <a:pt x="79" y="5"/>
                    <a:pt x="79" y="5"/>
                  </a:cubicBezTo>
                  <a:close/>
                  <a:moveTo>
                    <a:pt x="80" y="8"/>
                  </a:moveTo>
                  <a:cubicBezTo>
                    <a:pt x="80" y="9"/>
                    <a:pt x="79" y="9"/>
                    <a:pt x="79" y="9"/>
                  </a:cubicBezTo>
                  <a:cubicBezTo>
                    <a:pt x="79" y="9"/>
                    <a:pt x="79" y="8"/>
                    <a:pt x="79" y="8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0" y="7"/>
                    <a:pt x="80" y="6"/>
                    <a:pt x="80" y="6"/>
                  </a:cubicBezTo>
                  <a:cubicBezTo>
                    <a:pt x="80" y="8"/>
                    <a:pt x="80" y="8"/>
                    <a:pt x="80" y="8"/>
                  </a:cubicBezTo>
                  <a:close/>
                  <a:moveTo>
                    <a:pt x="82" y="10"/>
                  </a:moveTo>
                  <a:cubicBezTo>
                    <a:pt x="83" y="10"/>
                    <a:pt x="83" y="10"/>
                    <a:pt x="83" y="10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4" y="4"/>
                    <a:pt x="84" y="4"/>
                    <a:pt x="84" y="5"/>
                  </a:cubicBezTo>
                  <a:cubicBezTo>
                    <a:pt x="84" y="10"/>
                    <a:pt x="84" y="10"/>
                    <a:pt x="84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3"/>
                    <a:pt x="84" y="2"/>
                    <a:pt x="84" y="2"/>
                  </a:cubicBezTo>
                  <a:cubicBezTo>
                    <a:pt x="83" y="2"/>
                    <a:pt x="83" y="2"/>
                    <a:pt x="83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2" y="10"/>
                    <a:pt x="82" y="10"/>
                    <a:pt x="82" y="10"/>
                  </a:cubicBezTo>
                  <a:close/>
                  <a:moveTo>
                    <a:pt x="87" y="5"/>
                  </a:moveTo>
                  <a:cubicBezTo>
                    <a:pt x="87" y="5"/>
                    <a:pt x="87" y="5"/>
                    <a:pt x="87" y="5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7" y="4"/>
                    <a:pt x="88" y="4"/>
                    <a:pt x="88" y="4"/>
                  </a:cubicBezTo>
                  <a:cubicBezTo>
                    <a:pt x="88" y="5"/>
                    <a:pt x="87" y="5"/>
                    <a:pt x="87" y="5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6" y="6"/>
                    <a:pt x="85" y="7"/>
                    <a:pt x="85" y="8"/>
                  </a:cubicBezTo>
                  <a:cubicBezTo>
                    <a:pt x="85" y="9"/>
                    <a:pt x="86" y="10"/>
                    <a:pt x="86" y="10"/>
                  </a:cubicBezTo>
                  <a:cubicBezTo>
                    <a:pt x="87" y="10"/>
                    <a:pt x="87" y="10"/>
                    <a:pt x="88" y="9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89" y="10"/>
                    <a:pt x="89" y="10"/>
                    <a:pt x="89" y="10"/>
                  </a:cubicBezTo>
                  <a:cubicBezTo>
                    <a:pt x="89" y="10"/>
                    <a:pt x="89" y="9"/>
                    <a:pt x="89" y="9"/>
                  </a:cubicBezTo>
                  <a:cubicBezTo>
                    <a:pt x="89" y="5"/>
                    <a:pt x="89" y="5"/>
                    <a:pt x="89" y="5"/>
                  </a:cubicBezTo>
                  <a:cubicBezTo>
                    <a:pt x="89" y="3"/>
                    <a:pt x="88" y="2"/>
                    <a:pt x="87" y="2"/>
                  </a:cubicBezTo>
                  <a:cubicBezTo>
                    <a:pt x="86" y="2"/>
                    <a:pt x="86" y="3"/>
                    <a:pt x="86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7" y="5"/>
                    <a:pt x="87" y="5"/>
                    <a:pt x="87" y="5"/>
                  </a:cubicBezTo>
                  <a:close/>
                  <a:moveTo>
                    <a:pt x="88" y="8"/>
                  </a:moveTo>
                  <a:cubicBezTo>
                    <a:pt x="88" y="9"/>
                    <a:pt x="87" y="9"/>
                    <a:pt x="87" y="9"/>
                  </a:cubicBezTo>
                  <a:cubicBezTo>
                    <a:pt x="87" y="9"/>
                    <a:pt x="86" y="8"/>
                    <a:pt x="86" y="8"/>
                  </a:cubicBezTo>
                  <a:cubicBezTo>
                    <a:pt x="86" y="7"/>
                    <a:pt x="87" y="7"/>
                    <a:pt x="87" y="7"/>
                  </a:cubicBezTo>
                  <a:cubicBezTo>
                    <a:pt x="87" y="7"/>
                    <a:pt x="87" y="6"/>
                    <a:pt x="88" y="6"/>
                  </a:cubicBezTo>
                  <a:cubicBezTo>
                    <a:pt x="88" y="8"/>
                    <a:pt x="88" y="8"/>
                    <a:pt x="88" y="8"/>
                  </a:cubicBezTo>
                  <a:close/>
                  <a:moveTo>
                    <a:pt x="89" y="5"/>
                  </a:moveTo>
                  <a:cubicBezTo>
                    <a:pt x="89" y="7"/>
                    <a:pt x="89" y="7"/>
                    <a:pt x="89" y="7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89" y="5"/>
                    <a:pt x="89" y="5"/>
                    <a:pt x="89" y="5"/>
                  </a:cubicBezTo>
                  <a:close/>
                  <a:moveTo>
                    <a:pt x="92" y="0"/>
                  </a:moveTo>
                  <a:cubicBezTo>
                    <a:pt x="92" y="7"/>
                    <a:pt x="92" y="7"/>
                    <a:pt x="92" y="7"/>
                  </a:cubicBezTo>
                  <a:cubicBezTo>
                    <a:pt x="92" y="10"/>
                    <a:pt x="93" y="10"/>
                    <a:pt x="94" y="10"/>
                  </a:cubicBezTo>
                  <a:cubicBezTo>
                    <a:pt x="95" y="10"/>
                    <a:pt x="96" y="10"/>
                    <a:pt x="96" y="7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8"/>
                    <a:pt x="95" y="9"/>
                    <a:pt x="94" y="9"/>
                  </a:cubicBezTo>
                  <a:cubicBezTo>
                    <a:pt x="93" y="9"/>
                    <a:pt x="93" y="8"/>
                    <a:pt x="93" y="7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2" y="0"/>
                    <a:pt x="92" y="0"/>
                    <a:pt x="92" y="0"/>
                  </a:cubicBezTo>
                  <a:close/>
                  <a:moveTo>
                    <a:pt x="96" y="10"/>
                  </a:moveTo>
                  <a:cubicBezTo>
                    <a:pt x="98" y="10"/>
                    <a:pt x="98" y="10"/>
                    <a:pt x="98" y="10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4"/>
                    <a:pt x="99" y="4"/>
                    <a:pt x="99" y="4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8" y="2"/>
                  </a:cubicBezTo>
                  <a:cubicBezTo>
                    <a:pt x="98" y="2"/>
                    <a:pt x="98" y="3"/>
                    <a:pt x="97" y="3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96" y="10"/>
                    <a:pt x="96" y="10"/>
                    <a:pt x="96" y="10"/>
                  </a:cubicBezTo>
                  <a:close/>
                  <a:moveTo>
                    <a:pt x="100" y="6"/>
                  </a:moveTo>
                  <a:cubicBezTo>
                    <a:pt x="100" y="5"/>
                    <a:pt x="100" y="4"/>
                    <a:pt x="101" y="4"/>
                  </a:cubicBezTo>
                  <a:cubicBezTo>
                    <a:pt x="101" y="4"/>
                    <a:pt x="101" y="5"/>
                    <a:pt x="101" y="6"/>
                  </a:cubicBezTo>
                  <a:cubicBezTo>
                    <a:pt x="101" y="8"/>
                    <a:pt x="101" y="9"/>
                    <a:pt x="101" y="9"/>
                  </a:cubicBezTo>
                  <a:cubicBezTo>
                    <a:pt x="100" y="9"/>
                    <a:pt x="100" y="8"/>
                    <a:pt x="100" y="6"/>
                  </a:cubicBezTo>
                  <a:close/>
                  <a:moveTo>
                    <a:pt x="99" y="10"/>
                  </a:moveTo>
                  <a:cubicBezTo>
                    <a:pt x="100" y="10"/>
                    <a:pt x="100" y="10"/>
                    <a:pt x="100" y="10"/>
                  </a:cubicBezTo>
                  <a:cubicBezTo>
                    <a:pt x="100" y="9"/>
                    <a:pt x="100" y="9"/>
                    <a:pt x="100" y="9"/>
                  </a:cubicBezTo>
                  <a:cubicBezTo>
                    <a:pt x="100" y="9"/>
                    <a:pt x="100" y="9"/>
                    <a:pt x="100" y="9"/>
                  </a:cubicBezTo>
                  <a:cubicBezTo>
                    <a:pt x="100" y="10"/>
                    <a:pt x="101" y="10"/>
                    <a:pt x="101" y="10"/>
                  </a:cubicBezTo>
                  <a:cubicBezTo>
                    <a:pt x="102" y="10"/>
                    <a:pt x="102" y="9"/>
                    <a:pt x="102" y="6"/>
                  </a:cubicBezTo>
                  <a:cubicBezTo>
                    <a:pt x="102" y="3"/>
                    <a:pt x="102" y="2"/>
                    <a:pt x="101" y="2"/>
                  </a:cubicBezTo>
                  <a:cubicBezTo>
                    <a:pt x="101" y="2"/>
                    <a:pt x="100" y="2"/>
                    <a:pt x="100" y="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10"/>
                    <a:pt x="99" y="10"/>
                    <a:pt x="99" y="10"/>
                  </a:cubicBezTo>
                  <a:close/>
                  <a:moveTo>
                    <a:pt x="104" y="5"/>
                  </a:moveTo>
                  <a:cubicBezTo>
                    <a:pt x="104" y="5"/>
                    <a:pt x="104" y="5"/>
                    <a:pt x="104" y="5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5" y="4"/>
                    <a:pt x="105" y="4"/>
                    <a:pt x="105" y="4"/>
                  </a:cubicBezTo>
                  <a:cubicBezTo>
                    <a:pt x="105" y="5"/>
                    <a:pt x="105" y="5"/>
                    <a:pt x="104" y="5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103" y="6"/>
                    <a:pt x="103" y="7"/>
                    <a:pt x="103" y="8"/>
                  </a:cubicBezTo>
                  <a:cubicBezTo>
                    <a:pt x="103" y="9"/>
                    <a:pt x="103" y="10"/>
                    <a:pt x="104" y="10"/>
                  </a:cubicBezTo>
                  <a:cubicBezTo>
                    <a:pt x="104" y="10"/>
                    <a:pt x="105" y="10"/>
                    <a:pt x="105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10"/>
                    <a:pt x="106" y="9"/>
                    <a:pt x="106" y="9"/>
                  </a:cubicBezTo>
                  <a:cubicBezTo>
                    <a:pt x="106" y="5"/>
                    <a:pt x="106" y="5"/>
                    <a:pt x="106" y="5"/>
                  </a:cubicBezTo>
                  <a:cubicBezTo>
                    <a:pt x="106" y="3"/>
                    <a:pt x="106" y="2"/>
                    <a:pt x="104" y="2"/>
                  </a:cubicBezTo>
                  <a:cubicBezTo>
                    <a:pt x="104" y="2"/>
                    <a:pt x="103" y="3"/>
                    <a:pt x="103" y="5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4" y="5"/>
                    <a:pt x="104" y="5"/>
                    <a:pt x="104" y="5"/>
                  </a:cubicBezTo>
                  <a:close/>
                  <a:moveTo>
                    <a:pt x="105" y="8"/>
                  </a:moveTo>
                  <a:cubicBezTo>
                    <a:pt x="105" y="9"/>
                    <a:pt x="105" y="9"/>
                    <a:pt x="104" y="9"/>
                  </a:cubicBezTo>
                  <a:cubicBezTo>
                    <a:pt x="104" y="9"/>
                    <a:pt x="104" y="8"/>
                    <a:pt x="104" y="8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5" y="7"/>
                    <a:pt x="105" y="6"/>
                    <a:pt x="105" y="6"/>
                  </a:cubicBezTo>
                  <a:cubicBezTo>
                    <a:pt x="105" y="8"/>
                    <a:pt x="105" y="8"/>
                    <a:pt x="105" y="8"/>
                  </a:cubicBezTo>
                  <a:close/>
                  <a:moveTo>
                    <a:pt x="107" y="10"/>
                  </a:moveTo>
                  <a:cubicBezTo>
                    <a:pt x="108" y="10"/>
                    <a:pt x="108" y="10"/>
                    <a:pt x="108" y="10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09" y="4"/>
                    <a:pt x="109" y="4"/>
                    <a:pt x="109" y="5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0" y="10"/>
                    <a:pt x="110" y="10"/>
                    <a:pt x="110" y="10"/>
                  </a:cubicBezTo>
                  <a:cubicBezTo>
                    <a:pt x="110" y="4"/>
                    <a:pt x="110" y="4"/>
                    <a:pt x="110" y="4"/>
                  </a:cubicBezTo>
                  <a:cubicBezTo>
                    <a:pt x="110" y="3"/>
                    <a:pt x="110" y="2"/>
                    <a:pt x="109" y="2"/>
                  </a:cubicBezTo>
                  <a:cubicBezTo>
                    <a:pt x="108" y="2"/>
                    <a:pt x="108" y="2"/>
                    <a:pt x="108" y="3"/>
                  </a:cubicBezTo>
                  <a:cubicBezTo>
                    <a:pt x="108" y="3"/>
                    <a:pt x="108" y="3"/>
                    <a:pt x="108" y="3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7" y="10"/>
                    <a:pt x="107" y="10"/>
                    <a:pt x="107" y="10"/>
                  </a:cubicBezTo>
                  <a:close/>
                </a:path>
              </a:pathLst>
            </a:custGeom>
            <a:solidFill>
              <a:srgbClr val="EA85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4168" name="Group 34167"/>
          <p:cNvGrpSpPr/>
          <p:nvPr/>
        </p:nvGrpSpPr>
        <p:grpSpPr>
          <a:xfrm>
            <a:off x="10688950" y="5973797"/>
            <a:ext cx="1026372" cy="408432"/>
            <a:chOff x="10703592" y="6233571"/>
            <a:chExt cx="1026372" cy="408432"/>
          </a:xfrm>
        </p:grpSpPr>
        <p:sp>
          <p:nvSpPr>
            <p:cNvPr id="34160" name="Freeform 10640"/>
            <p:cNvSpPr>
              <a:spLocks noEditPoints="1"/>
            </p:cNvSpPr>
            <p:nvPr/>
          </p:nvSpPr>
          <p:spPr bwMode="auto">
            <a:xfrm>
              <a:off x="10809403" y="6394404"/>
              <a:ext cx="920561" cy="247599"/>
            </a:xfrm>
            <a:custGeom>
              <a:avLst/>
              <a:gdLst>
                <a:gd name="T0" fmla="*/ 180 w 184"/>
                <a:gd name="T1" fmla="*/ 30 h 48"/>
                <a:gd name="T2" fmla="*/ 183 w 184"/>
                <a:gd name="T3" fmla="*/ 13 h 48"/>
                <a:gd name="T4" fmla="*/ 180 w 184"/>
                <a:gd name="T5" fmla="*/ 9 h 48"/>
                <a:gd name="T6" fmla="*/ 176 w 184"/>
                <a:gd name="T7" fmla="*/ 0 h 48"/>
                <a:gd name="T8" fmla="*/ 176 w 184"/>
                <a:gd name="T9" fmla="*/ 38 h 48"/>
                <a:gd name="T10" fmla="*/ 161 w 184"/>
                <a:gd name="T11" fmla="*/ 38 h 48"/>
                <a:gd name="T12" fmla="*/ 167 w 184"/>
                <a:gd name="T13" fmla="*/ 16 h 48"/>
                <a:gd name="T14" fmla="*/ 169 w 184"/>
                <a:gd name="T15" fmla="*/ 9 h 48"/>
                <a:gd name="T16" fmla="*/ 158 w 184"/>
                <a:gd name="T17" fmla="*/ 12 h 48"/>
                <a:gd name="T18" fmla="*/ 154 w 184"/>
                <a:gd name="T19" fmla="*/ 38 h 48"/>
                <a:gd name="T20" fmla="*/ 140 w 184"/>
                <a:gd name="T21" fmla="*/ 15 h 48"/>
                <a:gd name="T22" fmla="*/ 143 w 184"/>
                <a:gd name="T23" fmla="*/ 29 h 48"/>
                <a:gd name="T24" fmla="*/ 134 w 184"/>
                <a:gd name="T25" fmla="*/ 30 h 48"/>
                <a:gd name="T26" fmla="*/ 137 w 184"/>
                <a:gd name="T27" fmla="*/ 15 h 48"/>
                <a:gd name="T28" fmla="*/ 149 w 184"/>
                <a:gd name="T29" fmla="*/ 33 h 48"/>
                <a:gd name="T30" fmla="*/ 150 w 184"/>
                <a:gd name="T31" fmla="*/ 15 h 48"/>
                <a:gd name="T32" fmla="*/ 129 w 184"/>
                <a:gd name="T33" fmla="*/ 12 h 48"/>
                <a:gd name="T34" fmla="*/ 126 w 184"/>
                <a:gd name="T35" fmla="*/ 30 h 48"/>
                <a:gd name="T36" fmla="*/ 115 w 184"/>
                <a:gd name="T37" fmla="*/ 29 h 48"/>
                <a:gd name="T38" fmla="*/ 104 w 184"/>
                <a:gd name="T39" fmla="*/ 23 h 48"/>
                <a:gd name="T40" fmla="*/ 115 w 184"/>
                <a:gd name="T41" fmla="*/ 17 h 48"/>
                <a:gd name="T42" fmla="*/ 104 w 184"/>
                <a:gd name="T43" fmla="*/ 34 h 48"/>
                <a:gd name="T44" fmla="*/ 121 w 184"/>
                <a:gd name="T45" fmla="*/ 34 h 48"/>
                <a:gd name="T46" fmla="*/ 116 w 184"/>
                <a:gd name="T47" fmla="*/ 9 h 48"/>
                <a:gd name="T48" fmla="*/ 97 w 184"/>
                <a:gd name="T49" fmla="*/ 21 h 48"/>
                <a:gd name="T50" fmla="*/ 103 w 184"/>
                <a:gd name="T51" fmla="*/ 47 h 48"/>
                <a:gd name="T52" fmla="*/ 69 w 184"/>
                <a:gd name="T53" fmla="*/ 28 h 48"/>
                <a:gd name="T54" fmla="*/ 91 w 184"/>
                <a:gd name="T55" fmla="*/ 36 h 48"/>
                <a:gd name="T56" fmla="*/ 85 w 184"/>
                <a:gd name="T57" fmla="*/ 20 h 48"/>
                <a:gd name="T58" fmla="*/ 77 w 184"/>
                <a:gd name="T59" fmla="*/ 17 h 48"/>
                <a:gd name="T60" fmla="*/ 85 w 184"/>
                <a:gd name="T61" fmla="*/ 15 h 48"/>
                <a:gd name="T62" fmla="*/ 94 w 184"/>
                <a:gd name="T63" fmla="*/ 18 h 48"/>
                <a:gd name="T64" fmla="*/ 73 w 184"/>
                <a:gd name="T65" fmla="*/ 11 h 48"/>
                <a:gd name="T66" fmla="*/ 80 w 184"/>
                <a:gd name="T67" fmla="*/ 26 h 48"/>
                <a:gd name="T68" fmla="*/ 86 w 184"/>
                <a:gd name="T69" fmla="*/ 32 h 48"/>
                <a:gd name="T70" fmla="*/ 77 w 184"/>
                <a:gd name="T71" fmla="*/ 28 h 48"/>
                <a:gd name="T72" fmla="*/ 64 w 184"/>
                <a:gd name="T73" fmla="*/ 11 h 48"/>
                <a:gd name="T74" fmla="*/ 43 w 184"/>
                <a:gd name="T75" fmla="*/ 21 h 48"/>
                <a:gd name="T76" fmla="*/ 51 w 184"/>
                <a:gd name="T77" fmla="*/ 19 h 48"/>
                <a:gd name="T78" fmla="*/ 59 w 184"/>
                <a:gd name="T79" fmla="*/ 15 h 48"/>
                <a:gd name="T80" fmla="*/ 62 w 184"/>
                <a:gd name="T81" fmla="*/ 37 h 48"/>
                <a:gd name="T82" fmla="*/ 68 w 184"/>
                <a:gd name="T83" fmla="*/ 21 h 48"/>
                <a:gd name="T84" fmla="*/ 41 w 184"/>
                <a:gd name="T85" fmla="*/ 16 h 48"/>
                <a:gd name="T86" fmla="*/ 21 w 184"/>
                <a:gd name="T87" fmla="*/ 11 h 48"/>
                <a:gd name="T88" fmla="*/ 27 w 184"/>
                <a:gd name="T89" fmla="*/ 14 h 48"/>
                <a:gd name="T90" fmla="*/ 34 w 184"/>
                <a:gd name="T91" fmla="*/ 17 h 48"/>
                <a:gd name="T92" fmla="*/ 26 w 184"/>
                <a:gd name="T93" fmla="*/ 20 h 48"/>
                <a:gd name="T94" fmla="*/ 20 w 184"/>
                <a:gd name="T95" fmla="*/ 36 h 48"/>
                <a:gd name="T96" fmla="*/ 36 w 184"/>
                <a:gd name="T97" fmla="*/ 36 h 48"/>
                <a:gd name="T98" fmla="*/ 32 w 184"/>
                <a:gd name="T99" fmla="*/ 31 h 48"/>
                <a:gd name="T100" fmla="*/ 24 w 184"/>
                <a:gd name="T101" fmla="*/ 29 h 48"/>
                <a:gd name="T102" fmla="*/ 30 w 184"/>
                <a:gd name="T103" fmla="*/ 24 h 48"/>
                <a:gd name="T104" fmla="*/ 7 w 184"/>
                <a:gd name="T105" fmla="*/ 38 h 48"/>
                <a:gd name="T106" fmla="*/ 14 w 184"/>
                <a:gd name="T107" fmla="*/ 16 h 48"/>
                <a:gd name="T108" fmla="*/ 16 w 184"/>
                <a:gd name="T109" fmla="*/ 9 h 48"/>
                <a:gd name="T110" fmla="*/ 5 w 184"/>
                <a:gd name="T111" fmla="*/ 12 h 48"/>
                <a:gd name="T112" fmla="*/ 0 w 184"/>
                <a:gd name="T113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4" h="48">
                  <a:moveTo>
                    <a:pt x="184" y="32"/>
                  </a:moveTo>
                  <a:cubicBezTo>
                    <a:pt x="182" y="32"/>
                    <a:pt x="182" y="32"/>
                    <a:pt x="182" y="32"/>
                  </a:cubicBezTo>
                  <a:cubicBezTo>
                    <a:pt x="180" y="32"/>
                    <a:pt x="180" y="31"/>
                    <a:pt x="180" y="30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0" y="14"/>
                    <a:pt x="180" y="14"/>
                    <a:pt x="180" y="14"/>
                  </a:cubicBezTo>
                  <a:cubicBezTo>
                    <a:pt x="181" y="14"/>
                    <a:pt x="182" y="14"/>
                    <a:pt x="183" y="13"/>
                  </a:cubicBezTo>
                  <a:cubicBezTo>
                    <a:pt x="184" y="12"/>
                    <a:pt x="184" y="11"/>
                    <a:pt x="184" y="10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80" y="9"/>
                    <a:pt x="180" y="9"/>
                    <a:pt x="180" y="9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3"/>
                    <a:pt x="179" y="2"/>
                    <a:pt x="178" y="1"/>
                  </a:cubicBezTo>
                  <a:cubicBezTo>
                    <a:pt x="178" y="1"/>
                    <a:pt x="177" y="0"/>
                    <a:pt x="176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72" y="32"/>
                    <a:pt x="172" y="32"/>
                    <a:pt x="172" y="32"/>
                  </a:cubicBezTo>
                  <a:cubicBezTo>
                    <a:pt x="172" y="36"/>
                    <a:pt x="173" y="37"/>
                    <a:pt x="176" y="38"/>
                  </a:cubicBezTo>
                  <a:cubicBezTo>
                    <a:pt x="179" y="38"/>
                    <a:pt x="182" y="38"/>
                    <a:pt x="184" y="38"/>
                  </a:cubicBezTo>
                  <a:lnTo>
                    <a:pt x="184" y="32"/>
                  </a:lnTo>
                  <a:close/>
                  <a:moveTo>
                    <a:pt x="161" y="38"/>
                  </a:moveTo>
                  <a:cubicBezTo>
                    <a:pt x="161" y="23"/>
                    <a:pt x="161" y="23"/>
                    <a:pt x="161" y="23"/>
                  </a:cubicBezTo>
                  <a:cubicBezTo>
                    <a:pt x="161" y="21"/>
                    <a:pt x="162" y="19"/>
                    <a:pt x="163" y="18"/>
                  </a:cubicBezTo>
                  <a:cubicBezTo>
                    <a:pt x="164" y="17"/>
                    <a:pt x="165" y="16"/>
                    <a:pt x="167" y="16"/>
                  </a:cubicBezTo>
                  <a:cubicBezTo>
                    <a:pt x="170" y="16"/>
                    <a:pt x="170" y="16"/>
                    <a:pt x="170" y="16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69" y="9"/>
                    <a:pt x="169" y="9"/>
                    <a:pt x="169" y="9"/>
                  </a:cubicBezTo>
                  <a:cubicBezTo>
                    <a:pt x="169" y="9"/>
                    <a:pt x="169" y="9"/>
                    <a:pt x="169" y="9"/>
                  </a:cubicBezTo>
                  <a:cubicBezTo>
                    <a:pt x="167" y="9"/>
                    <a:pt x="165" y="9"/>
                    <a:pt x="163" y="9"/>
                  </a:cubicBezTo>
                  <a:cubicBezTo>
                    <a:pt x="161" y="10"/>
                    <a:pt x="160" y="11"/>
                    <a:pt x="158" y="12"/>
                  </a:cubicBezTo>
                  <a:cubicBezTo>
                    <a:pt x="157" y="13"/>
                    <a:pt x="156" y="15"/>
                    <a:pt x="155" y="16"/>
                  </a:cubicBezTo>
                  <a:cubicBezTo>
                    <a:pt x="154" y="18"/>
                    <a:pt x="154" y="21"/>
                    <a:pt x="154" y="24"/>
                  </a:cubicBezTo>
                  <a:cubicBezTo>
                    <a:pt x="154" y="38"/>
                    <a:pt x="154" y="38"/>
                    <a:pt x="154" y="38"/>
                  </a:cubicBezTo>
                  <a:lnTo>
                    <a:pt x="161" y="38"/>
                  </a:lnTo>
                  <a:close/>
                  <a:moveTo>
                    <a:pt x="137" y="15"/>
                  </a:moveTo>
                  <a:cubicBezTo>
                    <a:pt x="138" y="14"/>
                    <a:pt x="139" y="14"/>
                    <a:pt x="140" y="15"/>
                  </a:cubicBezTo>
                  <a:cubicBezTo>
                    <a:pt x="141" y="15"/>
                    <a:pt x="142" y="16"/>
                    <a:pt x="143" y="17"/>
                  </a:cubicBezTo>
                  <a:cubicBezTo>
                    <a:pt x="144" y="18"/>
                    <a:pt x="144" y="20"/>
                    <a:pt x="144" y="23"/>
                  </a:cubicBezTo>
                  <a:cubicBezTo>
                    <a:pt x="144" y="26"/>
                    <a:pt x="144" y="28"/>
                    <a:pt x="143" y="29"/>
                  </a:cubicBezTo>
                  <a:cubicBezTo>
                    <a:pt x="142" y="31"/>
                    <a:pt x="141" y="31"/>
                    <a:pt x="140" y="32"/>
                  </a:cubicBezTo>
                  <a:cubicBezTo>
                    <a:pt x="139" y="32"/>
                    <a:pt x="138" y="32"/>
                    <a:pt x="137" y="32"/>
                  </a:cubicBezTo>
                  <a:cubicBezTo>
                    <a:pt x="136" y="31"/>
                    <a:pt x="135" y="31"/>
                    <a:pt x="134" y="30"/>
                  </a:cubicBezTo>
                  <a:cubicBezTo>
                    <a:pt x="133" y="29"/>
                    <a:pt x="133" y="27"/>
                    <a:pt x="133" y="23"/>
                  </a:cubicBezTo>
                  <a:cubicBezTo>
                    <a:pt x="132" y="20"/>
                    <a:pt x="133" y="18"/>
                    <a:pt x="135" y="16"/>
                  </a:cubicBezTo>
                  <a:cubicBezTo>
                    <a:pt x="135" y="15"/>
                    <a:pt x="136" y="15"/>
                    <a:pt x="137" y="15"/>
                  </a:cubicBezTo>
                  <a:moveTo>
                    <a:pt x="135" y="38"/>
                  </a:moveTo>
                  <a:cubicBezTo>
                    <a:pt x="138" y="38"/>
                    <a:pt x="140" y="38"/>
                    <a:pt x="142" y="38"/>
                  </a:cubicBezTo>
                  <a:cubicBezTo>
                    <a:pt x="145" y="37"/>
                    <a:pt x="147" y="36"/>
                    <a:pt x="149" y="33"/>
                  </a:cubicBezTo>
                  <a:cubicBezTo>
                    <a:pt x="150" y="32"/>
                    <a:pt x="151" y="31"/>
                    <a:pt x="151" y="29"/>
                  </a:cubicBezTo>
                  <a:cubicBezTo>
                    <a:pt x="152" y="27"/>
                    <a:pt x="152" y="25"/>
                    <a:pt x="152" y="23"/>
                  </a:cubicBezTo>
                  <a:cubicBezTo>
                    <a:pt x="152" y="20"/>
                    <a:pt x="151" y="17"/>
                    <a:pt x="150" y="15"/>
                  </a:cubicBezTo>
                  <a:cubicBezTo>
                    <a:pt x="149" y="12"/>
                    <a:pt x="147" y="10"/>
                    <a:pt x="144" y="9"/>
                  </a:cubicBezTo>
                  <a:cubicBezTo>
                    <a:pt x="141" y="8"/>
                    <a:pt x="139" y="8"/>
                    <a:pt x="136" y="8"/>
                  </a:cubicBezTo>
                  <a:cubicBezTo>
                    <a:pt x="133" y="9"/>
                    <a:pt x="130" y="10"/>
                    <a:pt x="129" y="12"/>
                  </a:cubicBezTo>
                  <a:cubicBezTo>
                    <a:pt x="127" y="13"/>
                    <a:pt x="127" y="15"/>
                    <a:pt x="126" y="17"/>
                  </a:cubicBezTo>
                  <a:cubicBezTo>
                    <a:pt x="125" y="19"/>
                    <a:pt x="125" y="21"/>
                    <a:pt x="125" y="23"/>
                  </a:cubicBezTo>
                  <a:cubicBezTo>
                    <a:pt x="125" y="25"/>
                    <a:pt x="125" y="28"/>
                    <a:pt x="126" y="30"/>
                  </a:cubicBezTo>
                  <a:cubicBezTo>
                    <a:pt x="127" y="32"/>
                    <a:pt x="128" y="34"/>
                    <a:pt x="129" y="35"/>
                  </a:cubicBezTo>
                  <a:cubicBezTo>
                    <a:pt x="131" y="36"/>
                    <a:pt x="133" y="37"/>
                    <a:pt x="135" y="38"/>
                  </a:cubicBezTo>
                  <a:moveTo>
                    <a:pt x="115" y="29"/>
                  </a:moveTo>
                  <a:cubicBezTo>
                    <a:pt x="114" y="31"/>
                    <a:pt x="112" y="32"/>
                    <a:pt x="110" y="32"/>
                  </a:cubicBezTo>
                  <a:cubicBezTo>
                    <a:pt x="108" y="32"/>
                    <a:pt x="107" y="31"/>
                    <a:pt x="106" y="29"/>
                  </a:cubicBezTo>
                  <a:cubicBezTo>
                    <a:pt x="105" y="28"/>
                    <a:pt x="104" y="26"/>
                    <a:pt x="104" y="23"/>
                  </a:cubicBezTo>
                  <a:cubicBezTo>
                    <a:pt x="104" y="20"/>
                    <a:pt x="105" y="18"/>
                    <a:pt x="106" y="17"/>
                  </a:cubicBezTo>
                  <a:cubicBezTo>
                    <a:pt x="107" y="15"/>
                    <a:pt x="108" y="14"/>
                    <a:pt x="110" y="14"/>
                  </a:cubicBezTo>
                  <a:cubicBezTo>
                    <a:pt x="112" y="14"/>
                    <a:pt x="114" y="15"/>
                    <a:pt x="115" y="17"/>
                  </a:cubicBezTo>
                  <a:cubicBezTo>
                    <a:pt x="116" y="18"/>
                    <a:pt x="116" y="20"/>
                    <a:pt x="116" y="23"/>
                  </a:cubicBezTo>
                  <a:cubicBezTo>
                    <a:pt x="116" y="26"/>
                    <a:pt x="116" y="28"/>
                    <a:pt x="115" y="29"/>
                  </a:cubicBezTo>
                  <a:moveTo>
                    <a:pt x="104" y="34"/>
                  </a:moveTo>
                  <a:cubicBezTo>
                    <a:pt x="105" y="35"/>
                    <a:pt x="106" y="36"/>
                    <a:pt x="108" y="37"/>
                  </a:cubicBezTo>
                  <a:cubicBezTo>
                    <a:pt x="109" y="38"/>
                    <a:pt x="111" y="38"/>
                    <a:pt x="112" y="38"/>
                  </a:cubicBezTo>
                  <a:cubicBezTo>
                    <a:pt x="116" y="38"/>
                    <a:pt x="119" y="37"/>
                    <a:pt x="121" y="34"/>
                  </a:cubicBezTo>
                  <a:cubicBezTo>
                    <a:pt x="123" y="31"/>
                    <a:pt x="124" y="28"/>
                    <a:pt x="124" y="23"/>
                  </a:cubicBezTo>
                  <a:cubicBezTo>
                    <a:pt x="124" y="19"/>
                    <a:pt x="123" y="15"/>
                    <a:pt x="121" y="12"/>
                  </a:cubicBezTo>
                  <a:cubicBezTo>
                    <a:pt x="120" y="11"/>
                    <a:pt x="118" y="10"/>
                    <a:pt x="116" y="9"/>
                  </a:cubicBezTo>
                  <a:cubicBezTo>
                    <a:pt x="114" y="8"/>
                    <a:pt x="113" y="8"/>
                    <a:pt x="111" y="8"/>
                  </a:cubicBezTo>
                  <a:cubicBezTo>
                    <a:pt x="107" y="8"/>
                    <a:pt x="104" y="9"/>
                    <a:pt x="101" y="11"/>
                  </a:cubicBezTo>
                  <a:cubicBezTo>
                    <a:pt x="98" y="13"/>
                    <a:pt x="97" y="16"/>
                    <a:pt x="97" y="21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101" y="48"/>
                    <a:pt x="102" y="48"/>
                    <a:pt x="103" y="47"/>
                  </a:cubicBezTo>
                  <a:cubicBezTo>
                    <a:pt x="104" y="46"/>
                    <a:pt x="104" y="46"/>
                    <a:pt x="104" y="45"/>
                  </a:cubicBezTo>
                  <a:lnTo>
                    <a:pt x="104" y="34"/>
                  </a:lnTo>
                  <a:close/>
                  <a:moveTo>
                    <a:pt x="69" y="28"/>
                  </a:moveTo>
                  <a:cubicBezTo>
                    <a:pt x="69" y="32"/>
                    <a:pt x="70" y="34"/>
                    <a:pt x="72" y="36"/>
                  </a:cubicBezTo>
                  <a:cubicBezTo>
                    <a:pt x="74" y="37"/>
                    <a:pt x="78" y="38"/>
                    <a:pt x="82" y="38"/>
                  </a:cubicBezTo>
                  <a:cubicBezTo>
                    <a:pt x="86" y="38"/>
                    <a:pt x="89" y="37"/>
                    <a:pt x="91" y="36"/>
                  </a:cubicBezTo>
                  <a:cubicBezTo>
                    <a:pt x="94" y="34"/>
                    <a:pt x="95" y="32"/>
                    <a:pt x="95" y="28"/>
                  </a:cubicBezTo>
                  <a:cubicBezTo>
                    <a:pt x="95" y="26"/>
                    <a:pt x="94" y="24"/>
                    <a:pt x="93" y="23"/>
                  </a:cubicBezTo>
                  <a:cubicBezTo>
                    <a:pt x="91" y="22"/>
                    <a:pt x="89" y="21"/>
                    <a:pt x="85" y="20"/>
                  </a:cubicBezTo>
                  <a:cubicBezTo>
                    <a:pt x="85" y="20"/>
                    <a:pt x="85" y="20"/>
                    <a:pt x="84" y="20"/>
                  </a:cubicBezTo>
                  <a:cubicBezTo>
                    <a:pt x="84" y="20"/>
                    <a:pt x="83" y="20"/>
                    <a:pt x="83" y="19"/>
                  </a:cubicBezTo>
                  <a:cubicBezTo>
                    <a:pt x="79" y="19"/>
                    <a:pt x="77" y="18"/>
                    <a:pt x="77" y="17"/>
                  </a:cubicBezTo>
                  <a:cubicBezTo>
                    <a:pt x="77" y="16"/>
                    <a:pt x="78" y="15"/>
                    <a:pt x="78" y="15"/>
                  </a:cubicBezTo>
                  <a:cubicBezTo>
                    <a:pt x="79" y="14"/>
                    <a:pt x="80" y="14"/>
                    <a:pt x="82" y="14"/>
                  </a:cubicBezTo>
                  <a:cubicBezTo>
                    <a:pt x="83" y="14"/>
                    <a:pt x="84" y="14"/>
                    <a:pt x="85" y="15"/>
                  </a:cubicBezTo>
                  <a:cubicBezTo>
                    <a:pt x="86" y="15"/>
                    <a:pt x="86" y="15"/>
                    <a:pt x="86" y="16"/>
                  </a:cubicBezTo>
                  <a:cubicBezTo>
                    <a:pt x="87" y="17"/>
                    <a:pt x="88" y="18"/>
                    <a:pt x="89" y="18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94" y="15"/>
                    <a:pt x="93" y="12"/>
                    <a:pt x="91" y="11"/>
                  </a:cubicBezTo>
                  <a:cubicBezTo>
                    <a:pt x="88" y="9"/>
                    <a:pt x="85" y="8"/>
                    <a:pt x="82" y="8"/>
                  </a:cubicBezTo>
                  <a:cubicBezTo>
                    <a:pt x="78" y="8"/>
                    <a:pt x="75" y="9"/>
                    <a:pt x="73" y="11"/>
                  </a:cubicBezTo>
                  <a:cubicBezTo>
                    <a:pt x="71" y="12"/>
                    <a:pt x="70" y="15"/>
                    <a:pt x="70" y="17"/>
                  </a:cubicBezTo>
                  <a:cubicBezTo>
                    <a:pt x="70" y="20"/>
                    <a:pt x="71" y="21"/>
                    <a:pt x="72" y="23"/>
                  </a:cubicBezTo>
                  <a:cubicBezTo>
                    <a:pt x="73" y="24"/>
                    <a:pt x="76" y="25"/>
                    <a:pt x="80" y="26"/>
                  </a:cubicBezTo>
                  <a:cubicBezTo>
                    <a:pt x="80" y="26"/>
                    <a:pt x="81" y="26"/>
                    <a:pt x="83" y="27"/>
                  </a:cubicBezTo>
                  <a:cubicBezTo>
                    <a:pt x="86" y="27"/>
                    <a:pt x="87" y="28"/>
                    <a:pt x="87" y="30"/>
                  </a:cubicBezTo>
                  <a:cubicBezTo>
                    <a:pt x="87" y="30"/>
                    <a:pt x="87" y="31"/>
                    <a:pt x="86" y="32"/>
                  </a:cubicBezTo>
                  <a:cubicBezTo>
                    <a:pt x="85" y="32"/>
                    <a:pt x="84" y="32"/>
                    <a:pt x="83" y="32"/>
                  </a:cubicBezTo>
                  <a:cubicBezTo>
                    <a:pt x="81" y="32"/>
                    <a:pt x="79" y="32"/>
                    <a:pt x="78" y="31"/>
                  </a:cubicBezTo>
                  <a:cubicBezTo>
                    <a:pt x="77" y="31"/>
                    <a:pt x="77" y="30"/>
                    <a:pt x="77" y="28"/>
                  </a:cubicBezTo>
                  <a:cubicBezTo>
                    <a:pt x="69" y="28"/>
                    <a:pt x="69" y="28"/>
                    <a:pt x="69" y="28"/>
                  </a:cubicBezTo>
                  <a:close/>
                  <a:moveTo>
                    <a:pt x="68" y="21"/>
                  </a:moveTo>
                  <a:cubicBezTo>
                    <a:pt x="68" y="16"/>
                    <a:pt x="67" y="12"/>
                    <a:pt x="64" y="11"/>
                  </a:cubicBezTo>
                  <a:cubicBezTo>
                    <a:pt x="61" y="9"/>
                    <a:pt x="59" y="8"/>
                    <a:pt x="55" y="8"/>
                  </a:cubicBezTo>
                  <a:cubicBezTo>
                    <a:pt x="52" y="8"/>
                    <a:pt x="49" y="9"/>
                    <a:pt x="47" y="11"/>
                  </a:cubicBezTo>
                  <a:cubicBezTo>
                    <a:pt x="44" y="12"/>
                    <a:pt x="43" y="16"/>
                    <a:pt x="43" y="21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7"/>
                    <a:pt x="51" y="16"/>
                    <a:pt x="52" y="15"/>
                  </a:cubicBezTo>
                  <a:cubicBezTo>
                    <a:pt x="53" y="15"/>
                    <a:pt x="54" y="14"/>
                    <a:pt x="56" y="14"/>
                  </a:cubicBezTo>
                  <a:cubicBezTo>
                    <a:pt x="57" y="14"/>
                    <a:pt x="58" y="15"/>
                    <a:pt x="59" y="15"/>
                  </a:cubicBezTo>
                  <a:cubicBezTo>
                    <a:pt x="60" y="16"/>
                    <a:pt x="61" y="17"/>
                    <a:pt x="61" y="19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6"/>
                    <a:pt x="62" y="37"/>
                  </a:cubicBezTo>
                  <a:cubicBezTo>
                    <a:pt x="62" y="37"/>
                    <a:pt x="63" y="38"/>
                    <a:pt x="64" y="38"/>
                  </a:cubicBezTo>
                  <a:cubicBezTo>
                    <a:pt x="68" y="38"/>
                    <a:pt x="68" y="38"/>
                    <a:pt x="68" y="38"/>
                  </a:cubicBezTo>
                  <a:lnTo>
                    <a:pt x="68" y="21"/>
                  </a:lnTo>
                  <a:close/>
                  <a:moveTo>
                    <a:pt x="40" y="33"/>
                  </a:moveTo>
                  <a:cubicBezTo>
                    <a:pt x="41" y="31"/>
                    <a:pt x="41" y="29"/>
                    <a:pt x="41" y="2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4"/>
                    <a:pt x="40" y="12"/>
                    <a:pt x="38" y="10"/>
                  </a:cubicBezTo>
                  <a:cubicBezTo>
                    <a:pt x="36" y="9"/>
                    <a:pt x="33" y="8"/>
                    <a:pt x="29" y="8"/>
                  </a:cubicBezTo>
                  <a:cubicBezTo>
                    <a:pt x="25" y="8"/>
                    <a:pt x="23" y="9"/>
                    <a:pt x="21" y="11"/>
                  </a:cubicBezTo>
                  <a:cubicBezTo>
                    <a:pt x="19" y="12"/>
                    <a:pt x="18" y="14"/>
                    <a:pt x="18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5" y="15"/>
                    <a:pt x="26" y="15"/>
                    <a:pt x="27" y="14"/>
                  </a:cubicBezTo>
                  <a:cubicBezTo>
                    <a:pt x="27" y="14"/>
                    <a:pt x="28" y="14"/>
                    <a:pt x="29" y="14"/>
                  </a:cubicBezTo>
                  <a:cubicBezTo>
                    <a:pt x="30" y="14"/>
                    <a:pt x="31" y="14"/>
                    <a:pt x="32" y="15"/>
                  </a:cubicBezTo>
                  <a:cubicBezTo>
                    <a:pt x="34" y="15"/>
                    <a:pt x="34" y="16"/>
                    <a:pt x="34" y="17"/>
                  </a:cubicBezTo>
                  <a:cubicBezTo>
                    <a:pt x="34" y="18"/>
                    <a:pt x="32" y="19"/>
                    <a:pt x="29" y="19"/>
                  </a:cubicBezTo>
                  <a:cubicBezTo>
                    <a:pt x="29" y="20"/>
                    <a:pt x="28" y="20"/>
                    <a:pt x="28" y="20"/>
                  </a:cubicBezTo>
                  <a:cubicBezTo>
                    <a:pt x="27" y="20"/>
                    <a:pt x="27" y="20"/>
                    <a:pt x="26" y="20"/>
                  </a:cubicBezTo>
                  <a:cubicBezTo>
                    <a:pt x="24" y="20"/>
                    <a:pt x="21" y="21"/>
                    <a:pt x="19" y="23"/>
                  </a:cubicBezTo>
                  <a:cubicBezTo>
                    <a:pt x="18" y="24"/>
                    <a:pt x="17" y="26"/>
                    <a:pt x="17" y="29"/>
                  </a:cubicBezTo>
                  <a:cubicBezTo>
                    <a:pt x="17" y="32"/>
                    <a:pt x="18" y="35"/>
                    <a:pt x="20" y="36"/>
                  </a:cubicBezTo>
                  <a:cubicBezTo>
                    <a:pt x="22" y="37"/>
                    <a:pt x="24" y="38"/>
                    <a:pt x="27" y="38"/>
                  </a:cubicBezTo>
                  <a:cubicBezTo>
                    <a:pt x="28" y="38"/>
                    <a:pt x="29" y="38"/>
                    <a:pt x="31" y="38"/>
                  </a:cubicBezTo>
                  <a:cubicBezTo>
                    <a:pt x="33" y="38"/>
                    <a:pt x="34" y="37"/>
                    <a:pt x="36" y="36"/>
                  </a:cubicBezTo>
                  <a:cubicBezTo>
                    <a:pt x="37" y="36"/>
                    <a:pt x="39" y="35"/>
                    <a:pt x="40" y="33"/>
                  </a:cubicBezTo>
                  <a:moveTo>
                    <a:pt x="34" y="26"/>
                  </a:moveTo>
                  <a:cubicBezTo>
                    <a:pt x="34" y="28"/>
                    <a:pt x="34" y="29"/>
                    <a:pt x="32" y="31"/>
                  </a:cubicBezTo>
                  <a:cubicBezTo>
                    <a:pt x="31" y="32"/>
                    <a:pt x="30" y="32"/>
                    <a:pt x="28" y="32"/>
                  </a:cubicBezTo>
                  <a:cubicBezTo>
                    <a:pt x="26" y="32"/>
                    <a:pt x="26" y="32"/>
                    <a:pt x="25" y="31"/>
                  </a:cubicBezTo>
                  <a:cubicBezTo>
                    <a:pt x="24" y="31"/>
                    <a:pt x="24" y="30"/>
                    <a:pt x="24" y="29"/>
                  </a:cubicBezTo>
                  <a:cubicBezTo>
                    <a:pt x="24" y="28"/>
                    <a:pt x="24" y="27"/>
                    <a:pt x="25" y="26"/>
                  </a:cubicBezTo>
                  <a:cubicBezTo>
                    <a:pt x="25" y="26"/>
                    <a:pt x="26" y="25"/>
                    <a:pt x="27" y="25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2" y="24"/>
                    <a:pt x="33" y="24"/>
                    <a:pt x="34" y="23"/>
                  </a:cubicBezTo>
                  <a:lnTo>
                    <a:pt x="34" y="26"/>
                  </a:lnTo>
                  <a:close/>
                  <a:moveTo>
                    <a:pt x="7" y="38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10" y="17"/>
                    <a:pt x="12" y="16"/>
                    <a:pt x="14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3" y="9"/>
                    <a:pt x="11" y="9"/>
                    <a:pt x="9" y="9"/>
                  </a:cubicBezTo>
                  <a:cubicBezTo>
                    <a:pt x="7" y="10"/>
                    <a:pt x="6" y="11"/>
                    <a:pt x="5" y="12"/>
                  </a:cubicBezTo>
                  <a:cubicBezTo>
                    <a:pt x="3" y="13"/>
                    <a:pt x="2" y="15"/>
                    <a:pt x="1" y="16"/>
                  </a:cubicBezTo>
                  <a:cubicBezTo>
                    <a:pt x="0" y="18"/>
                    <a:pt x="0" y="21"/>
                    <a:pt x="0" y="24"/>
                  </a:cubicBezTo>
                  <a:cubicBezTo>
                    <a:pt x="0" y="38"/>
                    <a:pt x="0" y="38"/>
                    <a:pt x="0" y="38"/>
                  </a:cubicBezTo>
                  <a:lnTo>
                    <a:pt x="7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61" name="Freeform 10641"/>
            <p:cNvSpPr>
              <a:spLocks/>
            </p:cNvSpPr>
            <p:nvPr/>
          </p:nvSpPr>
          <p:spPr bwMode="auto">
            <a:xfrm>
              <a:off x="10703592" y="6394404"/>
              <a:ext cx="146020" cy="196810"/>
            </a:xfrm>
            <a:custGeom>
              <a:avLst/>
              <a:gdLst>
                <a:gd name="T0" fmla="*/ 18 w 29"/>
                <a:gd name="T1" fmla="*/ 38 h 38"/>
                <a:gd name="T2" fmla="*/ 18 w 29"/>
                <a:gd name="T3" fmla="*/ 7 h 38"/>
                <a:gd name="T4" fmla="*/ 29 w 29"/>
                <a:gd name="T5" fmla="*/ 7 h 38"/>
                <a:gd name="T6" fmla="*/ 29 w 29"/>
                <a:gd name="T7" fmla="*/ 0 h 38"/>
                <a:gd name="T8" fmla="*/ 4 w 29"/>
                <a:gd name="T9" fmla="*/ 0 h 38"/>
                <a:gd name="T10" fmla="*/ 1 w 29"/>
                <a:gd name="T11" fmla="*/ 1 h 38"/>
                <a:gd name="T12" fmla="*/ 0 w 29"/>
                <a:gd name="T13" fmla="*/ 4 h 38"/>
                <a:gd name="T14" fmla="*/ 0 w 29"/>
                <a:gd name="T15" fmla="*/ 7 h 38"/>
                <a:gd name="T16" fmla="*/ 11 w 29"/>
                <a:gd name="T17" fmla="*/ 7 h 38"/>
                <a:gd name="T18" fmla="*/ 11 w 29"/>
                <a:gd name="T19" fmla="*/ 38 h 38"/>
                <a:gd name="T20" fmla="*/ 18 w 29"/>
                <a:gd name="T21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38">
                  <a:moveTo>
                    <a:pt x="18" y="38"/>
                  </a:moveTo>
                  <a:cubicBezTo>
                    <a:pt x="18" y="7"/>
                    <a:pt x="18" y="7"/>
                    <a:pt x="18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38"/>
                    <a:pt x="11" y="38"/>
                    <a:pt x="11" y="38"/>
                  </a:cubicBezTo>
                  <a:lnTo>
                    <a:pt x="18" y="38"/>
                  </a:lnTo>
                  <a:close/>
                </a:path>
              </a:pathLst>
            </a:custGeom>
            <a:solidFill>
              <a:srgbClr val="EAC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62" name="Freeform 10642"/>
            <p:cNvSpPr>
              <a:spLocks noEditPoints="1"/>
            </p:cNvSpPr>
            <p:nvPr/>
          </p:nvSpPr>
          <p:spPr bwMode="auto">
            <a:xfrm>
              <a:off x="11054886" y="6233571"/>
              <a:ext cx="484617" cy="196810"/>
            </a:xfrm>
            <a:custGeom>
              <a:avLst/>
              <a:gdLst>
                <a:gd name="T0" fmla="*/ 93 w 97"/>
                <a:gd name="T1" fmla="*/ 11 h 38"/>
                <a:gd name="T2" fmla="*/ 76 w 97"/>
                <a:gd name="T3" fmla="*/ 11 h 38"/>
                <a:gd name="T4" fmla="*/ 72 w 97"/>
                <a:gd name="T5" fmla="*/ 38 h 38"/>
                <a:gd name="T6" fmla="*/ 79 w 97"/>
                <a:gd name="T7" fmla="*/ 19 h 38"/>
                <a:gd name="T8" fmla="*/ 84 w 97"/>
                <a:gd name="T9" fmla="*/ 14 h 38"/>
                <a:gd name="T10" fmla="*/ 90 w 97"/>
                <a:gd name="T11" fmla="*/ 19 h 38"/>
                <a:gd name="T12" fmla="*/ 91 w 97"/>
                <a:gd name="T13" fmla="*/ 37 h 38"/>
                <a:gd name="T14" fmla="*/ 97 w 97"/>
                <a:gd name="T15" fmla="*/ 38 h 38"/>
                <a:gd name="T16" fmla="*/ 69 w 97"/>
                <a:gd name="T17" fmla="*/ 33 h 38"/>
                <a:gd name="T18" fmla="*/ 70 w 97"/>
                <a:gd name="T19" fmla="*/ 16 h 38"/>
                <a:gd name="T20" fmla="*/ 58 w 97"/>
                <a:gd name="T21" fmla="*/ 8 h 38"/>
                <a:gd name="T22" fmla="*/ 46 w 97"/>
                <a:gd name="T23" fmla="*/ 16 h 38"/>
                <a:gd name="T24" fmla="*/ 56 w 97"/>
                <a:gd name="T25" fmla="*/ 14 h 38"/>
                <a:gd name="T26" fmla="*/ 61 w 97"/>
                <a:gd name="T27" fmla="*/ 14 h 38"/>
                <a:gd name="T28" fmla="*/ 58 w 97"/>
                <a:gd name="T29" fmla="*/ 19 h 38"/>
                <a:gd name="T30" fmla="*/ 55 w 97"/>
                <a:gd name="T31" fmla="*/ 20 h 38"/>
                <a:gd name="T32" fmla="*/ 46 w 97"/>
                <a:gd name="T33" fmla="*/ 29 h 38"/>
                <a:gd name="T34" fmla="*/ 56 w 97"/>
                <a:gd name="T35" fmla="*/ 38 h 38"/>
                <a:gd name="T36" fmla="*/ 65 w 97"/>
                <a:gd name="T37" fmla="*/ 36 h 38"/>
                <a:gd name="T38" fmla="*/ 63 w 97"/>
                <a:gd name="T39" fmla="*/ 26 h 38"/>
                <a:gd name="T40" fmla="*/ 57 w 97"/>
                <a:gd name="T41" fmla="*/ 32 h 38"/>
                <a:gd name="T42" fmla="*/ 53 w 97"/>
                <a:gd name="T43" fmla="*/ 29 h 38"/>
                <a:gd name="T44" fmla="*/ 56 w 97"/>
                <a:gd name="T45" fmla="*/ 25 h 38"/>
                <a:gd name="T46" fmla="*/ 63 w 97"/>
                <a:gd name="T47" fmla="*/ 23 h 38"/>
                <a:gd name="T48" fmla="*/ 35 w 97"/>
                <a:gd name="T49" fmla="*/ 30 h 38"/>
                <a:gd name="T50" fmla="*/ 26 w 97"/>
                <a:gd name="T51" fmla="*/ 30 h 38"/>
                <a:gd name="T52" fmla="*/ 26 w 97"/>
                <a:gd name="T53" fmla="*/ 17 h 38"/>
                <a:gd name="T54" fmla="*/ 35 w 97"/>
                <a:gd name="T55" fmla="*/ 17 h 38"/>
                <a:gd name="T56" fmla="*/ 35 w 97"/>
                <a:gd name="T57" fmla="*/ 30 h 38"/>
                <a:gd name="T58" fmla="*/ 21 w 97"/>
                <a:gd name="T59" fmla="*/ 0 h 38"/>
                <a:gd name="T60" fmla="*/ 17 w 97"/>
                <a:gd name="T61" fmla="*/ 25 h 38"/>
                <a:gd name="T62" fmla="*/ 31 w 97"/>
                <a:gd name="T63" fmla="*/ 38 h 38"/>
                <a:gd name="T64" fmla="*/ 41 w 97"/>
                <a:gd name="T65" fmla="*/ 34 h 38"/>
                <a:gd name="T66" fmla="*/ 41 w 97"/>
                <a:gd name="T67" fmla="*/ 12 h 38"/>
                <a:gd name="T68" fmla="*/ 28 w 97"/>
                <a:gd name="T69" fmla="*/ 9 h 38"/>
                <a:gd name="T70" fmla="*/ 25 w 97"/>
                <a:gd name="T71" fmla="*/ 4 h 38"/>
                <a:gd name="T72" fmla="*/ 7 w 97"/>
                <a:gd name="T73" fmla="*/ 38 h 38"/>
                <a:gd name="T74" fmla="*/ 9 w 97"/>
                <a:gd name="T75" fmla="*/ 18 h 38"/>
                <a:gd name="T76" fmla="*/ 16 w 97"/>
                <a:gd name="T77" fmla="*/ 16 h 38"/>
                <a:gd name="T78" fmla="*/ 15 w 97"/>
                <a:gd name="T79" fmla="*/ 9 h 38"/>
                <a:gd name="T80" fmla="*/ 9 w 97"/>
                <a:gd name="T81" fmla="*/ 9 h 38"/>
                <a:gd name="T82" fmla="*/ 1 w 97"/>
                <a:gd name="T83" fmla="*/ 16 h 38"/>
                <a:gd name="T84" fmla="*/ 0 w 97"/>
                <a:gd name="T8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7" h="38">
                  <a:moveTo>
                    <a:pt x="97" y="21"/>
                  </a:moveTo>
                  <a:cubicBezTo>
                    <a:pt x="97" y="16"/>
                    <a:pt x="96" y="12"/>
                    <a:pt x="93" y="11"/>
                  </a:cubicBezTo>
                  <a:cubicBezTo>
                    <a:pt x="90" y="9"/>
                    <a:pt x="87" y="8"/>
                    <a:pt x="84" y="8"/>
                  </a:cubicBezTo>
                  <a:cubicBezTo>
                    <a:pt x="81" y="8"/>
                    <a:pt x="78" y="9"/>
                    <a:pt x="76" y="11"/>
                  </a:cubicBezTo>
                  <a:cubicBezTo>
                    <a:pt x="73" y="12"/>
                    <a:pt x="72" y="16"/>
                    <a:pt x="72" y="21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9" y="38"/>
                    <a:pt x="79" y="38"/>
                    <a:pt x="79" y="38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7"/>
                    <a:pt x="80" y="16"/>
                    <a:pt x="81" y="15"/>
                  </a:cubicBezTo>
                  <a:cubicBezTo>
                    <a:pt x="82" y="14"/>
                    <a:pt x="83" y="14"/>
                    <a:pt x="84" y="14"/>
                  </a:cubicBezTo>
                  <a:cubicBezTo>
                    <a:pt x="86" y="14"/>
                    <a:pt x="87" y="14"/>
                    <a:pt x="88" y="15"/>
                  </a:cubicBezTo>
                  <a:cubicBezTo>
                    <a:pt x="89" y="16"/>
                    <a:pt x="90" y="17"/>
                    <a:pt x="90" y="19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5"/>
                    <a:pt x="90" y="36"/>
                    <a:pt x="91" y="37"/>
                  </a:cubicBezTo>
                  <a:cubicBezTo>
                    <a:pt x="91" y="37"/>
                    <a:pt x="92" y="38"/>
                    <a:pt x="93" y="38"/>
                  </a:cubicBezTo>
                  <a:cubicBezTo>
                    <a:pt x="97" y="38"/>
                    <a:pt x="97" y="38"/>
                    <a:pt x="97" y="38"/>
                  </a:cubicBezTo>
                  <a:lnTo>
                    <a:pt x="97" y="21"/>
                  </a:lnTo>
                  <a:close/>
                  <a:moveTo>
                    <a:pt x="69" y="33"/>
                  </a:moveTo>
                  <a:cubicBezTo>
                    <a:pt x="70" y="31"/>
                    <a:pt x="70" y="29"/>
                    <a:pt x="70" y="26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0" y="14"/>
                    <a:pt x="69" y="12"/>
                    <a:pt x="67" y="10"/>
                  </a:cubicBezTo>
                  <a:cubicBezTo>
                    <a:pt x="65" y="9"/>
                    <a:pt x="62" y="8"/>
                    <a:pt x="58" y="8"/>
                  </a:cubicBezTo>
                  <a:cubicBezTo>
                    <a:pt x="54" y="8"/>
                    <a:pt x="51" y="9"/>
                    <a:pt x="50" y="11"/>
                  </a:cubicBezTo>
                  <a:cubicBezTo>
                    <a:pt x="48" y="12"/>
                    <a:pt x="47" y="14"/>
                    <a:pt x="4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5"/>
                    <a:pt x="55" y="15"/>
                    <a:pt x="56" y="14"/>
                  </a:cubicBezTo>
                  <a:cubicBezTo>
                    <a:pt x="56" y="14"/>
                    <a:pt x="57" y="14"/>
                    <a:pt x="58" y="14"/>
                  </a:cubicBezTo>
                  <a:cubicBezTo>
                    <a:pt x="59" y="14"/>
                    <a:pt x="60" y="14"/>
                    <a:pt x="61" y="14"/>
                  </a:cubicBezTo>
                  <a:cubicBezTo>
                    <a:pt x="62" y="15"/>
                    <a:pt x="63" y="16"/>
                    <a:pt x="63" y="17"/>
                  </a:cubicBezTo>
                  <a:cubicBezTo>
                    <a:pt x="63" y="18"/>
                    <a:pt x="61" y="19"/>
                    <a:pt x="58" y="19"/>
                  </a:cubicBezTo>
                  <a:cubicBezTo>
                    <a:pt x="58" y="19"/>
                    <a:pt x="57" y="20"/>
                    <a:pt x="56" y="20"/>
                  </a:cubicBezTo>
                  <a:cubicBezTo>
                    <a:pt x="56" y="20"/>
                    <a:pt x="56" y="20"/>
                    <a:pt x="55" y="20"/>
                  </a:cubicBezTo>
                  <a:cubicBezTo>
                    <a:pt x="52" y="20"/>
                    <a:pt x="50" y="21"/>
                    <a:pt x="48" y="22"/>
                  </a:cubicBezTo>
                  <a:cubicBezTo>
                    <a:pt x="47" y="24"/>
                    <a:pt x="46" y="26"/>
                    <a:pt x="46" y="29"/>
                  </a:cubicBezTo>
                  <a:cubicBezTo>
                    <a:pt x="46" y="32"/>
                    <a:pt x="47" y="35"/>
                    <a:pt x="49" y="36"/>
                  </a:cubicBezTo>
                  <a:cubicBezTo>
                    <a:pt x="51" y="37"/>
                    <a:pt x="53" y="38"/>
                    <a:pt x="56" y="38"/>
                  </a:cubicBezTo>
                  <a:cubicBezTo>
                    <a:pt x="57" y="38"/>
                    <a:pt x="58" y="38"/>
                    <a:pt x="60" y="38"/>
                  </a:cubicBezTo>
                  <a:cubicBezTo>
                    <a:pt x="62" y="38"/>
                    <a:pt x="63" y="37"/>
                    <a:pt x="65" y="36"/>
                  </a:cubicBezTo>
                  <a:cubicBezTo>
                    <a:pt x="66" y="36"/>
                    <a:pt x="68" y="34"/>
                    <a:pt x="69" y="33"/>
                  </a:cubicBezTo>
                  <a:moveTo>
                    <a:pt x="63" y="26"/>
                  </a:moveTo>
                  <a:cubicBezTo>
                    <a:pt x="63" y="28"/>
                    <a:pt x="63" y="29"/>
                    <a:pt x="61" y="31"/>
                  </a:cubicBezTo>
                  <a:cubicBezTo>
                    <a:pt x="60" y="32"/>
                    <a:pt x="59" y="32"/>
                    <a:pt x="57" y="32"/>
                  </a:cubicBezTo>
                  <a:cubicBezTo>
                    <a:pt x="55" y="32"/>
                    <a:pt x="54" y="32"/>
                    <a:pt x="54" y="31"/>
                  </a:cubicBezTo>
                  <a:cubicBezTo>
                    <a:pt x="53" y="31"/>
                    <a:pt x="53" y="30"/>
                    <a:pt x="53" y="29"/>
                  </a:cubicBezTo>
                  <a:cubicBezTo>
                    <a:pt x="53" y="28"/>
                    <a:pt x="53" y="27"/>
                    <a:pt x="54" y="26"/>
                  </a:cubicBezTo>
                  <a:cubicBezTo>
                    <a:pt x="54" y="26"/>
                    <a:pt x="55" y="25"/>
                    <a:pt x="56" y="25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61" y="24"/>
                    <a:pt x="62" y="24"/>
                    <a:pt x="63" y="23"/>
                  </a:cubicBezTo>
                  <a:lnTo>
                    <a:pt x="63" y="26"/>
                  </a:lnTo>
                  <a:close/>
                  <a:moveTo>
                    <a:pt x="35" y="30"/>
                  </a:moveTo>
                  <a:cubicBezTo>
                    <a:pt x="34" y="31"/>
                    <a:pt x="33" y="32"/>
                    <a:pt x="31" y="32"/>
                  </a:cubicBezTo>
                  <a:cubicBezTo>
                    <a:pt x="29" y="32"/>
                    <a:pt x="27" y="31"/>
                    <a:pt x="26" y="30"/>
                  </a:cubicBezTo>
                  <a:cubicBezTo>
                    <a:pt x="25" y="28"/>
                    <a:pt x="25" y="26"/>
                    <a:pt x="25" y="23"/>
                  </a:cubicBezTo>
                  <a:cubicBezTo>
                    <a:pt x="25" y="20"/>
                    <a:pt x="25" y="18"/>
                    <a:pt x="26" y="17"/>
                  </a:cubicBezTo>
                  <a:cubicBezTo>
                    <a:pt x="27" y="15"/>
                    <a:pt x="29" y="15"/>
                    <a:pt x="31" y="15"/>
                  </a:cubicBezTo>
                  <a:cubicBezTo>
                    <a:pt x="33" y="15"/>
                    <a:pt x="34" y="15"/>
                    <a:pt x="35" y="17"/>
                  </a:cubicBezTo>
                  <a:cubicBezTo>
                    <a:pt x="36" y="18"/>
                    <a:pt x="37" y="20"/>
                    <a:pt x="37" y="23"/>
                  </a:cubicBezTo>
                  <a:cubicBezTo>
                    <a:pt x="37" y="26"/>
                    <a:pt x="36" y="28"/>
                    <a:pt x="35" y="30"/>
                  </a:cubicBezTo>
                  <a:moveTo>
                    <a:pt x="24" y="1"/>
                  </a:moveTo>
                  <a:cubicBezTo>
                    <a:pt x="23" y="0"/>
                    <a:pt x="22" y="0"/>
                    <a:pt x="21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30"/>
                    <a:pt x="19" y="34"/>
                    <a:pt x="22" y="35"/>
                  </a:cubicBezTo>
                  <a:cubicBezTo>
                    <a:pt x="25" y="37"/>
                    <a:pt x="28" y="38"/>
                    <a:pt x="31" y="38"/>
                  </a:cubicBezTo>
                  <a:cubicBezTo>
                    <a:pt x="33" y="38"/>
                    <a:pt x="35" y="38"/>
                    <a:pt x="37" y="37"/>
                  </a:cubicBezTo>
                  <a:cubicBezTo>
                    <a:pt x="39" y="37"/>
                    <a:pt x="40" y="36"/>
                    <a:pt x="41" y="34"/>
                  </a:cubicBezTo>
                  <a:cubicBezTo>
                    <a:pt x="43" y="31"/>
                    <a:pt x="45" y="28"/>
                    <a:pt x="45" y="23"/>
                  </a:cubicBezTo>
                  <a:cubicBezTo>
                    <a:pt x="45" y="19"/>
                    <a:pt x="43" y="15"/>
                    <a:pt x="41" y="12"/>
                  </a:cubicBezTo>
                  <a:cubicBezTo>
                    <a:pt x="39" y="9"/>
                    <a:pt x="36" y="8"/>
                    <a:pt x="33" y="8"/>
                  </a:cubicBezTo>
                  <a:cubicBezTo>
                    <a:pt x="31" y="8"/>
                    <a:pt x="29" y="8"/>
                    <a:pt x="28" y="9"/>
                  </a:cubicBezTo>
                  <a:cubicBezTo>
                    <a:pt x="27" y="10"/>
                    <a:pt x="25" y="11"/>
                    <a:pt x="25" y="12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3"/>
                    <a:pt x="24" y="2"/>
                    <a:pt x="24" y="1"/>
                  </a:cubicBezTo>
                  <a:moveTo>
                    <a:pt x="7" y="38"/>
                  </a:moveTo>
                  <a:cubicBezTo>
                    <a:pt x="7" y="23"/>
                    <a:pt x="7" y="23"/>
                    <a:pt x="7" y="23"/>
                  </a:cubicBezTo>
                  <a:cubicBezTo>
                    <a:pt x="7" y="21"/>
                    <a:pt x="8" y="19"/>
                    <a:pt x="9" y="18"/>
                  </a:cubicBezTo>
                  <a:cubicBezTo>
                    <a:pt x="10" y="17"/>
                    <a:pt x="11" y="16"/>
                    <a:pt x="13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3" y="9"/>
                    <a:pt x="11" y="9"/>
                    <a:pt x="9" y="9"/>
                  </a:cubicBezTo>
                  <a:cubicBezTo>
                    <a:pt x="7" y="10"/>
                    <a:pt x="6" y="11"/>
                    <a:pt x="4" y="12"/>
                  </a:cubicBezTo>
                  <a:cubicBezTo>
                    <a:pt x="3" y="13"/>
                    <a:pt x="2" y="15"/>
                    <a:pt x="1" y="16"/>
                  </a:cubicBezTo>
                  <a:cubicBezTo>
                    <a:pt x="0" y="18"/>
                    <a:pt x="0" y="21"/>
                    <a:pt x="0" y="24"/>
                  </a:cubicBezTo>
                  <a:cubicBezTo>
                    <a:pt x="0" y="38"/>
                    <a:pt x="0" y="38"/>
                    <a:pt x="0" y="38"/>
                  </a:cubicBezTo>
                  <a:lnTo>
                    <a:pt x="7" y="3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63" name="Freeform 10643"/>
            <p:cNvSpPr>
              <a:spLocks/>
            </p:cNvSpPr>
            <p:nvPr/>
          </p:nvSpPr>
          <p:spPr bwMode="auto">
            <a:xfrm>
              <a:off x="10894052" y="6233571"/>
              <a:ext cx="150252" cy="196810"/>
            </a:xfrm>
            <a:custGeom>
              <a:avLst/>
              <a:gdLst>
                <a:gd name="T0" fmla="*/ 4 w 30"/>
                <a:gd name="T1" fmla="*/ 0 h 38"/>
                <a:gd name="T2" fmla="*/ 1 w 30"/>
                <a:gd name="T3" fmla="*/ 1 h 38"/>
                <a:gd name="T4" fmla="*/ 0 w 30"/>
                <a:gd name="T5" fmla="*/ 4 h 38"/>
                <a:gd name="T6" fmla="*/ 0 w 30"/>
                <a:gd name="T7" fmla="*/ 24 h 38"/>
                <a:gd name="T8" fmla="*/ 4 w 30"/>
                <a:gd name="T9" fmla="*/ 35 h 38"/>
                <a:gd name="T10" fmla="*/ 15 w 30"/>
                <a:gd name="T11" fmla="*/ 38 h 38"/>
                <a:gd name="T12" fmla="*/ 26 w 30"/>
                <a:gd name="T13" fmla="*/ 35 h 38"/>
                <a:gd name="T14" fmla="*/ 30 w 30"/>
                <a:gd name="T15" fmla="*/ 24 h 38"/>
                <a:gd name="T16" fmla="*/ 30 w 30"/>
                <a:gd name="T17" fmla="*/ 0 h 38"/>
                <a:gd name="T18" fmla="*/ 22 w 30"/>
                <a:gd name="T19" fmla="*/ 0 h 38"/>
                <a:gd name="T20" fmla="*/ 22 w 30"/>
                <a:gd name="T21" fmla="*/ 23 h 38"/>
                <a:gd name="T22" fmla="*/ 20 w 30"/>
                <a:gd name="T23" fmla="*/ 30 h 38"/>
                <a:gd name="T24" fmla="*/ 15 w 30"/>
                <a:gd name="T25" fmla="*/ 32 h 38"/>
                <a:gd name="T26" fmla="*/ 9 w 30"/>
                <a:gd name="T27" fmla="*/ 30 h 38"/>
                <a:gd name="T28" fmla="*/ 7 w 30"/>
                <a:gd name="T29" fmla="*/ 23 h 38"/>
                <a:gd name="T30" fmla="*/ 7 w 30"/>
                <a:gd name="T31" fmla="*/ 0 h 38"/>
                <a:gd name="T32" fmla="*/ 4 w 30"/>
                <a:gd name="T3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38">
                  <a:moveTo>
                    <a:pt x="4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9"/>
                    <a:pt x="1" y="32"/>
                    <a:pt x="4" y="35"/>
                  </a:cubicBezTo>
                  <a:cubicBezTo>
                    <a:pt x="6" y="37"/>
                    <a:pt x="10" y="38"/>
                    <a:pt x="15" y="38"/>
                  </a:cubicBezTo>
                  <a:cubicBezTo>
                    <a:pt x="20" y="38"/>
                    <a:pt x="23" y="37"/>
                    <a:pt x="26" y="35"/>
                  </a:cubicBezTo>
                  <a:cubicBezTo>
                    <a:pt x="28" y="32"/>
                    <a:pt x="30" y="29"/>
                    <a:pt x="30" y="24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6"/>
                    <a:pt x="21" y="29"/>
                    <a:pt x="20" y="30"/>
                  </a:cubicBezTo>
                  <a:cubicBezTo>
                    <a:pt x="19" y="31"/>
                    <a:pt x="17" y="32"/>
                    <a:pt x="15" y="32"/>
                  </a:cubicBezTo>
                  <a:cubicBezTo>
                    <a:pt x="12" y="32"/>
                    <a:pt x="10" y="31"/>
                    <a:pt x="9" y="30"/>
                  </a:cubicBezTo>
                  <a:cubicBezTo>
                    <a:pt x="8" y="28"/>
                    <a:pt x="7" y="26"/>
                    <a:pt x="7" y="23"/>
                  </a:cubicBezTo>
                  <a:cubicBezTo>
                    <a:pt x="7" y="0"/>
                    <a:pt x="7" y="0"/>
                    <a:pt x="7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EAC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0719" name="Group 50718"/>
          <p:cNvGrpSpPr/>
          <p:nvPr/>
        </p:nvGrpSpPr>
        <p:grpSpPr>
          <a:xfrm>
            <a:off x="7694945" y="1701944"/>
            <a:ext cx="1828172" cy="790243"/>
            <a:chOff x="9217170" y="3167063"/>
            <a:chExt cx="1722437" cy="744538"/>
          </a:xfrm>
          <a:solidFill>
            <a:schemeClr val="bg1"/>
          </a:solidFill>
        </p:grpSpPr>
        <p:sp>
          <p:nvSpPr>
            <p:cNvPr id="34174" name="Freeform 10647"/>
            <p:cNvSpPr>
              <a:spLocks noEditPoints="1"/>
            </p:cNvSpPr>
            <p:nvPr/>
          </p:nvSpPr>
          <p:spPr bwMode="auto">
            <a:xfrm>
              <a:off x="10083945" y="3205163"/>
              <a:ext cx="26988" cy="19050"/>
            </a:xfrm>
            <a:custGeom>
              <a:avLst/>
              <a:gdLst>
                <a:gd name="T0" fmla="*/ 2 w 7"/>
                <a:gd name="T1" fmla="*/ 2 h 5"/>
                <a:gd name="T2" fmla="*/ 3 w 7"/>
                <a:gd name="T3" fmla="*/ 1 h 5"/>
                <a:gd name="T4" fmla="*/ 5 w 7"/>
                <a:gd name="T5" fmla="*/ 2 h 5"/>
                <a:gd name="T6" fmla="*/ 5 w 7"/>
                <a:gd name="T7" fmla="*/ 2 h 5"/>
                <a:gd name="T8" fmla="*/ 4 w 7"/>
                <a:gd name="T9" fmla="*/ 2 h 5"/>
                <a:gd name="T10" fmla="*/ 2 w 7"/>
                <a:gd name="T11" fmla="*/ 2 h 5"/>
                <a:gd name="T12" fmla="*/ 5 w 7"/>
                <a:gd name="T13" fmla="*/ 4 h 5"/>
                <a:gd name="T14" fmla="*/ 2 w 7"/>
                <a:gd name="T15" fmla="*/ 4 h 5"/>
                <a:gd name="T16" fmla="*/ 2 w 7"/>
                <a:gd name="T17" fmla="*/ 3 h 5"/>
                <a:gd name="T18" fmla="*/ 5 w 7"/>
                <a:gd name="T19" fmla="*/ 3 h 5"/>
                <a:gd name="T20" fmla="*/ 5 w 7"/>
                <a:gd name="T21" fmla="*/ 4 h 5"/>
                <a:gd name="T22" fmla="*/ 3 w 7"/>
                <a:gd name="T23" fmla="*/ 5 h 5"/>
                <a:gd name="T24" fmla="*/ 6 w 7"/>
                <a:gd name="T25" fmla="*/ 4 h 5"/>
                <a:gd name="T26" fmla="*/ 6 w 7"/>
                <a:gd name="T27" fmla="*/ 1 h 5"/>
                <a:gd name="T28" fmla="*/ 2 w 7"/>
                <a:gd name="T29" fmla="*/ 1 h 5"/>
                <a:gd name="T30" fmla="*/ 1 w 7"/>
                <a:gd name="T31" fmla="*/ 2 h 5"/>
                <a:gd name="T32" fmla="*/ 2 w 7"/>
                <a:gd name="T33" fmla="*/ 5 h 5"/>
                <a:gd name="T34" fmla="*/ 3 w 7"/>
                <a:gd name="T3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" h="5">
                  <a:moveTo>
                    <a:pt x="2" y="2"/>
                  </a:moveTo>
                  <a:cubicBezTo>
                    <a:pt x="2" y="2"/>
                    <a:pt x="2" y="2"/>
                    <a:pt x="3" y="1"/>
                  </a:cubicBezTo>
                  <a:cubicBezTo>
                    <a:pt x="3" y="1"/>
                    <a:pt x="4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2"/>
                    <a:pt x="2" y="2"/>
                  </a:cubicBezTo>
                  <a:moveTo>
                    <a:pt x="5" y="4"/>
                  </a:moveTo>
                  <a:cubicBezTo>
                    <a:pt x="4" y="4"/>
                    <a:pt x="3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4" y="2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moveTo>
                    <a:pt x="3" y="5"/>
                  </a:moveTo>
                  <a:cubicBezTo>
                    <a:pt x="4" y="5"/>
                    <a:pt x="5" y="4"/>
                    <a:pt x="6" y="4"/>
                  </a:cubicBezTo>
                  <a:cubicBezTo>
                    <a:pt x="7" y="3"/>
                    <a:pt x="6" y="2"/>
                    <a:pt x="6" y="1"/>
                  </a:cubicBezTo>
                  <a:cubicBezTo>
                    <a:pt x="5" y="0"/>
                    <a:pt x="4" y="0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0" y="3"/>
                    <a:pt x="0" y="3"/>
                    <a:pt x="2" y="5"/>
                  </a:cubicBez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75" name="Freeform 10648"/>
            <p:cNvSpPr>
              <a:spLocks/>
            </p:cNvSpPr>
            <p:nvPr/>
          </p:nvSpPr>
          <p:spPr bwMode="auto">
            <a:xfrm>
              <a:off x="10158557" y="3216276"/>
              <a:ext cx="7938" cy="4763"/>
            </a:xfrm>
            <a:custGeom>
              <a:avLst/>
              <a:gdLst>
                <a:gd name="T0" fmla="*/ 1 w 2"/>
                <a:gd name="T1" fmla="*/ 1 h 1"/>
                <a:gd name="T2" fmla="*/ 2 w 2"/>
                <a:gd name="T3" fmla="*/ 0 h 1"/>
                <a:gd name="T4" fmla="*/ 1 w 2"/>
                <a:gd name="T5" fmla="*/ 0 h 1"/>
                <a:gd name="T6" fmla="*/ 1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76" name="Freeform 10649"/>
            <p:cNvSpPr>
              <a:spLocks noEditPoints="1"/>
            </p:cNvSpPr>
            <p:nvPr/>
          </p:nvSpPr>
          <p:spPr bwMode="auto">
            <a:xfrm>
              <a:off x="9941070" y="3167063"/>
              <a:ext cx="274638" cy="425450"/>
            </a:xfrm>
            <a:custGeom>
              <a:avLst/>
              <a:gdLst>
                <a:gd name="T0" fmla="*/ 64 w 73"/>
                <a:gd name="T1" fmla="*/ 22 h 112"/>
                <a:gd name="T2" fmla="*/ 59 w 73"/>
                <a:gd name="T3" fmla="*/ 34 h 112"/>
                <a:gd name="T4" fmla="*/ 57 w 73"/>
                <a:gd name="T5" fmla="*/ 54 h 112"/>
                <a:gd name="T6" fmla="*/ 49 w 73"/>
                <a:gd name="T7" fmla="*/ 56 h 112"/>
                <a:gd name="T8" fmla="*/ 61 w 73"/>
                <a:gd name="T9" fmla="*/ 93 h 112"/>
                <a:gd name="T10" fmla="*/ 65 w 73"/>
                <a:gd name="T11" fmla="*/ 95 h 112"/>
                <a:gd name="T12" fmla="*/ 55 w 73"/>
                <a:gd name="T13" fmla="*/ 86 h 112"/>
                <a:gd name="T14" fmla="*/ 56 w 73"/>
                <a:gd name="T15" fmla="*/ 99 h 112"/>
                <a:gd name="T16" fmla="*/ 57 w 73"/>
                <a:gd name="T17" fmla="*/ 105 h 112"/>
                <a:gd name="T18" fmla="*/ 14 w 73"/>
                <a:gd name="T19" fmla="*/ 102 h 112"/>
                <a:gd name="T20" fmla="*/ 28 w 73"/>
                <a:gd name="T21" fmla="*/ 91 h 112"/>
                <a:gd name="T22" fmla="*/ 16 w 73"/>
                <a:gd name="T23" fmla="*/ 101 h 112"/>
                <a:gd name="T24" fmla="*/ 10 w 73"/>
                <a:gd name="T25" fmla="*/ 100 h 112"/>
                <a:gd name="T26" fmla="*/ 13 w 73"/>
                <a:gd name="T27" fmla="*/ 85 h 112"/>
                <a:gd name="T28" fmla="*/ 16 w 73"/>
                <a:gd name="T29" fmla="*/ 84 h 112"/>
                <a:gd name="T30" fmla="*/ 16 w 73"/>
                <a:gd name="T31" fmla="*/ 58 h 112"/>
                <a:gd name="T32" fmla="*/ 13 w 73"/>
                <a:gd name="T33" fmla="*/ 42 h 112"/>
                <a:gd name="T34" fmla="*/ 11 w 73"/>
                <a:gd name="T35" fmla="*/ 20 h 112"/>
                <a:gd name="T36" fmla="*/ 16 w 73"/>
                <a:gd name="T37" fmla="*/ 23 h 112"/>
                <a:gd name="T38" fmla="*/ 20 w 73"/>
                <a:gd name="T39" fmla="*/ 15 h 112"/>
                <a:gd name="T40" fmla="*/ 28 w 73"/>
                <a:gd name="T41" fmla="*/ 21 h 112"/>
                <a:gd name="T42" fmla="*/ 32 w 73"/>
                <a:gd name="T43" fmla="*/ 5 h 112"/>
                <a:gd name="T44" fmla="*/ 38 w 73"/>
                <a:gd name="T45" fmla="*/ 3 h 112"/>
                <a:gd name="T46" fmla="*/ 40 w 73"/>
                <a:gd name="T47" fmla="*/ 19 h 112"/>
                <a:gd name="T48" fmla="*/ 31 w 73"/>
                <a:gd name="T49" fmla="*/ 22 h 112"/>
                <a:gd name="T50" fmla="*/ 48 w 73"/>
                <a:gd name="T51" fmla="*/ 14 h 112"/>
                <a:gd name="T52" fmla="*/ 50 w 73"/>
                <a:gd name="T53" fmla="*/ 19 h 112"/>
                <a:gd name="T54" fmla="*/ 58 w 73"/>
                <a:gd name="T55" fmla="*/ 30 h 112"/>
                <a:gd name="T56" fmla="*/ 49 w 73"/>
                <a:gd name="T57" fmla="*/ 47 h 112"/>
                <a:gd name="T58" fmla="*/ 47 w 73"/>
                <a:gd name="T59" fmla="*/ 89 h 112"/>
                <a:gd name="T60" fmla="*/ 38 w 73"/>
                <a:gd name="T61" fmla="*/ 59 h 112"/>
                <a:gd name="T62" fmla="*/ 25 w 73"/>
                <a:gd name="T63" fmla="*/ 45 h 112"/>
                <a:gd name="T64" fmla="*/ 20 w 73"/>
                <a:gd name="T65" fmla="*/ 55 h 112"/>
                <a:gd name="T66" fmla="*/ 14 w 73"/>
                <a:gd name="T67" fmla="*/ 34 h 112"/>
                <a:gd name="T68" fmla="*/ 17 w 73"/>
                <a:gd name="T69" fmla="*/ 35 h 112"/>
                <a:gd name="T70" fmla="*/ 20 w 73"/>
                <a:gd name="T71" fmla="*/ 36 h 112"/>
                <a:gd name="T72" fmla="*/ 22 w 73"/>
                <a:gd name="T73" fmla="*/ 32 h 112"/>
                <a:gd name="T74" fmla="*/ 30 w 73"/>
                <a:gd name="T75" fmla="*/ 30 h 112"/>
                <a:gd name="T76" fmla="*/ 48 w 73"/>
                <a:gd name="T77" fmla="*/ 64 h 112"/>
                <a:gd name="T78" fmla="*/ 46 w 73"/>
                <a:gd name="T79" fmla="*/ 39 h 112"/>
                <a:gd name="T80" fmla="*/ 42 w 73"/>
                <a:gd name="T81" fmla="*/ 37 h 112"/>
                <a:gd name="T82" fmla="*/ 40 w 73"/>
                <a:gd name="T83" fmla="*/ 42 h 112"/>
                <a:gd name="T84" fmla="*/ 30 w 73"/>
                <a:gd name="T85" fmla="*/ 32 h 112"/>
                <a:gd name="T86" fmla="*/ 30 w 73"/>
                <a:gd name="T87" fmla="*/ 33 h 112"/>
                <a:gd name="T88" fmla="*/ 24 w 73"/>
                <a:gd name="T89" fmla="*/ 42 h 112"/>
                <a:gd name="T90" fmla="*/ 35 w 73"/>
                <a:gd name="T91" fmla="*/ 43 h 112"/>
                <a:gd name="T92" fmla="*/ 35 w 73"/>
                <a:gd name="T93" fmla="*/ 53 h 112"/>
                <a:gd name="T94" fmla="*/ 44 w 73"/>
                <a:gd name="T95" fmla="*/ 47 h 112"/>
                <a:gd name="T96" fmla="*/ 51 w 73"/>
                <a:gd name="T97" fmla="*/ 25 h 112"/>
                <a:gd name="T98" fmla="*/ 51 w 73"/>
                <a:gd name="T99" fmla="*/ 51 h 112"/>
                <a:gd name="T100" fmla="*/ 55 w 73"/>
                <a:gd name="T101" fmla="*/ 41 h 112"/>
                <a:gd name="T102" fmla="*/ 26 w 73"/>
                <a:gd name="T103" fmla="*/ 86 h 112"/>
                <a:gd name="T104" fmla="*/ 23 w 73"/>
                <a:gd name="T105" fmla="*/ 86 h 112"/>
                <a:gd name="T106" fmla="*/ 25 w 73"/>
                <a:gd name="T107" fmla="*/ 82 h 112"/>
                <a:gd name="T108" fmla="*/ 34 w 73"/>
                <a:gd name="T109" fmla="*/ 82 h 112"/>
                <a:gd name="T110" fmla="*/ 47 w 73"/>
                <a:gd name="T111" fmla="*/ 85 h 112"/>
                <a:gd name="T112" fmla="*/ 54 w 73"/>
                <a:gd name="T113" fmla="*/ 51 h 112"/>
                <a:gd name="T114" fmla="*/ 58 w 73"/>
                <a:gd name="T115" fmla="*/ 12 h 112"/>
                <a:gd name="T116" fmla="*/ 54 w 73"/>
                <a:gd name="T117" fmla="*/ 14 h 112"/>
                <a:gd name="T118" fmla="*/ 11 w 73"/>
                <a:gd name="T119" fmla="*/ 12 h 112"/>
                <a:gd name="T120" fmla="*/ 16 w 73"/>
                <a:gd name="T121" fmla="*/ 59 h 112"/>
                <a:gd name="T122" fmla="*/ 65 w 73"/>
                <a:gd name="T123" fmla="*/ 85 h 112"/>
                <a:gd name="T124" fmla="*/ 69 w 73"/>
                <a:gd name="T125" fmla="*/ 3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" h="112">
                  <a:moveTo>
                    <a:pt x="71" y="27"/>
                  </a:moveTo>
                  <a:cubicBezTo>
                    <a:pt x="71" y="28"/>
                    <a:pt x="71" y="28"/>
                    <a:pt x="70" y="28"/>
                  </a:cubicBezTo>
                  <a:cubicBezTo>
                    <a:pt x="69" y="27"/>
                    <a:pt x="70" y="26"/>
                    <a:pt x="70" y="25"/>
                  </a:cubicBezTo>
                  <a:cubicBezTo>
                    <a:pt x="70" y="25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6"/>
                    <a:pt x="72" y="26"/>
                    <a:pt x="71" y="27"/>
                  </a:cubicBezTo>
                  <a:moveTo>
                    <a:pt x="69" y="23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68" y="24"/>
                    <a:pt x="69" y="24"/>
                    <a:pt x="68" y="24"/>
                  </a:cubicBezTo>
                  <a:cubicBezTo>
                    <a:pt x="68" y="25"/>
                    <a:pt x="67" y="24"/>
                    <a:pt x="67" y="24"/>
                  </a:cubicBezTo>
                  <a:cubicBezTo>
                    <a:pt x="67" y="23"/>
                    <a:pt x="67" y="23"/>
                    <a:pt x="66" y="23"/>
                  </a:cubicBezTo>
                  <a:cubicBezTo>
                    <a:pt x="66" y="22"/>
                    <a:pt x="66" y="23"/>
                    <a:pt x="66" y="23"/>
                  </a:cubicBezTo>
                  <a:cubicBezTo>
                    <a:pt x="66" y="23"/>
                    <a:pt x="66" y="23"/>
                    <a:pt x="66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4" y="25"/>
                    <a:pt x="63" y="24"/>
                    <a:pt x="62" y="24"/>
                  </a:cubicBezTo>
                  <a:cubicBezTo>
                    <a:pt x="62" y="24"/>
                    <a:pt x="63" y="25"/>
                    <a:pt x="64" y="25"/>
                  </a:cubicBezTo>
                  <a:cubicBezTo>
                    <a:pt x="64" y="24"/>
                    <a:pt x="64" y="26"/>
                    <a:pt x="64" y="26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62" y="29"/>
                    <a:pt x="61" y="29"/>
                    <a:pt x="61" y="30"/>
                  </a:cubicBezTo>
                  <a:cubicBezTo>
                    <a:pt x="62" y="31"/>
                    <a:pt x="62" y="31"/>
                    <a:pt x="63" y="31"/>
                  </a:cubicBezTo>
                  <a:cubicBezTo>
                    <a:pt x="64" y="31"/>
                    <a:pt x="64" y="32"/>
                    <a:pt x="65" y="32"/>
                  </a:cubicBezTo>
                  <a:cubicBezTo>
                    <a:pt x="65" y="33"/>
                    <a:pt x="65" y="33"/>
                    <a:pt x="65" y="34"/>
                  </a:cubicBezTo>
                  <a:cubicBezTo>
                    <a:pt x="64" y="35"/>
                    <a:pt x="63" y="33"/>
                    <a:pt x="62" y="32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31"/>
                    <a:pt x="61" y="30"/>
                    <a:pt x="61" y="29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8"/>
                    <a:pt x="60" y="26"/>
                    <a:pt x="60" y="26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2" y="21"/>
                    <a:pt x="63" y="21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5" y="22"/>
                    <a:pt x="65" y="22"/>
                    <a:pt x="66" y="22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7" y="22"/>
                    <a:pt x="67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70" y="23"/>
                    <a:pt x="69" y="23"/>
                    <a:pt x="69" y="23"/>
                  </a:cubicBezTo>
                  <a:moveTo>
                    <a:pt x="65" y="27"/>
                  </a:move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6" y="27"/>
                    <a:pt x="66" y="27"/>
                    <a:pt x="66" y="28"/>
                  </a:cubicBezTo>
                  <a:cubicBezTo>
                    <a:pt x="65" y="28"/>
                    <a:pt x="65" y="28"/>
                    <a:pt x="65" y="28"/>
                  </a:cubicBezTo>
                  <a:cubicBezTo>
                    <a:pt x="65" y="28"/>
                    <a:pt x="65" y="28"/>
                    <a:pt x="65" y="27"/>
                  </a:cubicBezTo>
                  <a:moveTo>
                    <a:pt x="67" y="30"/>
                  </a:moveTo>
                  <a:cubicBezTo>
                    <a:pt x="66" y="30"/>
                    <a:pt x="66" y="31"/>
                    <a:pt x="66" y="31"/>
                  </a:cubicBezTo>
                  <a:cubicBezTo>
                    <a:pt x="65" y="32"/>
                    <a:pt x="65" y="31"/>
                    <a:pt x="64" y="30"/>
                  </a:cubicBezTo>
                  <a:cubicBezTo>
                    <a:pt x="64" y="30"/>
                    <a:pt x="63" y="30"/>
                    <a:pt x="63" y="30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4" y="29"/>
                    <a:pt x="64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7" y="29"/>
                    <a:pt x="67" y="29"/>
                    <a:pt x="67" y="30"/>
                  </a:cubicBezTo>
                  <a:moveTo>
                    <a:pt x="61" y="37"/>
                  </a:move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6"/>
                  </a:cubicBezTo>
                  <a:cubicBezTo>
                    <a:pt x="59" y="35"/>
                    <a:pt x="59" y="36"/>
                    <a:pt x="58" y="35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2"/>
                    <a:pt x="58" y="32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59" y="33"/>
                    <a:pt x="59" y="34"/>
                  </a:cubicBezTo>
                  <a:cubicBezTo>
                    <a:pt x="58" y="34"/>
                    <a:pt x="59" y="35"/>
                    <a:pt x="59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6"/>
                    <a:pt x="60" y="36"/>
                  </a:cubicBezTo>
                  <a:cubicBezTo>
                    <a:pt x="61" y="37"/>
                    <a:pt x="61" y="37"/>
                    <a:pt x="61" y="37"/>
                  </a:cubicBezTo>
                  <a:moveTo>
                    <a:pt x="62" y="40"/>
                  </a:moveTo>
                  <a:cubicBezTo>
                    <a:pt x="62" y="41"/>
                    <a:pt x="61" y="42"/>
                    <a:pt x="61" y="42"/>
                  </a:cubicBezTo>
                  <a:cubicBezTo>
                    <a:pt x="60" y="43"/>
                    <a:pt x="60" y="43"/>
                    <a:pt x="60" y="43"/>
                  </a:cubicBezTo>
                  <a:cubicBezTo>
                    <a:pt x="61" y="43"/>
                    <a:pt x="61" y="43"/>
                    <a:pt x="62" y="42"/>
                  </a:cubicBezTo>
                  <a:cubicBezTo>
                    <a:pt x="62" y="42"/>
                    <a:pt x="62" y="42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1" y="44"/>
                    <a:pt x="61" y="44"/>
                    <a:pt x="61" y="44"/>
                  </a:cubicBezTo>
                  <a:cubicBezTo>
                    <a:pt x="61" y="44"/>
                    <a:pt x="60" y="44"/>
                    <a:pt x="59" y="43"/>
                  </a:cubicBezTo>
                  <a:cubicBezTo>
                    <a:pt x="58" y="43"/>
                    <a:pt x="59" y="42"/>
                    <a:pt x="60" y="41"/>
                  </a:cubicBezTo>
                  <a:cubicBezTo>
                    <a:pt x="61" y="40"/>
                    <a:pt x="61" y="40"/>
                    <a:pt x="62" y="40"/>
                  </a:cubicBezTo>
                  <a:moveTo>
                    <a:pt x="61" y="48"/>
                  </a:moveTo>
                  <a:cubicBezTo>
                    <a:pt x="61" y="49"/>
                    <a:pt x="60" y="50"/>
                    <a:pt x="60" y="50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59" y="50"/>
                    <a:pt x="59" y="50"/>
                    <a:pt x="59" y="49"/>
                  </a:cubicBezTo>
                  <a:cubicBezTo>
                    <a:pt x="59" y="49"/>
                    <a:pt x="59" y="49"/>
                    <a:pt x="59" y="49"/>
                  </a:cubicBezTo>
                  <a:cubicBezTo>
                    <a:pt x="60" y="48"/>
                    <a:pt x="61" y="47"/>
                    <a:pt x="61" y="46"/>
                  </a:cubicBezTo>
                  <a:cubicBezTo>
                    <a:pt x="62" y="46"/>
                    <a:pt x="61" y="48"/>
                    <a:pt x="61" y="48"/>
                  </a:cubicBezTo>
                  <a:moveTo>
                    <a:pt x="60" y="53"/>
                  </a:moveTo>
                  <a:cubicBezTo>
                    <a:pt x="60" y="53"/>
                    <a:pt x="59" y="53"/>
                    <a:pt x="59" y="52"/>
                  </a:cubicBezTo>
                  <a:cubicBezTo>
                    <a:pt x="59" y="52"/>
                    <a:pt x="59" y="52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3"/>
                    <a:pt x="60" y="53"/>
                    <a:pt x="60" y="53"/>
                  </a:cubicBezTo>
                  <a:moveTo>
                    <a:pt x="59" y="55"/>
                  </a:moveTo>
                  <a:cubicBezTo>
                    <a:pt x="58" y="55"/>
                    <a:pt x="58" y="55"/>
                    <a:pt x="58" y="55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59" y="55"/>
                    <a:pt x="59" y="55"/>
                    <a:pt x="59" y="55"/>
                  </a:cubicBezTo>
                  <a:moveTo>
                    <a:pt x="57" y="54"/>
                  </a:moveTo>
                  <a:cubicBezTo>
                    <a:pt x="57" y="55"/>
                    <a:pt x="57" y="55"/>
                    <a:pt x="57" y="54"/>
                  </a:cubicBezTo>
                  <a:cubicBezTo>
                    <a:pt x="57" y="54"/>
                    <a:pt x="57" y="53"/>
                    <a:pt x="57" y="53"/>
                  </a:cubicBezTo>
                  <a:cubicBezTo>
                    <a:pt x="57" y="52"/>
                    <a:pt x="58" y="51"/>
                    <a:pt x="58" y="51"/>
                  </a:cubicBezTo>
                  <a:cubicBezTo>
                    <a:pt x="59" y="51"/>
                    <a:pt x="59" y="52"/>
                    <a:pt x="59" y="52"/>
                  </a:cubicBezTo>
                  <a:cubicBezTo>
                    <a:pt x="59" y="53"/>
                    <a:pt x="58" y="54"/>
                    <a:pt x="57" y="54"/>
                  </a:cubicBezTo>
                  <a:moveTo>
                    <a:pt x="59" y="81"/>
                  </a:moveTo>
                  <a:cubicBezTo>
                    <a:pt x="60" y="80"/>
                    <a:pt x="60" y="80"/>
                    <a:pt x="61" y="80"/>
                  </a:cubicBezTo>
                  <a:cubicBezTo>
                    <a:pt x="61" y="80"/>
                    <a:pt x="62" y="81"/>
                    <a:pt x="62" y="81"/>
                  </a:cubicBezTo>
                  <a:cubicBezTo>
                    <a:pt x="61" y="82"/>
                    <a:pt x="61" y="81"/>
                    <a:pt x="60" y="81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1" y="83"/>
                    <a:pt x="61" y="83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59" y="8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3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5" y="85"/>
                    <a:pt x="54" y="84"/>
                  </a:cubicBezTo>
                  <a:cubicBezTo>
                    <a:pt x="52" y="83"/>
                    <a:pt x="53" y="81"/>
                    <a:pt x="52" y="79"/>
                  </a:cubicBezTo>
                  <a:cubicBezTo>
                    <a:pt x="52" y="78"/>
                    <a:pt x="51" y="78"/>
                    <a:pt x="51" y="77"/>
                  </a:cubicBezTo>
                  <a:cubicBezTo>
                    <a:pt x="51" y="76"/>
                    <a:pt x="50" y="74"/>
                    <a:pt x="50" y="73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8" y="70"/>
                    <a:pt x="49" y="70"/>
                    <a:pt x="49" y="67"/>
                  </a:cubicBezTo>
                  <a:cubicBezTo>
                    <a:pt x="49" y="67"/>
                    <a:pt x="49" y="66"/>
                    <a:pt x="49" y="66"/>
                  </a:cubicBezTo>
                  <a:cubicBezTo>
                    <a:pt x="49" y="65"/>
                    <a:pt x="50" y="65"/>
                    <a:pt x="50" y="65"/>
                  </a:cubicBezTo>
                  <a:cubicBezTo>
                    <a:pt x="50" y="64"/>
                    <a:pt x="50" y="59"/>
                    <a:pt x="49" y="57"/>
                  </a:cubicBezTo>
                  <a:cubicBezTo>
                    <a:pt x="49" y="57"/>
                    <a:pt x="48" y="56"/>
                    <a:pt x="49" y="55"/>
                  </a:cubicBezTo>
                  <a:cubicBezTo>
                    <a:pt x="49" y="55"/>
                    <a:pt x="49" y="55"/>
                    <a:pt x="49" y="56"/>
                  </a:cubicBezTo>
                  <a:cubicBezTo>
                    <a:pt x="50" y="56"/>
                    <a:pt x="51" y="57"/>
                    <a:pt x="51" y="57"/>
                  </a:cubicBezTo>
                  <a:cubicBezTo>
                    <a:pt x="52" y="57"/>
                    <a:pt x="54" y="61"/>
                    <a:pt x="54" y="61"/>
                  </a:cubicBezTo>
                  <a:cubicBezTo>
                    <a:pt x="54" y="63"/>
                    <a:pt x="54" y="64"/>
                    <a:pt x="54" y="65"/>
                  </a:cubicBezTo>
                  <a:cubicBezTo>
                    <a:pt x="54" y="67"/>
                    <a:pt x="54" y="68"/>
                    <a:pt x="54" y="70"/>
                  </a:cubicBezTo>
                  <a:cubicBezTo>
                    <a:pt x="54" y="71"/>
                    <a:pt x="54" y="72"/>
                    <a:pt x="54" y="72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1"/>
                    <a:pt x="55" y="70"/>
                    <a:pt x="55" y="70"/>
                  </a:cubicBezTo>
                  <a:cubicBezTo>
                    <a:pt x="55" y="69"/>
                    <a:pt x="55" y="68"/>
                    <a:pt x="55" y="68"/>
                  </a:cubicBezTo>
                  <a:cubicBezTo>
                    <a:pt x="55" y="67"/>
                    <a:pt x="55" y="67"/>
                    <a:pt x="55" y="66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55" y="65"/>
                    <a:pt x="55" y="63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56" y="62"/>
                    <a:pt x="56" y="63"/>
                    <a:pt x="56" y="64"/>
                  </a:cubicBezTo>
                  <a:cubicBezTo>
                    <a:pt x="56" y="65"/>
                    <a:pt x="56" y="67"/>
                    <a:pt x="56" y="68"/>
                  </a:cubicBezTo>
                  <a:cubicBezTo>
                    <a:pt x="56" y="70"/>
                    <a:pt x="55" y="72"/>
                    <a:pt x="56" y="73"/>
                  </a:cubicBezTo>
                  <a:cubicBezTo>
                    <a:pt x="56" y="74"/>
                    <a:pt x="58" y="77"/>
                    <a:pt x="57" y="78"/>
                  </a:cubicBezTo>
                  <a:cubicBezTo>
                    <a:pt x="57" y="79"/>
                    <a:pt x="56" y="79"/>
                    <a:pt x="56" y="78"/>
                  </a:cubicBezTo>
                  <a:cubicBezTo>
                    <a:pt x="55" y="78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6" y="80"/>
                    <a:pt x="57" y="81"/>
                    <a:pt x="59" y="81"/>
                  </a:cubicBezTo>
                  <a:moveTo>
                    <a:pt x="62" y="93"/>
                  </a:moveTo>
                  <a:cubicBezTo>
                    <a:pt x="62" y="91"/>
                    <a:pt x="62" y="91"/>
                    <a:pt x="6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4" y="91"/>
                    <a:pt x="64" y="92"/>
                    <a:pt x="63" y="95"/>
                  </a:cubicBezTo>
                  <a:cubicBezTo>
                    <a:pt x="63" y="98"/>
                    <a:pt x="63" y="98"/>
                    <a:pt x="63" y="97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1" y="96"/>
                    <a:pt x="61" y="96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62" y="93"/>
                    <a:pt x="62" y="93"/>
                    <a:pt x="62" y="93"/>
                  </a:cubicBezTo>
                  <a:moveTo>
                    <a:pt x="62" y="86"/>
                  </a:moveTo>
                  <a:cubicBezTo>
                    <a:pt x="62" y="85"/>
                    <a:pt x="63" y="86"/>
                    <a:pt x="63" y="86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6"/>
                    <a:pt x="62" y="86"/>
                    <a:pt x="62" y="86"/>
                  </a:cubicBezTo>
                  <a:moveTo>
                    <a:pt x="64" y="101"/>
                  </a:moveTo>
                  <a:cubicBezTo>
                    <a:pt x="64" y="102"/>
                    <a:pt x="63" y="103"/>
                    <a:pt x="63" y="103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3" y="102"/>
                    <a:pt x="63" y="102"/>
                    <a:pt x="63" y="102"/>
                  </a:cubicBezTo>
                  <a:cubicBezTo>
                    <a:pt x="63" y="101"/>
                    <a:pt x="63" y="101"/>
                    <a:pt x="63" y="101"/>
                  </a:cubicBezTo>
                  <a:cubicBezTo>
                    <a:pt x="64" y="101"/>
                    <a:pt x="64" y="101"/>
                    <a:pt x="64" y="101"/>
                  </a:cubicBezTo>
                  <a:moveTo>
                    <a:pt x="64" y="90"/>
                  </a:moveTo>
                  <a:cubicBezTo>
                    <a:pt x="65" y="90"/>
                    <a:pt x="65" y="90"/>
                    <a:pt x="65" y="90"/>
                  </a:cubicBezTo>
                  <a:cubicBezTo>
                    <a:pt x="65" y="90"/>
                    <a:pt x="65" y="90"/>
                    <a:pt x="65" y="90"/>
                  </a:cubicBezTo>
                  <a:cubicBezTo>
                    <a:pt x="65" y="91"/>
                    <a:pt x="66" y="93"/>
                    <a:pt x="66" y="93"/>
                  </a:cubicBezTo>
                  <a:cubicBezTo>
                    <a:pt x="66" y="94"/>
                    <a:pt x="65" y="101"/>
                    <a:pt x="65" y="101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67" y="100"/>
                    <a:pt x="68" y="97"/>
                    <a:pt x="68" y="96"/>
                  </a:cubicBezTo>
                  <a:cubicBezTo>
                    <a:pt x="68" y="95"/>
                    <a:pt x="67" y="95"/>
                    <a:pt x="68" y="95"/>
                  </a:cubicBezTo>
                  <a:cubicBezTo>
                    <a:pt x="68" y="94"/>
                    <a:pt x="69" y="95"/>
                    <a:pt x="69" y="95"/>
                  </a:cubicBezTo>
                  <a:cubicBezTo>
                    <a:pt x="69" y="96"/>
                    <a:pt x="69" y="96"/>
                    <a:pt x="68" y="97"/>
                  </a:cubicBezTo>
                  <a:cubicBezTo>
                    <a:pt x="68" y="97"/>
                    <a:pt x="68" y="97"/>
                    <a:pt x="68" y="98"/>
                  </a:cubicBezTo>
                  <a:cubicBezTo>
                    <a:pt x="68" y="99"/>
                    <a:pt x="67" y="99"/>
                    <a:pt x="67" y="101"/>
                  </a:cubicBezTo>
                  <a:cubicBezTo>
                    <a:pt x="67" y="101"/>
                    <a:pt x="66" y="102"/>
                    <a:pt x="66" y="102"/>
                  </a:cubicBezTo>
                  <a:cubicBezTo>
                    <a:pt x="66" y="102"/>
                    <a:pt x="66" y="103"/>
                    <a:pt x="66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65" y="101"/>
                    <a:pt x="65" y="96"/>
                    <a:pt x="65" y="9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5"/>
                    <a:pt x="64" y="91"/>
                    <a:pt x="64" y="90"/>
                  </a:cubicBezTo>
                  <a:moveTo>
                    <a:pt x="60" y="86"/>
                  </a:move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6"/>
                    <a:pt x="60" y="86"/>
                    <a:pt x="60" y="86"/>
                  </a:cubicBezTo>
                  <a:moveTo>
                    <a:pt x="60" y="90"/>
                  </a:moveTo>
                  <a:cubicBezTo>
                    <a:pt x="61" y="95"/>
                    <a:pt x="61" y="95"/>
                    <a:pt x="61" y="95"/>
                  </a:cubicBezTo>
                  <a:cubicBezTo>
                    <a:pt x="59" y="93"/>
                    <a:pt x="59" y="93"/>
                    <a:pt x="59" y="93"/>
                  </a:cubicBezTo>
                  <a:lnTo>
                    <a:pt x="60" y="90"/>
                  </a:lnTo>
                  <a:close/>
                  <a:moveTo>
                    <a:pt x="53" y="84"/>
                  </a:moveTo>
                  <a:cubicBezTo>
                    <a:pt x="51" y="84"/>
                    <a:pt x="51" y="84"/>
                    <a:pt x="51" y="84"/>
                  </a:cubicBezTo>
                  <a:cubicBezTo>
                    <a:pt x="50" y="84"/>
                    <a:pt x="51" y="82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2" y="83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moveTo>
                    <a:pt x="53" y="87"/>
                  </a:moveTo>
                  <a:cubicBezTo>
                    <a:pt x="52" y="87"/>
                    <a:pt x="51" y="87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3" y="86"/>
                    <a:pt x="53" y="86"/>
                    <a:pt x="53" y="86"/>
                  </a:cubicBezTo>
                  <a:cubicBezTo>
                    <a:pt x="53" y="87"/>
                    <a:pt x="53" y="87"/>
                    <a:pt x="53" y="87"/>
                  </a:cubicBezTo>
                  <a:moveTo>
                    <a:pt x="59" y="90"/>
                  </a:moveTo>
                  <a:cubicBezTo>
                    <a:pt x="59" y="90"/>
                    <a:pt x="59" y="90"/>
                    <a:pt x="59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89"/>
                    <a:pt x="59" y="90"/>
                  </a:cubicBezTo>
                  <a:moveTo>
                    <a:pt x="58" y="87"/>
                  </a:moveTo>
                  <a:cubicBezTo>
                    <a:pt x="58" y="87"/>
                    <a:pt x="57" y="87"/>
                    <a:pt x="57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7"/>
                  </a:cubicBezTo>
                  <a:moveTo>
                    <a:pt x="55" y="86"/>
                  </a:move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moveTo>
                    <a:pt x="55" y="86"/>
                  </a:moveTo>
                  <a:cubicBezTo>
                    <a:pt x="55" y="87"/>
                    <a:pt x="55" y="87"/>
                    <a:pt x="54" y="87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5" y="86"/>
                  </a:cubicBezTo>
                  <a:moveTo>
                    <a:pt x="56" y="88"/>
                  </a:moveTo>
                  <a:cubicBezTo>
                    <a:pt x="56" y="88"/>
                    <a:pt x="56" y="89"/>
                    <a:pt x="57" y="89"/>
                  </a:cubicBezTo>
                  <a:cubicBezTo>
                    <a:pt x="57" y="89"/>
                    <a:pt x="57" y="89"/>
                    <a:pt x="58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8" y="95"/>
                    <a:pt x="58" y="94"/>
                    <a:pt x="58" y="94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2"/>
                    <a:pt x="57" y="92"/>
                    <a:pt x="56" y="92"/>
                  </a:cubicBezTo>
                  <a:cubicBezTo>
                    <a:pt x="55" y="92"/>
                    <a:pt x="55" y="91"/>
                    <a:pt x="55" y="90"/>
                  </a:cubicBezTo>
                  <a:cubicBezTo>
                    <a:pt x="55" y="89"/>
                    <a:pt x="54" y="88"/>
                    <a:pt x="53" y="88"/>
                  </a:cubicBezTo>
                  <a:cubicBezTo>
                    <a:pt x="53" y="88"/>
                    <a:pt x="52" y="89"/>
                    <a:pt x="52" y="89"/>
                  </a:cubicBezTo>
                  <a:cubicBezTo>
                    <a:pt x="51" y="89"/>
                    <a:pt x="51" y="89"/>
                    <a:pt x="51" y="89"/>
                  </a:cubicBezTo>
                  <a:cubicBezTo>
                    <a:pt x="51" y="89"/>
                    <a:pt x="51" y="88"/>
                    <a:pt x="51" y="88"/>
                  </a:cubicBezTo>
                  <a:cubicBezTo>
                    <a:pt x="52" y="87"/>
                    <a:pt x="56" y="88"/>
                    <a:pt x="56" y="88"/>
                  </a:cubicBezTo>
                  <a:moveTo>
                    <a:pt x="61" y="101"/>
                  </a:moveTo>
                  <a:cubicBezTo>
                    <a:pt x="60" y="102"/>
                    <a:pt x="60" y="102"/>
                    <a:pt x="60" y="102"/>
                  </a:cubicBezTo>
                  <a:cubicBezTo>
                    <a:pt x="60" y="103"/>
                    <a:pt x="60" y="104"/>
                    <a:pt x="59" y="104"/>
                  </a:cubicBezTo>
                  <a:cubicBezTo>
                    <a:pt x="59" y="105"/>
                    <a:pt x="58" y="105"/>
                    <a:pt x="58" y="105"/>
                  </a:cubicBezTo>
                  <a:cubicBezTo>
                    <a:pt x="57" y="104"/>
                    <a:pt x="58" y="103"/>
                    <a:pt x="59" y="103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60" y="101"/>
                    <a:pt x="60" y="100"/>
                    <a:pt x="60" y="100"/>
                  </a:cubicBezTo>
                  <a:cubicBezTo>
                    <a:pt x="60" y="100"/>
                    <a:pt x="59" y="100"/>
                    <a:pt x="58" y="100"/>
                  </a:cubicBezTo>
                  <a:cubicBezTo>
                    <a:pt x="57" y="100"/>
                    <a:pt x="57" y="100"/>
                    <a:pt x="57" y="100"/>
                  </a:cubicBezTo>
                  <a:cubicBezTo>
                    <a:pt x="57" y="100"/>
                    <a:pt x="57" y="100"/>
                    <a:pt x="57" y="99"/>
                  </a:cubicBezTo>
                  <a:cubicBezTo>
                    <a:pt x="57" y="97"/>
                    <a:pt x="57" y="97"/>
                    <a:pt x="57" y="97"/>
                  </a:cubicBezTo>
                  <a:cubicBezTo>
                    <a:pt x="57" y="97"/>
                    <a:pt x="57" y="97"/>
                    <a:pt x="57" y="98"/>
                  </a:cubicBezTo>
                  <a:cubicBezTo>
                    <a:pt x="56" y="98"/>
                    <a:pt x="56" y="98"/>
                    <a:pt x="56" y="99"/>
                  </a:cubicBezTo>
                  <a:cubicBezTo>
                    <a:pt x="56" y="99"/>
                    <a:pt x="56" y="100"/>
                    <a:pt x="55" y="101"/>
                  </a:cubicBezTo>
                  <a:cubicBezTo>
                    <a:pt x="55" y="101"/>
                    <a:pt x="55" y="101"/>
                    <a:pt x="55" y="102"/>
                  </a:cubicBezTo>
                  <a:cubicBezTo>
                    <a:pt x="55" y="103"/>
                    <a:pt x="55" y="105"/>
                    <a:pt x="54" y="105"/>
                  </a:cubicBezTo>
                  <a:cubicBezTo>
                    <a:pt x="53" y="105"/>
                    <a:pt x="54" y="104"/>
                    <a:pt x="54" y="103"/>
                  </a:cubicBezTo>
                  <a:cubicBezTo>
                    <a:pt x="54" y="102"/>
                    <a:pt x="54" y="100"/>
                    <a:pt x="53" y="100"/>
                  </a:cubicBezTo>
                  <a:cubicBezTo>
                    <a:pt x="52" y="100"/>
                    <a:pt x="51" y="100"/>
                    <a:pt x="52" y="99"/>
                  </a:cubicBezTo>
                  <a:cubicBezTo>
                    <a:pt x="53" y="98"/>
                    <a:pt x="53" y="98"/>
                    <a:pt x="53" y="98"/>
                  </a:cubicBezTo>
                  <a:cubicBezTo>
                    <a:pt x="53" y="98"/>
                    <a:pt x="52" y="97"/>
                    <a:pt x="52" y="97"/>
                  </a:cubicBezTo>
                  <a:cubicBezTo>
                    <a:pt x="51" y="97"/>
                    <a:pt x="51" y="96"/>
                    <a:pt x="51" y="96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3"/>
                    <a:pt x="51" y="93"/>
                    <a:pt x="51" y="93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1"/>
                    <a:pt x="51" y="91"/>
                    <a:pt x="52" y="90"/>
                  </a:cubicBezTo>
                  <a:cubicBezTo>
                    <a:pt x="54" y="90"/>
                    <a:pt x="54" y="90"/>
                    <a:pt x="54" y="92"/>
                  </a:cubicBezTo>
                  <a:cubicBezTo>
                    <a:pt x="54" y="93"/>
                    <a:pt x="54" y="93"/>
                    <a:pt x="53" y="94"/>
                  </a:cubicBezTo>
                  <a:cubicBezTo>
                    <a:pt x="53" y="94"/>
                    <a:pt x="52" y="95"/>
                    <a:pt x="53" y="96"/>
                  </a:cubicBezTo>
                  <a:cubicBezTo>
                    <a:pt x="54" y="96"/>
                    <a:pt x="53" y="95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5" y="94"/>
                    <a:pt x="56" y="93"/>
                    <a:pt x="57" y="93"/>
                  </a:cubicBezTo>
                  <a:cubicBezTo>
                    <a:pt x="58" y="93"/>
                    <a:pt x="57" y="94"/>
                    <a:pt x="57" y="95"/>
                  </a:cubicBezTo>
                  <a:cubicBezTo>
                    <a:pt x="57" y="95"/>
                    <a:pt x="57" y="96"/>
                    <a:pt x="57" y="96"/>
                  </a:cubicBezTo>
                  <a:cubicBezTo>
                    <a:pt x="58" y="97"/>
                    <a:pt x="58" y="96"/>
                    <a:pt x="60" y="96"/>
                  </a:cubicBezTo>
                  <a:cubicBezTo>
                    <a:pt x="60" y="96"/>
                    <a:pt x="61" y="97"/>
                    <a:pt x="62" y="97"/>
                  </a:cubicBezTo>
                  <a:cubicBezTo>
                    <a:pt x="62" y="98"/>
                    <a:pt x="62" y="100"/>
                    <a:pt x="61" y="101"/>
                  </a:cubicBezTo>
                  <a:moveTo>
                    <a:pt x="62" y="105"/>
                  </a:move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2" y="105"/>
                    <a:pt x="62" y="105"/>
                    <a:pt x="62" y="105"/>
                  </a:cubicBezTo>
                  <a:moveTo>
                    <a:pt x="57" y="105"/>
                  </a:move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5" y="104"/>
                    <a:pt x="56" y="104"/>
                    <a:pt x="56" y="103"/>
                  </a:cubicBezTo>
                  <a:cubicBezTo>
                    <a:pt x="56" y="102"/>
                    <a:pt x="56" y="101"/>
                    <a:pt x="56" y="101"/>
                  </a:cubicBezTo>
                  <a:cubicBezTo>
                    <a:pt x="56" y="101"/>
                    <a:pt x="57" y="101"/>
                    <a:pt x="58" y="101"/>
                  </a:cubicBezTo>
                  <a:cubicBezTo>
                    <a:pt x="58" y="102"/>
                    <a:pt x="58" y="102"/>
                    <a:pt x="58" y="103"/>
                  </a:cubicBezTo>
                  <a:cubicBezTo>
                    <a:pt x="57" y="103"/>
                    <a:pt x="57" y="104"/>
                    <a:pt x="57" y="105"/>
                  </a:cubicBezTo>
                  <a:moveTo>
                    <a:pt x="51" y="103"/>
                  </a:moveTo>
                  <a:cubicBezTo>
                    <a:pt x="51" y="105"/>
                    <a:pt x="49" y="105"/>
                    <a:pt x="48" y="105"/>
                  </a:cubicBezTo>
                  <a:cubicBezTo>
                    <a:pt x="47" y="105"/>
                    <a:pt x="46" y="105"/>
                    <a:pt x="46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5" y="105"/>
                    <a:pt x="47" y="103"/>
                    <a:pt x="48" y="102"/>
                  </a:cubicBezTo>
                  <a:cubicBezTo>
                    <a:pt x="48" y="101"/>
                    <a:pt x="49" y="100"/>
                    <a:pt x="49" y="99"/>
                  </a:cubicBezTo>
                  <a:cubicBezTo>
                    <a:pt x="49" y="99"/>
                    <a:pt x="50" y="97"/>
                    <a:pt x="50" y="97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9"/>
                    <a:pt x="51" y="99"/>
                  </a:cubicBezTo>
                  <a:cubicBezTo>
                    <a:pt x="51" y="100"/>
                    <a:pt x="52" y="101"/>
                    <a:pt x="52" y="101"/>
                  </a:cubicBezTo>
                  <a:cubicBezTo>
                    <a:pt x="52" y="101"/>
                    <a:pt x="52" y="101"/>
                    <a:pt x="51" y="103"/>
                  </a:cubicBezTo>
                  <a:moveTo>
                    <a:pt x="28" y="96"/>
                  </a:moveTo>
                  <a:cubicBezTo>
                    <a:pt x="28" y="90"/>
                    <a:pt x="33" y="86"/>
                    <a:pt x="38" y="86"/>
                  </a:cubicBezTo>
                  <a:cubicBezTo>
                    <a:pt x="44" y="86"/>
                    <a:pt x="49" y="90"/>
                    <a:pt x="49" y="96"/>
                  </a:cubicBezTo>
                  <a:cubicBezTo>
                    <a:pt x="49" y="102"/>
                    <a:pt x="44" y="106"/>
                    <a:pt x="38" y="106"/>
                  </a:cubicBezTo>
                  <a:cubicBezTo>
                    <a:pt x="33" y="106"/>
                    <a:pt x="28" y="102"/>
                    <a:pt x="28" y="96"/>
                  </a:cubicBezTo>
                  <a:moveTo>
                    <a:pt x="31" y="106"/>
                  </a:moveTo>
                  <a:cubicBezTo>
                    <a:pt x="31" y="106"/>
                    <a:pt x="30" y="106"/>
                    <a:pt x="29" y="106"/>
                  </a:cubicBezTo>
                  <a:cubicBezTo>
                    <a:pt x="29" y="106"/>
                    <a:pt x="29" y="105"/>
                    <a:pt x="29" y="104"/>
                  </a:cubicBezTo>
                  <a:cubicBezTo>
                    <a:pt x="28" y="103"/>
                    <a:pt x="30" y="105"/>
                    <a:pt x="31" y="105"/>
                  </a:cubicBezTo>
                  <a:cubicBezTo>
                    <a:pt x="31" y="106"/>
                    <a:pt x="31" y="106"/>
                    <a:pt x="31" y="106"/>
                  </a:cubicBezTo>
                  <a:moveTo>
                    <a:pt x="27" y="103"/>
                  </a:moveTo>
                  <a:cubicBezTo>
                    <a:pt x="22" y="103"/>
                    <a:pt x="22" y="101"/>
                    <a:pt x="21" y="100"/>
                  </a:cubicBezTo>
                  <a:cubicBezTo>
                    <a:pt x="18" y="100"/>
                    <a:pt x="18" y="100"/>
                    <a:pt x="18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5" y="100"/>
                    <a:pt x="15" y="102"/>
                    <a:pt x="14" y="102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99"/>
                    <a:pt x="13" y="99"/>
                  </a:cubicBezTo>
                  <a:cubicBezTo>
                    <a:pt x="13" y="98"/>
                    <a:pt x="14" y="98"/>
                    <a:pt x="14" y="98"/>
                  </a:cubicBezTo>
                  <a:cubicBezTo>
                    <a:pt x="14" y="97"/>
                    <a:pt x="14" y="97"/>
                    <a:pt x="14" y="96"/>
                  </a:cubicBezTo>
                  <a:cubicBezTo>
                    <a:pt x="14" y="95"/>
                    <a:pt x="14" y="94"/>
                    <a:pt x="14" y="93"/>
                  </a:cubicBezTo>
                  <a:cubicBezTo>
                    <a:pt x="14" y="93"/>
                    <a:pt x="13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1" y="94"/>
                    <a:pt x="12" y="93"/>
                    <a:pt x="12" y="92"/>
                  </a:cubicBezTo>
                  <a:cubicBezTo>
                    <a:pt x="12" y="92"/>
                    <a:pt x="12" y="91"/>
                    <a:pt x="12" y="91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89"/>
                    <a:pt x="16" y="89"/>
                    <a:pt x="16" y="90"/>
                  </a:cubicBezTo>
                  <a:cubicBezTo>
                    <a:pt x="16" y="90"/>
                    <a:pt x="18" y="91"/>
                    <a:pt x="18" y="91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92"/>
                    <a:pt x="17" y="92"/>
                    <a:pt x="17" y="93"/>
                  </a:cubicBezTo>
                  <a:cubicBezTo>
                    <a:pt x="17" y="93"/>
                    <a:pt x="17" y="93"/>
                    <a:pt x="17" y="93"/>
                  </a:cubicBezTo>
                  <a:cubicBezTo>
                    <a:pt x="17" y="94"/>
                    <a:pt x="16" y="95"/>
                    <a:pt x="16" y="95"/>
                  </a:cubicBezTo>
                  <a:cubicBezTo>
                    <a:pt x="16" y="96"/>
                    <a:pt x="17" y="96"/>
                    <a:pt x="17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7"/>
                    <a:pt x="17" y="96"/>
                    <a:pt x="17" y="95"/>
                  </a:cubicBezTo>
                  <a:cubicBezTo>
                    <a:pt x="17" y="95"/>
                    <a:pt x="18" y="93"/>
                    <a:pt x="17" y="93"/>
                  </a:cubicBezTo>
                  <a:cubicBezTo>
                    <a:pt x="18" y="93"/>
                    <a:pt x="18" y="93"/>
                    <a:pt x="18" y="93"/>
                  </a:cubicBezTo>
                  <a:cubicBezTo>
                    <a:pt x="19" y="93"/>
                    <a:pt x="19" y="94"/>
                    <a:pt x="19" y="95"/>
                  </a:cubicBezTo>
                  <a:cubicBezTo>
                    <a:pt x="19" y="96"/>
                    <a:pt x="20" y="96"/>
                    <a:pt x="20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3" y="96"/>
                    <a:pt x="23" y="96"/>
                    <a:pt x="23" y="97"/>
                  </a:cubicBezTo>
                  <a:cubicBezTo>
                    <a:pt x="24" y="97"/>
                    <a:pt x="25" y="97"/>
                    <a:pt x="25" y="97"/>
                  </a:cubicBezTo>
                  <a:cubicBezTo>
                    <a:pt x="25" y="96"/>
                    <a:pt x="26" y="95"/>
                    <a:pt x="26" y="94"/>
                  </a:cubicBezTo>
                  <a:cubicBezTo>
                    <a:pt x="26" y="94"/>
                    <a:pt x="26" y="93"/>
                    <a:pt x="26" y="92"/>
                  </a:cubicBezTo>
                  <a:cubicBezTo>
                    <a:pt x="27" y="92"/>
                    <a:pt x="27" y="91"/>
                    <a:pt x="28" y="90"/>
                  </a:cubicBezTo>
                  <a:cubicBezTo>
                    <a:pt x="28" y="91"/>
                    <a:pt x="28" y="91"/>
                    <a:pt x="28" y="91"/>
                  </a:cubicBezTo>
                  <a:cubicBezTo>
                    <a:pt x="28" y="93"/>
                    <a:pt x="27" y="96"/>
                    <a:pt x="27" y="97"/>
                  </a:cubicBezTo>
                  <a:cubicBezTo>
                    <a:pt x="26" y="98"/>
                    <a:pt x="26" y="98"/>
                    <a:pt x="25" y="98"/>
                  </a:cubicBezTo>
                  <a:cubicBezTo>
                    <a:pt x="24" y="98"/>
                    <a:pt x="24" y="98"/>
                    <a:pt x="25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8"/>
                    <a:pt x="26" y="98"/>
                    <a:pt x="27" y="98"/>
                  </a:cubicBezTo>
                  <a:cubicBezTo>
                    <a:pt x="27" y="97"/>
                    <a:pt x="27" y="97"/>
                    <a:pt x="27" y="98"/>
                  </a:cubicBezTo>
                  <a:cubicBezTo>
                    <a:pt x="27" y="98"/>
                    <a:pt x="28" y="99"/>
                    <a:pt x="24" y="99"/>
                  </a:cubicBezTo>
                  <a:cubicBezTo>
                    <a:pt x="25" y="99"/>
                    <a:pt x="26" y="101"/>
                    <a:pt x="26" y="101"/>
                  </a:cubicBezTo>
                  <a:cubicBezTo>
                    <a:pt x="27" y="101"/>
                    <a:pt x="32" y="103"/>
                    <a:pt x="27" y="103"/>
                  </a:cubicBezTo>
                  <a:moveTo>
                    <a:pt x="23" y="106"/>
                  </a:moveTo>
                  <a:cubicBezTo>
                    <a:pt x="23" y="106"/>
                    <a:pt x="23" y="103"/>
                    <a:pt x="18" y="103"/>
                  </a:cubicBezTo>
                  <a:cubicBezTo>
                    <a:pt x="17" y="102"/>
                    <a:pt x="13" y="105"/>
                    <a:pt x="12" y="104"/>
                  </a:cubicBezTo>
                  <a:cubicBezTo>
                    <a:pt x="8" y="103"/>
                    <a:pt x="10" y="101"/>
                    <a:pt x="10" y="101"/>
                  </a:cubicBezTo>
                  <a:cubicBezTo>
                    <a:pt x="10" y="99"/>
                    <a:pt x="9" y="98"/>
                    <a:pt x="9" y="97"/>
                  </a:cubicBezTo>
                  <a:cubicBezTo>
                    <a:pt x="9" y="97"/>
                    <a:pt x="9" y="96"/>
                    <a:pt x="9" y="96"/>
                  </a:cubicBezTo>
                  <a:cubicBezTo>
                    <a:pt x="9" y="95"/>
                    <a:pt x="9" y="95"/>
                    <a:pt x="8" y="94"/>
                  </a:cubicBezTo>
                  <a:cubicBezTo>
                    <a:pt x="8" y="92"/>
                    <a:pt x="8" y="90"/>
                    <a:pt x="9" y="90"/>
                  </a:cubicBezTo>
                  <a:cubicBezTo>
                    <a:pt x="10" y="90"/>
                    <a:pt x="10" y="90"/>
                    <a:pt x="10" y="91"/>
                  </a:cubicBezTo>
                  <a:cubicBezTo>
                    <a:pt x="10" y="91"/>
                    <a:pt x="9" y="91"/>
                    <a:pt x="9" y="92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0"/>
                    <a:pt x="11" y="90"/>
                  </a:cubicBezTo>
                  <a:cubicBezTo>
                    <a:pt x="12" y="89"/>
                    <a:pt x="11" y="91"/>
                    <a:pt x="11" y="92"/>
                  </a:cubicBezTo>
                  <a:cubicBezTo>
                    <a:pt x="11" y="93"/>
                    <a:pt x="10" y="95"/>
                    <a:pt x="11" y="95"/>
                  </a:cubicBezTo>
                  <a:cubicBezTo>
                    <a:pt x="12" y="95"/>
                    <a:pt x="12" y="95"/>
                    <a:pt x="12" y="96"/>
                  </a:cubicBezTo>
                  <a:cubicBezTo>
                    <a:pt x="13" y="96"/>
                    <a:pt x="13" y="97"/>
                    <a:pt x="13" y="98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12" y="99"/>
                    <a:pt x="13" y="100"/>
                    <a:pt x="13" y="101"/>
                  </a:cubicBezTo>
                  <a:cubicBezTo>
                    <a:pt x="12" y="101"/>
                    <a:pt x="12" y="101"/>
                    <a:pt x="12" y="102"/>
                  </a:cubicBezTo>
                  <a:cubicBezTo>
                    <a:pt x="11" y="103"/>
                    <a:pt x="11" y="103"/>
                    <a:pt x="12" y="103"/>
                  </a:cubicBezTo>
                  <a:cubicBezTo>
                    <a:pt x="13" y="104"/>
                    <a:pt x="15" y="103"/>
                    <a:pt x="16" y="102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7" y="101"/>
                    <a:pt x="18" y="102"/>
                  </a:cubicBezTo>
                  <a:cubicBezTo>
                    <a:pt x="18" y="102"/>
                    <a:pt x="20" y="101"/>
                    <a:pt x="20" y="101"/>
                  </a:cubicBezTo>
                  <a:cubicBezTo>
                    <a:pt x="24" y="103"/>
                    <a:pt x="24" y="103"/>
                    <a:pt x="24" y="103"/>
                  </a:cubicBezTo>
                  <a:cubicBezTo>
                    <a:pt x="24" y="104"/>
                    <a:pt x="25" y="105"/>
                    <a:pt x="23" y="106"/>
                  </a:cubicBezTo>
                  <a:moveTo>
                    <a:pt x="18" y="105"/>
                  </a:moveTo>
                  <a:cubicBezTo>
                    <a:pt x="18" y="105"/>
                    <a:pt x="18" y="105"/>
                    <a:pt x="18" y="105"/>
                  </a:cubicBezTo>
                  <a:cubicBezTo>
                    <a:pt x="18" y="105"/>
                    <a:pt x="18" y="106"/>
                    <a:pt x="15" y="106"/>
                  </a:cubicBezTo>
                  <a:cubicBezTo>
                    <a:pt x="13" y="106"/>
                    <a:pt x="13" y="106"/>
                    <a:pt x="13" y="106"/>
                  </a:cubicBezTo>
                  <a:cubicBezTo>
                    <a:pt x="13" y="106"/>
                    <a:pt x="14" y="106"/>
                    <a:pt x="14" y="105"/>
                  </a:cubicBezTo>
                  <a:cubicBezTo>
                    <a:pt x="13" y="105"/>
                    <a:pt x="13" y="105"/>
                    <a:pt x="13" y="105"/>
                  </a:cubicBezTo>
                  <a:cubicBezTo>
                    <a:pt x="13" y="105"/>
                    <a:pt x="14" y="104"/>
                    <a:pt x="15" y="104"/>
                  </a:cubicBezTo>
                  <a:cubicBezTo>
                    <a:pt x="15" y="104"/>
                    <a:pt x="16" y="104"/>
                    <a:pt x="16" y="104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8" y="103"/>
                    <a:pt x="19" y="103"/>
                  </a:cubicBezTo>
                  <a:cubicBezTo>
                    <a:pt x="20" y="103"/>
                    <a:pt x="20" y="103"/>
                    <a:pt x="20" y="103"/>
                  </a:cubicBezTo>
                  <a:cubicBezTo>
                    <a:pt x="20" y="103"/>
                    <a:pt x="21" y="104"/>
                    <a:pt x="21" y="104"/>
                  </a:cubicBezTo>
                  <a:cubicBezTo>
                    <a:pt x="18" y="105"/>
                    <a:pt x="18" y="105"/>
                    <a:pt x="18" y="105"/>
                  </a:cubicBezTo>
                  <a:cubicBezTo>
                    <a:pt x="18" y="105"/>
                    <a:pt x="18" y="105"/>
                    <a:pt x="18" y="105"/>
                  </a:cubicBezTo>
                  <a:moveTo>
                    <a:pt x="11" y="105"/>
                  </a:moveTo>
                  <a:cubicBezTo>
                    <a:pt x="11" y="105"/>
                    <a:pt x="11" y="105"/>
                    <a:pt x="10" y="104"/>
                  </a:cubicBezTo>
                  <a:cubicBezTo>
                    <a:pt x="10" y="104"/>
                    <a:pt x="10" y="104"/>
                    <a:pt x="11" y="104"/>
                  </a:cubicBezTo>
                  <a:cubicBezTo>
                    <a:pt x="11" y="105"/>
                    <a:pt x="11" y="105"/>
                    <a:pt x="11" y="105"/>
                  </a:cubicBezTo>
                  <a:moveTo>
                    <a:pt x="10" y="106"/>
                  </a:moveTo>
                  <a:cubicBezTo>
                    <a:pt x="8" y="105"/>
                    <a:pt x="8" y="105"/>
                    <a:pt x="8" y="105"/>
                  </a:cubicBezTo>
                  <a:cubicBezTo>
                    <a:pt x="8" y="105"/>
                    <a:pt x="8" y="105"/>
                    <a:pt x="8" y="104"/>
                  </a:cubicBezTo>
                  <a:cubicBezTo>
                    <a:pt x="8" y="104"/>
                    <a:pt x="7" y="101"/>
                    <a:pt x="7" y="100"/>
                  </a:cubicBezTo>
                  <a:cubicBezTo>
                    <a:pt x="7" y="100"/>
                    <a:pt x="7" y="100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8" y="100"/>
                    <a:pt x="8" y="100"/>
                    <a:pt x="9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9" y="101"/>
                    <a:pt x="9" y="101"/>
                    <a:pt x="9" y="101"/>
                  </a:cubicBezTo>
                  <a:cubicBezTo>
                    <a:pt x="9" y="101"/>
                    <a:pt x="10" y="104"/>
                    <a:pt x="10" y="105"/>
                  </a:cubicBezTo>
                  <a:cubicBezTo>
                    <a:pt x="10" y="106"/>
                    <a:pt x="10" y="106"/>
                    <a:pt x="10" y="106"/>
                  </a:cubicBezTo>
                  <a:moveTo>
                    <a:pt x="10" y="88"/>
                  </a:move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0" y="88"/>
                    <a:pt x="10" y="88"/>
                    <a:pt x="10" y="88"/>
                  </a:cubicBezTo>
                  <a:moveTo>
                    <a:pt x="11" y="88"/>
                  </a:move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9"/>
                    <a:pt x="10" y="88"/>
                    <a:pt x="11" y="88"/>
                  </a:cubicBezTo>
                  <a:cubicBezTo>
                    <a:pt x="12" y="88"/>
                    <a:pt x="11" y="88"/>
                    <a:pt x="11" y="88"/>
                  </a:cubicBezTo>
                  <a:moveTo>
                    <a:pt x="13" y="88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3" y="88"/>
                    <a:pt x="13" y="88"/>
                    <a:pt x="13" y="88"/>
                  </a:cubicBezTo>
                  <a:moveTo>
                    <a:pt x="12" y="84"/>
                  </a:moveTo>
                  <a:cubicBezTo>
                    <a:pt x="12" y="84"/>
                    <a:pt x="12" y="82"/>
                    <a:pt x="13" y="83"/>
                  </a:cubicBezTo>
                  <a:cubicBezTo>
                    <a:pt x="14" y="83"/>
                    <a:pt x="13" y="84"/>
                    <a:pt x="12" y="84"/>
                  </a:cubicBezTo>
                  <a:cubicBezTo>
                    <a:pt x="12" y="84"/>
                    <a:pt x="12" y="84"/>
                    <a:pt x="12" y="84"/>
                  </a:cubicBezTo>
                  <a:cubicBezTo>
                    <a:pt x="12" y="85"/>
                    <a:pt x="12" y="85"/>
                    <a:pt x="12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2" y="84"/>
                    <a:pt x="12" y="84"/>
                  </a:cubicBezTo>
                  <a:moveTo>
                    <a:pt x="13" y="85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15" y="84"/>
                    <a:pt x="15" y="85"/>
                    <a:pt x="15" y="85"/>
                  </a:cubicBezTo>
                  <a:cubicBezTo>
                    <a:pt x="14" y="86"/>
                    <a:pt x="14" y="86"/>
                    <a:pt x="14" y="85"/>
                  </a:cubicBezTo>
                  <a:cubicBezTo>
                    <a:pt x="13" y="85"/>
                    <a:pt x="13" y="85"/>
                    <a:pt x="13" y="85"/>
                  </a:cubicBezTo>
                  <a:moveTo>
                    <a:pt x="15" y="82"/>
                  </a:moveTo>
                  <a:cubicBezTo>
                    <a:pt x="15" y="82"/>
                    <a:pt x="15" y="82"/>
                    <a:pt x="15" y="82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3"/>
                    <a:pt x="14" y="82"/>
                    <a:pt x="15" y="82"/>
                  </a:cubicBezTo>
                  <a:moveTo>
                    <a:pt x="15" y="88"/>
                  </a:moveTo>
                  <a:cubicBezTo>
                    <a:pt x="14" y="87"/>
                    <a:pt x="14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6" y="87"/>
                    <a:pt x="15" y="88"/>
                    <a:pt x="15" y="88"/>
                  </a:cubicBezTo>
                  <a:moveTo>
                    <a:pt x="17" y="88"/>
                  </a:moveTo>
                  <a:cubicBezTo>
                    <a:pt x="16" y="88"/>
                    <a:pt x="16" y="88"/>
                    <a:pt x="16" y="88"/>
                  </a:cubicBezTo>
                  <a:cubicBezTo>
                    <a:pt x="16" y="87"/>
                    <a:pt x="16" y="87"/>
                    <a:pt x="17" y="87"/>
                  </a:cubicBezTo>
                  <a:cubicBezTo>
                    <a:pt x="17" y="86"/>
                    <a:pt x="17" y="86"/>
                    <a:pt x="18" y="87"/>
                  </a:cubicBezTo>
                  <a:cubicBezTo>
                    <a:pt x="18" y="87"/>
                    <a:pt x="18" y="88"/>
                    <a:pt x="17" y="88"/>
                  </a:cubicBezTo>
                  <a:moveTo>
                    <a:pt x="19" y="86"/>
                  </a:moveTo>
                  <a:cubicBezTo>
                    <a:pt x="19" y="86"/>
                    <a:pt x="19" y="87"/>
                    <a:pt x="19" y="87"/>
                  </a:cubicBezTo>
                  <a:cubicBezTo>
                    <a:pt x="19" y="88"/>
                    <a:pt x="19" y="88"/>
                    <a:pt x="19" y="88"/>
                  </a:cubicBezTo>
                  <a:cubicBezTo>
                    <a:pt x="18" y="88"/>
                    <a:pt x="18" y="88"/>
                    <a:pt x="18" y="88"/>
                  </a:cubicBezTo>
                  <a:cubicBezTo>
                    <a:pt x="18" y="87"/>
                    <a:pt x="18" y="87"/>
                    <a:pt x="19" y="86"/>
                  </a:cubicBezTo>
                  <a:moveTo>
                    <a:pt x="19" y="93"/>
                  </a:moveTo>
                  <a:cubicBezTo>
                    <a:pt x="19" y="93"/>
                    <a:pt x="19" y="93"/>
                    <a:pt x="18" y="93"/>
                  </a:cubicBezTo>
                  <a:cubicBezTo>
                    <a:pt x="18" y="92"/>
                    <a:pt x="18" y="92"/>
                    <a:pt x="18" y="91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20" y="90"/>
                    <a:pt x="20" y="90"/>
                    <a:pt x="20" y="90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9" y="93"/>
                    <a:pt x="19" y="93"/>
                    <a:pt x="19" y="93"/>
                  </a:cubicBezTo>
                  <a:moveTo>
                    <a:pt x="16" y="84"/>
                  </a:move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8" y="82"/>
                    <a:pt x="19" y="81"/>
                  </a:cubicBezTo>
                  <a:cubicBezTo>
                    <a:pt x="19" y="81"/>
                    <a:pt x="19" y="81"/>
                    <a:pt x="19" y="80"/>
                  </a:cubicBezTo>
                  <a:cubicBezTo>
                    <a:pt x="19" y="79"/>
                    <a:pt x="19" y="80"/>
                    <a:pt x="18" y="80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7" y="78"/>
                    <a:pt x="17" y="75"/>
                    <a:pt x="17" y="74"/>
                  </a:cubicBezTo>
                  <a:cubicBezTo>
                    <a:pt x="18" y="73"/>
                    <a:pt x="18" y="73"/>
                    <a:pt x="18" y="73"/>
                  </a:cubicBezTo>
                  <a:cubicBezTo>
                    <a:pt x="18" y="73"/>
                    <a:pt x="18" y="73"/>
                    <a:pt x="18" y="72"/>
                  </a:cubicBezTo>
                  <a:cubicBezTo>
                    <a:pt x="19" y="69"/>
                    <a:pt x="20" y="65"/>
                    <a:pt x="19" y="62"/>
                  </a:cubicBezTo>
                  <a:cubicBezTo>
                    <a:pt x="19" y="61"/>
                    <a:pt x="18" y="59"/>
                    <a:pt x="18" y="59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20" y="57"/>
                    <a:pt x="22" y="54"/>
                    <a:pt x="23" y="53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3" y="54"/>
                    <a:pt x="23" y="54"/>
                    <a:pt x="23" y="55"/>
                  </a:cubicBezTo>
                  <a:cubicBezTo>
                    <a:pt x="23" y="55"/>
                    <a:pt x="24" y="56"/>
                    <a:pt x="24" y="57"/>
                  </a:cubicBezTo>
                  <a:cubicBezTo>
                    <a:pt x="25" y="57"/>
                    <a:pt x="24" y="59"/>
                    <a:pt x="24" y="61"/>
                  </a:cubicBezTo>
                  <a:cubicBezTo>
                    <a:pt x="24" y="62"/>
                    <a:pt x="25" y="64"/>
                    <a:pt x="25" y="66"/>
                  </a:cubicBezTo>
                  <a:cubicBezTo>
                    <a:pt x="26" y="68"/>
                    <a:pt x="25" y="73"/>
                    <a:pt x="24" y="75"/>
                  </a:cubicBezTo>
                  <a:cubicBezTo>
                    <a:pt x="23" y="76"/>
                    <a:pt x="22" y="78"/>
                    <a:pt x="22" y="79"/>
                  </a:cubicBezTo>
                  <a:cubicBezTo>
                    <a:pt x="22" y="80"/>
                    <a:pt x="22" y="81"/>
                    <a:pt x="21" y="81"/>
                  </a:cubicBezTo>
                  <a:cubicBezTo>
                    <a:pt x="21" y="82"/>
                    <a:pt x="20" y="82"/>
                    <a:pt x="20" y="83"/>
                  </a:cubicBezTo>
                  <a:cubicBezTo>
                    <a:pt x="20" y="83"/>
                    <a:pt x="20" y="83"/>
                    <a:pt x="20" y="84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4"/>
                  </a:cubicBezTo>
                  <a:moveTo>
                    <a:pt x="17" y="61"/>
                  </a:moveTo>
                  <a:cubicBezTo>
                    <a:pt x="17" y="61"/>
                    <a:pt x="17" y="59"/>
                    <a:pt x="17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61"/>
                    <a:pt x="18" y="64"/>
                    <a:pt x="18" y="65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5"/>
                    <a:pt x="17" y="62"/>
                    <a:pt x="17" y="61"/>
                  </a:cubicBezTo>
                  <a:moveTo>
                    <a:pt x="16" y="58"/>
                  </a:moveTo>
                  <a:cubicBezTo>
                    <a:pt x="15" y="57"/>
                    <a:pt x="15" y="57"/>
                    <a:pt x="15" y="56"/>
                  </a:cubicBezTo>
                  <a:cubicBezTo>
                    <a:pt x="16" y="56"/>
                    <a:pt x="16" y="56"/>
                    <a:pt x="17" y="57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8" y="56"/>
                    <a:pt x="18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7"/>
                    <a:pt x="18" y="57"/>
                    <a:pt x="18" y="57"/>
                  </a:cubicBezTo>
                  <a:cubicBezTo>
                    <a:pt x="17" y="58"/>
                    <a:pt x="16" y="58"/>
                    <a:pt x="16" y="58"/>
                  </a:cubicBezTo>
                  <a:moveTo>
                    <a:pt x="14" y="54"/>
                  </a:moveTo>
                  <a:cubicBezTo>
                    <a:pt x="14" y="54"/>
                    <a:pt x="14" y="54"/>
                    <a:pt x="14" y="5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2"/>
                    <a:pt x="11" y="51"/>
                    <a:pt x="11" y="51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4" y="53"/>
                    <a:pt x="15" y="53"/>
                  </a:cubicBezTo>
                  <a:cubicBezTo>
                    <a:pt x="15" y="54"/>
                    <a:pt x="15" y="54"/>
                    <a:pt x="15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56"/>
                    <a:pt x="14" y="55"/>
                    <a:pt x="14" y="54"/>
                  </a:cubicBezTo>
                  <a:moveTo>
                    <a:pt x="10" y="47"/>
                  </a:moveTo>
                  <a:cubicBezTo>
                    <a:pt x="10" y="47"/>
                    <a:pt x="11" y="46"/>
                    <a:pt x="11" y="46"/>
                  </a:cubicBezTo>
                  <a:cubicBezTo>
                    <a:pt x="11" y="46"/>
                    <a:pt x="10" y="45"/>
                    <a:pt x="10" y="44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2"/>
                    <a:pt x="12" y="45"/>
                    <a:pt x="13" y="45"/>
                  </a:cubicBezTo>
                  <a:cubicBezTo>
                    <a:pt x="13" y="47"/>
                    <a:pt x="13" y="47"/>
                    <a:pt x="13" y="48"/>
                  </a:cubicBezTo>
                  <a:cubicBezTo>
                    <a:pt x="13" y="49"/>
                    <a:pt x="12" y="50"/>
                    <a:pt x="12" y="50"/>
                  </a:cubicBezTo>
                  <a:cubicBezTo>
                    <a:pt x="12" y="50"/>
                    <a:pt x="11" y="49"/>
                    <a:pt x="11" y="48"/>
                  </a:cubicBezTo>
                  <a:cubicBezTo>
                    <a:pt x="11" y="48"/>
                    <a:pt x="10" y="47"/>
                    <a:pt x="10" y="47"/>
                  </a:cubicBezTo>
                  <a:moveTo>
                    <a:pt x="11" y="40"/>
                  </a:moveTo>
                  <a:cubicBezTo>
                    <a:pt x="12" y="40"/>
                    <a:pt x="12" y="41"/>
                    <a:pt x="12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3" y="41"/>
                    <a:pt x="13" y="42"/>
                    <a:pt x="13" y="4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2" y="42"/>
                    <a:pt x="11" y="41"/>
                  </a:cubicBezTo>
                  <a:cubicBezTo>
                    <a:pt x="11" y="41"/>
                    <a:pt x="11" y="40"/>
                    <a:pt x="11" y="40"/>
                  </a:cubicBezTo>
                  <a:moveTo>
                    <a:pt x="11" y="32"/>
                  </a:moveTo>
                  <a:cubicBezTo>
                    <a:pt x="10" y="33"/>
                    <a:pt x="11" y="33"/>
                    <a:pt x="9" y="34"/>
                  </a:cubicBezTo>
                  <a:cubicBezTo>
                    <a:pt x="9" y="34"/>
                    <a:pt x="9" y="35"/>
                    <a:pt x="8" y="35"/>
                  </a:cubicBezTo>
                  <a:cubicBezTo>
                    <a:pt x="8" y="34"/>
                    <a:pt x="8" y="34"/>
                    <a:pt x="8" y="33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1"/>
                    <a:pt x="10" y="32"/>
                    <a:pt x="10" y="31"/>
                  </a:cubicBezTo>
                  <a:cubicBezTo>
                    <a:pt x="11" y="30"/>
                    <a:pt x="11" y="30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2" y="27"/>
                    <a:pt x="11" y="27"/>
                  </a:cubicBezTo>
                  <a:cubicBezTo>
                    <a:pt x="11" y="27"/>
                    <a:pt x="10" y="24"/>
                    <a:pt x="7" y="24"/>
                  </a:cubicBezTo>
                  <a:cubicBezTo>
                    <a:pt x="3" y="24"/>
                    <a:pt x="3" y="27"/>
                    <a:pt x="3" y="27"/>
                  </a:cubicBezTo>
                  <a:cubicBezTo>
                    <a:pt x="2" y="27"/>
                    <a:pt x="2" y="26"/>
                    <a:pt x="2" y="26"/>
                  </a:cubicBezTo>
                  <a:cubicBezTo>
                    <a:pt x="1" y="24"/>
                    <a:pt x="3" y="24"/>
                    <a:pt x="4" y="23"/>
                  </a:cubicBezTo>
                  <a:cubicBezTo>
                    <a:pt x="4" y="22"/>
                    <a:pt x="4" y="22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5" y="19"/>
                    <a:pt x="6" y="19"/>
                    <a:pt x="7" y="20"/>
                  </a:cubicBezTo>
                  <a:cubicBezTo>
                    <a:pt x="7" y="20"/>
                    <a:pt x="8" y="20"/>
                    <a:pt x="8" y="20"/>
                  </a:cubicBezTo>
                  <a:cubicBezTo>
                    <a:pt x="8" y="20"/>
                    <a:pt x="8" y="20"/>
                    <a:pt x="8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8" y="17"/>
                    <a:pt x="9" y="16"/>
                  </a:cubicBezTo>
                  <a:cubicBezTo>
                    <a:pt x="9" y="16"/>
                    <a:pt x="9" y="17"/>
                    <a:pt x="10" y="17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2" y="20"/>
                    <a:pt x="11" y="20"/>
                  </a:cubicBezTo>
                  <a:cubicBezTo>
                    <a:pt x="11" y="20"/>
                    <a:pt x="10" y="20"/>
                    <a:pt x="10" y="21"/>
                  </a:cubicBezTo>
                  <a:cubicBezTo>
                    <a:pt x="10" y="21"/>
                    <a:pt x="12" y="22"/>
                    <a:pt x="12" y="22"/>
                  </a:cubicBezTo>
                  <a:cubicBezTo>
                    <a:pt x="13" y="23"/>
                    <a:pt x="13" y="24"/>
                    <a:pt x="13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3" y="27"/>
                    <a:pt x="13" y="28"/>
                  </a:cubicBezTo>
                  <a:cubicBezTo>
                    <a:pt x="13" y="28"/>
                    <a:pt x="13" y="28"/>
                    <a:pt x="12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3" y="31"/>
                    <a:pt x="13" y="31"/>
                  </a:cubicBezTo>
                  <a:cubicBezTo>
                    <a:pt x="13" y="32"/>
                    <a:pt x="12" y="32"/>
                    <a:pt x="11" y="32"/>
                  </a:cubicBezTo>
                  <a:moveTo>
                    <a:pt x="6" y="31"/>
                  </a:moveTo>
                  <a:cubicBezTo>
                    <a:pt x="6" y="31"/>
                    <a:pt x="5" y="31"/>
                    <a:pt x="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29"/>
                    <a:pt x="7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1"/>
                    <a:pt x="7" y="31"/>
                    <a:pt x="6" y="31"/>
                  </a:cubicBezTo>
                  <a:moveTo>
                    <a:pt x="5" y="28"/>
                  </a:moveTo>
                  <a:cubicBezTo>
                    <a:pt x="4" y="28"/>
                    <a:pt x="4" y="28"/>
                    <a:pt x="4" y="27"/>
                  </a:cubicBezTo>
                  <a:cubicBezTo>
                    <a:pt x="5" y="26"/>
                    <a:pt x="5" y="26"/>
                    <a:pt x="6" y="26"/>
                  </a:cubicBezTo>
                  <a:cubicBezTo>
                    <a:pt x="6" y="26"/>
                    <a:pt x="7" y="26"/>
                    <a:pt x="6" y="27"/>
                  </a:cubicBezTo>
                  <a:cubicBezTo>
                    <a:pt x="6" y="27"/>
                    <a:pt x="5" y="29"/>
                    <a:pt x="5" y="28"/>
                  </a:cubicBezTo>
                  <a:moveTo>
                    <a:pt x="10" y="14"/>
                  </a:moveTo>
                  <a:cubicBezTo>
                    <a:pt x="11" y="13"/>
                    <a:pt x="13" y="13"/>
                    <a:pt x="15" y="12"/>
                  </a:cubicBezTo>
                  <a:cubicBezTo>
                    <a:pt x="15" y="12"/>
                    <a:pt x="15" y="12"/>
                    <a:pt x="16" y="12"/>
                  </a:cubicBezTo>
                  <a:cubicBezTo>
                    <a:pt x="17" y="13"/>
                    <a:pt x="18" y="14"/>
                    <a:pt x="18" y="16"/>
                  </a:cubicBezTo>
                  <a:cubicBezTo>
                    <a:pt x="18" y="17"/>
                    <a:pt x="17" y="17"/>
                    <a:pt x="17" y="18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17" y="19"/>
                    <a:pt x="17" y="19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7" y="24"/>
                    <a:pt x="17" y="25"/>
                    <a:pt x="17" y="25"/>
                  </a:cubicBezTo>
                  <a:cubicBezTo>
                    <a:pt x="17" y="26"/>
                    <a:pt x="16" y="26"/>
                    <a:pt x="16" y="25"/>
                  </a:cubicBezTo>
                  <a:cubicBezTo>
                    <a:pt x="15" y="25"/>
                    <a:pt x="15" y="25"/>
                    <a:pt x="14" y="25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3"/>
                    <a:pt x="14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2"/>
                    <a:pt x="14" y="23"/>
                    <a:pt x="14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1"/>
                    <a:pt x="14" y="21"/>
                    <a:pt x="15" y="21"/>
                  </a:cubicBezTo>
                  <a:cubicBezTo>
                    <a:pt x="15" y="20"/>
                    <a:pt x="15" y="20"/>
                    <a:pt x="16" y="19"/>
                  </a:cubicBezTo>
                  <a:cubicBezTo>
                    <a:pt x="16" y="18"/>
                    <a:pt x="15" y="17"/>
                    <a:pt x="14" y="16"/>
                  </a:cubicBezTo>
                  <a:cubicBezTo>
                    <a:pt x="13" y="16"/>
                    <a:pt x="15" y="18"/>
                    <a:pt x="15" y="18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3" y="20"/>
                    <a:pt x="14" y="19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7"/>
                    <a:pt x="13" y="17"/>
                    <a:pt x="12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5"/>
                    <a:pt x="9" y="15"/>
                    <a:pt x="10" y="14"/>
                  </a:cubicBezTo>
                  <a:moveTo>
                    <a:pt x="18" y="19"/>
                  </a:moveTo>
                  <a:cubicBezTo>
                    <a:pt x="18" y="19"/>
                    <a:pt x="19" y="19"/>
                    <a:pt x="19" y="20"/>
                  </a:cubicBezTo>
                  <a:cubicBezTo>
                    <a:pt x="20" y="20"/>
                    <a:pt x="21" y="20"/>
                    <a:pt x="21" y="2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2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1" y="22"/>
                    <a:pt x="21" y="22"/>
                    <a:pt x="20" y="22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8" y="19"/>
                    <a:pt x="18" y="19"/>
                    <a:pt x="18" y="19"/>
                  </a:cubicBezTo>
                  <a:moveTo>
                    <a:pt x="19" y="13"/>
                  </a:moveTo>
                  <a:cubicBezTo>
                    <a:pt x="19" y="13"/>
                    <a:pt x="20" y="14"/>
                    <a:pt x="20" y="14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4"/>
                    <a:pt x="18" y="14"/>
                    <a:pt x="19" y="13"/>
                  </a:cubicBezTo>
                  <a:moveTo>
                    <a:pt x="20" y="16"/>
                  </a:moveTo>
                  <a:cubicBezTo>
                    <a:pt x="20" y="16"/>
                    <a:pt x="21" y="16"/>
                    <a:pt x="21" y="16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1" y="19"/>
                    <a:pt x="20" y="18"/>
                    <a:pt x="19" y="18"/>
                  </a:cubicBezTo>
                  <a:cubicBezTo>
                    <a:pt x="19" y="18"/>
                    <a:pt x="19" y="17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6"/>
                    <a:pt x="20" y="16"/>
                    <a:pt x="20" y="16"/>
                  </a:cubicBezTo>
                  <a:moveTo>
                    <a:pt x="23" y="27"/>
                  </a:moveTo>
                  <a:cubicBezTo>
                    <a:pt x="24" y="28"/>
                    <a:pt x="25" y="28"/>
                    <a:pt x="25" y="29"/>
                  </a:cubicBezTo>
                  <a:cubicBezTo>
                    <a:pt x="25" y="30"/>
                    <a:pt x="25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3" y="30"/>
                    <a:pt x="23" y="29"/>
                    <a:pt x="22" y="28"/>
                  </a:cubicBezTo>
                  <a:cubicBezTo>
                    <a:pt x="22" y="27"/>
                    <a:pt x="22" y="27"/>
                    <a:pt x="23" y="27"/>
                  </a:cubicBezTo>
                  <a:moveTo>
                    <a:pt x="23" y="24"/>
                  </a:moveTo>
                  <a:cubicBezTo>
                    <a:pt x="24" y="24"/>
                    <a:pt x="25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6"/>
                    <a:pt x="23" y="25"/>
                    <a:pt x="23" y="25"/>
                  </a:cubicBezTo>
                  <a:cubicBezTo>
                    <a:pt x="23" y="24"/>
                    <a:pt x="23" y="24"/>
                    <a:pt x="23" y="24"/>
                  </a:cubicBezTo>
                  <a:moveTo>
                    <a:pt x="23" y="21"/>
                  </a:moveTo>
                  <a:cubicBezTo>
                    <a:pt x="23" y="21"/>
                    <a:pt x="24" y="19"/>
                    <a:pt x="24" y="19"/>
                  </a:cubicBezTo>
                  <a:cubicBezTo>
                    <a:pt x="24" y="19"/>
                    <a:pt x="24" y="20"/>
                    <a:pt x="24" y="21"/>
                  </a:cubicBezTo>
                  <a:cubicBezTo>
                    <a:pt x="24" y="21"/>
                    <a:pt x="24" y="22"/>
                    <a:pt x="24" y="2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2"/>
                    <a:pt x="23" y="21"/>
                  </a:cubicBezTo>
                  <a:moveTo>
                    <a:pt x="24" y="18"/>
                  </a:move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6" y="18"/>
                    <a:pt x="27" y="18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8" y="19"/>
                    <a:pt x="28" y="20"/>
                    <a:pt x="28" y="21"/>
                  </a:cubicBezTo>
                  <a:cubicBezTo>
                    <a:pt x="27" y="21"/>
                    <a:pt x="26" y="22"/>
                    <a:pt x="25" y="22"/>
                  </a:cubicBezTo>
                  <a:cubicBezTo>
                    <a:pt x="24" y="21"/>
                    <a:pt x="25" y="20"/>
                    <a:pt x="25" y="19"/>
                  </a:cubicBezTo>
                  <a:cubicBezTo>
                    <a:pt x="25" y="19"/>
                    <a:pt x="25" y="19"/>
                    <a:pt x="25" y="18"/>
                  </a:cubicBezTo>
                  <a:cubicBezTo>
                    <a:pt x="24" y="18"/>
                    <a:pt x="24" y="18"/>
                    <a:pt x="24" y="18"/>
                  </a:cubicBezTo>
                  <a:moveTo>
                    <a:pt x="25" y="12"/>
                  </a:moveTo>
                  <a:cubicBezTo>
                    <a:pt x="26" y="11"/>
                    <a:pt x="27" y="12"/>
                    <a:pt x="28" y="13"/>
                  </a:cubicBezTo>
                  <a:cubicBezTo>
                    <a:pt x="28" y="13"/>
                    <a:pt x="28" y="14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6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5" y="16"/>
                    <a:pt x="25" y="16"/>
                    <a:pt x="25" y="15"/>
                  </a:cubicBezTo>
                  <a:cubicBezTo>
                    <a:pt x="24" y="14"/>
                    <a:pt x="25" y="12"/>
                    <a:pt x="25" y="12"/>
                  </a:cubicBezTo>
                  <a:moveTo>
                    <a:pt x="26" y="7"/>
                  </a:moveTo>
                  <a:cubicBezTo>
                    <a:pt x="26" y="6"/>
                    <a:pt x="27" y="5"/>
                    <a:pt x="28" y="6"/>
                  </a:cubicBezTo>
                  <a:cubicBezTo>
                    <a:pt x="29" y="6"/>
                    <a:pt x="30" y="7"/>
                    <a:pt x="30" y="7"/>
                  </a:cubicBezTo>
                  <a:cubicBezTo>
                    <a:pt x="30" y="8"/>
                    <a:pt x="28" y="11"/>
                    <a:pt x="27" y="11"/>
                  </a:cubicBezTo>
                  <a:cubicBezTo>
                    <a:pt x="26" y="10"/>
                    <a:pt x="26" y="10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6" y="7"/>
                  </a:cubicBezTo>
                  <a:moveTo>
                    <a:pt x="30" y="5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31" y="5"/>
                    <a:pt x="32" y="7"/>
                    <a:pt x="32" y="7"/>
                  </a:cubicBezTo>
                  <a:cubicBezTo>
                    <a:pt x="32" y="7"/>
                    <a:pt x="32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7"/>
                    <a:pt x="30" y="7"/>
                    <a:pt x="30" y="6"/>
                  </a:cubicBezTo>
                  <a:cubicBezTo>
                    <a:pt x="30" y="6"/>
                    <a:pt x="29" y="5"/>
                    <a:pt x="30" y="5"/>
                  </a:cubicBezTo>
                  <a:moveTo>
                    <a:pt x="31" y="3"/>
                  </a:move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3"/>
                    <a:pt x="31" y="3"/>
                    <a:pt x="31" y="3"/>
                  </a:cubicBezTo>
                  <a:moveTo>
                    <a:pt x="32" y="5"/>
                  </a:moveTo>
                  <a:cubicBezTo>
                    <a:pt x="32" y="4"/>
                    <a:pt x="32" y="4"/>
                    <a:pt x="32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6"/>
                    <a:pt x="34" y="7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1" y="5"/>
                    <a:pt x="32" y="5"/>
                  </a:cubicBezTo>
                  <a:moveTo>
                    <a:pt x="33" y="3"/>
                  </a:moveTo>
                  <a:cubicBezTo>
                    <a:pt x="33" y="3"/>
                    <a:pt x="33" y="1"/>
                    <a:pt x="34" y="2"/>
                  </a:cubicBezTo>
                  <a:cubicBezTo>
                    <a:pt x="34" y="2"/>
                    <a:pt x="35" y="3"/>
                    <a:pt x="35" y="3"/>
                  </a:cubicBezTo>
                  <a:cubicBezTo>
                    <a:pt x="35" y="4"/>
                    <a:pt x="35" y="3"/>
                    <a:pt x="34" y="3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3" y="4"/>
                    <a:pt x="33" y="3"/>
                  </a:cubicBezTo>
                  <a:moveTo>
                    <a:pt x="35" y="6"/>
                  </a:moveTo>
                  <a:cubicBezTo>
                    <a:pt x="35" y="7"/>
                    <a:pt x="35" y="7"/>
                    <a:pt x="35" y="7"/>
                  </a:cubicBezTo>
                  <a:cubicBezTo>
                    <a:pt x="34" y="7"/>
                    <a:pt x="34" y="7"/>
                    <a:pt x="34" y="6"/>
                  </a:cubicBezTo>
                  <a:cubicBezTo>
                    <a:pt x="34" y="5"/>
                    <a:pt x="34" y="4"/>
                    <a:pt x="35" y="4"/>
                  </a:cubicBezTo>
                  <a:cubicBezTo>
                    <a:pt x="35" y="5"/>
                    <a:pt x="35" y="5"/>
                    <a:pt x="35" y="6"/>
                  </a:cubicBezTo>
                  <a:moveTo>
                    <a:pt x="36" y="5"/>
                  </a:moveTo>
                  <a:cubicBezTo>
                    <a:pt x="37" y="4"/>
                    <a:pt x="37" y="4"/>
                    <a:pt x="37" y="4"/>
                  </a:cubicBezTo>
                  <a:cubicBezTo>
                    <a:pt x="37" y="4"/>
                    <a:pt x="38" y="5"/>
                    <a:pt x="38" y="6"/>
                  </a:cubicBezTo>
                  <a:cubicBezTo>
                    <a:pt x="38" y="6"/>
                    <a:pt x="38" y="6"/>
                    <a:pt x="37" y="6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6" y="5"/>
                    <a:pt x="36" y="5"/>
                    <a:pt x="36" y="5"/>
                  </a:cubicBezTo>
                  <a:moveTo>
                    <a:pt x="38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9" y="3"/>
                    <a:pt x="39" y="3"/>
                    <a:pt x="38" y="4"/>
                  </a:cubicBezTo>
                  <a:cubicBezTo>
                    <a:pt x="38" y="4"/>
                    <a:pt x="38" y="4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moveTo>
                    <a:pt x="39" y="4"/>
                  </a:moveTo>
                  <a:cubicBezTo>
                    <a:pt x="39" y="4"/>
                    <a:pt x="40" y="4"/>
                    <a:pt x="40" y="5"/>
                  </a:cubicBezTo>
                  <a:cubicBezTo>
                    <a:pt x="40" y="6"/>
                    <a:pt x="40" y="7"/>
                    <a:pt x="39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4"/>
                    <a:pt x="39" y="4"/>
                  </a:cubicBezTo>
                  <a:moveTo>
                    <a:pt x="41" y="4"/>
                  </a:moveTo>
                  <a:cubicBezTo>
                    <a:pt x="41" y="5"/>
                    <a:pt x="41" y="5"/>
                    <a:pt x="41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40" y="4"/>
                    <a:pt x="40" y="4"/>
                  </a:cubicBezTo>
                  <a:lnTo>
                    <a:pt x="41" y="4"/>
                  </a:lnTo>
                  <a:close/>
                  <a:moveTo>
                    <a:pt x="42" y="9"/>
                  </a:moveTo>
                  <a:cubicBezTo>
                    <a:pt x="43" y="9"/>
                    <a:pt x="44" y="10"/>
                    <a:pt x="45" y="10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2"/>
                    <a:pt x="45" y="13"/>
                    <a:pt x="45" y="13"/>
                  </a:cubicBezTo>
                  <a:cubicBezTo>
                    <a:pt x="45" y="14"/>
                    <a:pt x="46" y="15"/>
                    <a:pt x="46" y="16"/>
                  </a:cubicBezTo>
                  <a:cubicBezTo>
                    <a:pt x="46" y="18"/>
                    <a:pt x="46" y="17"/>
                    <a:pt x="45" y="20"/>
                  </a:cubicBezTo>
                  <a:cubicBezTo>
                    <a:pt x="45" y="20"/>
                    <a:pt x="45" y="23"/>
                    <a:pt x="44" y="23"/>
                  </a:cubicBezTo>
                  <a:cubicBezTo>
                    <a:pt x="43" y="23"/>
                    <a:pt x="43" y="22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5" y="21"/>
                    <a:pt x="45" y="20"/>
                  </a:cubicBezTo>
                  <a:cubicBezTo>
                    <a:pt x="44" y="19"/>
                    <a:pt x="44" y="20"/>
                    <a:pt x="43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1" y="21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1" y="20"/>
                    <a:pt x="41" y="20"/>
                  </a:cubicBezTo>
                  <a:cubicBezTo>
                    <a:pt x="42" y="20"/>
                    <a:pt x="44" y="19"/>
                    <a:pt x="44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2" y="19"/>
                    <a:pt x="41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1" y="19"/>
                    <a:pt x="41" y="18"/>
                  </a:cubicBezTo>
                  <a:cubicBezTo>
                    <a:pt x="42" y="18"/>
                    <a:pt x="42" y="17"/>
                    <a:pt x="42" y="16"/>
                  </a:cubicBezTo>
                  <a:cubicBezTo>
                    <a:pt x="42" y="16"/>
                    <a:pt x="42" y="16"/>
                    <a:pt x="41" y="17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0" y="18"/>
                    <a:pt x="39" y="18"/>
                    <a:pt x="39" y="19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39" y="21"/>
                    <a:pt x="38" y="20"/>
                    <a:pt x="37" y="21"/>
                  </a:cubicBezTo>
                  <a:cubicBezTo>
                    <a:pt x="37" y="20"/>
                    <a:pt x="36" y="21"/>
                    <a:pt x="35" y="21"/>
                  </a:cubicBezTo>
                  <a:cubicBezTo>
                    <a:pt x="35" y="21"/>
                    <a:pt x="34" y="20"/>
                    <a:pt x="34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18"/>
                    <a:pt x="34" y="18"/>
                    <a:pt x="33" y="18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7"/>
                    <a:pt x="32" y="18"/>
                    <a:pt x="32" y="18"/>
                  </a:cubicBezTo>
                  <a:cubicBezTo>
                    <a:pt x="33" y="18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3" y="19"/>
                    <a:pt x="32" y="19"/>
                    <a:pt x="32" y="19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9"/>
                    <a:pt x="32" y="20"/>
                    <a:pt x="32" y="20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1"/>
                    <a:pt x="33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0" y="20"/>
                    <a:pt x="29" y="19"/>
                    <a:pt x="29" y="20"/>
                  </a:cubicBezTo>
                  <a:cubicBezTo>
                    <a:pt x="29" y="21"/>
                    <a:pt x="31" y="22"/>
                    <a:pt x="32" y="22"/>
                  </a:cubicBezTo>
                  <a:cubicBezTo>
                    <a:pt x="33" y="22"/>
                    <a:pt x="34" y="21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2"/>
                    <a:pt x="32" y="23"/>
                    <a:pt x="31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2"/>
                    <a:pt x="30" y="23"/>
                    <a:pt x="31" y="23"/>
                  </a:cubicBezTo>
                  <a:cubicBezTo>
                    <a:pt x="32" y="24"/>
                    <a:pt x="33" y="24"/>
                    <a:pt x="32" y="25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3"/>
                    <a:pt x="29" y="22"/>
                  </a:cubicBezTo>
                  <a:cubicBezTo>
                    <a:pt x="29" y="21"/>
                    <a:pt x="28" y="16"/>
                    <a:pt x="28" y="16"/>
                  </a:cubicBezTo>
                  <a:cubicBezTo>
                    <a:pt x="28" y="15"/>
                    <a:pt x="28" y="14"/>
                    <a:pt x="29" y="13"/>
                  </a:cubicBezTo>
                  <a:cubicBezTo>
                    <a:pt x="29" y="13"/>
                    <a:pt x="28" y="12"/>
                    <a:pt x="28" y="12"/>
                  </a:cubicBezTo>
                  <a:cubicBezTo>
                    <a:pt x="28" y="11"/>
                    <a:pt x="31" y="9"/>
                    <a:pt x="31" y="9"/>
                  </a:cubicBezTo>
                  <a:cubicBezTo>
                    <a:pt x="32" y="8"/>
                    <a:pt x="33" y="8"/>
                    <a:pt x="35" y="8"/>
                  </a:cubicBezTo>
                  <a:cubicBezTo>
                    <a:pt x="37" y="8"/>
                    <a:pt x="40" y="8"/>
                    <a:pt x="42" y="9"/>
                  </a:cubicBezTo>
                  <a:moveTo>
                    <a:pt x="41" y="7"/>
                  </a:moveTo>
                  <a:cubicBezTo>
                    <a:pt x="41" y="6"/>
                    <a:pt x="41" y="6"/>
                    <a:pt x="41" y="6"/>
                  </a:cubicBezTo>
                  <a:cubicBezTo>
                    <a:pt x="42" y="6"/>
                    <a:pt x="43" y="5"/>
                    <a:pt x="44" y="5"/>
                  </a:cubicBezTo>
                  <a:cubicBezTo>
                    <a:pt x="45" y="5"/>
                    <a:pt x="45" y="7"/>
                    <a:pt x="45" y="7"/>
                  </a:cubicBezTo>
                  <a:cubicBezTo>
                    <a:pt x="45" y="8"/>
                    <a:pt x="44" y="9"/>
                    <a:pt x="43" y="8"/>
                  </a:cubicBezTo>
                  <a:cubicBezTo>
                    <a:pt x="43" y="8"/>
                    <a:pt x="42" y="8"/>
                    <a:pt x="43" y="8"/>
                  </a:cubicBezTo>
                  <a:cubicBezTo>
                    <a:pt x="43" y="8"/>
                    <a:pt x="44" y="7"/>
                    <a:pt x="44" y="6"/>
                  </a:cubicBezTo>
                  <a:cubicBezTo>
                    <a:pt x="43" y="6"/>
                    <a:pt x="42" y="7"/>
                    <a:pt x="42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moveTo>
                    <a:pt x="47" y="9"/>
                  </a:move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8"/>
                    <a:pt x="47" y="9"/>
                    <a:pt x="47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1"/>
                    <a:pt x="45" y="10"/>
                    <a:pt x="45" y="10"/>
                  </a:cubicBezTo>
                  <a:cubicBezTo>
                    <a:pt x="45" y="9"/>
                    <a:pt x="46" y="9"/>
                    <a:pt x="47" y="9"/>
                  </a:cubicBezTo>
                  <a:moveTo>
                    <a:pt x="48" y="14"/>
                  </a:moveTo>
                  <a:cubicBezTo>
                    <a:pt x="48" y="14"/>
                    <a:pt x="48" y="16"/>
                    <a:pt x="48" y="17"/>
                  </a:cubicBezTo>
                  <a:cubicBezTo>
                    <a:pt x="48" y="17"/>
                    <a:pt x="49" y="18"/>
                    <a:pt x="49" y="18"/>
                  </a:cubicBezTo>
                  <a:cubicBezTo>
                    <a:pt x="49" y="19"/>
                    <a:pt x="48" y="19"/>
                    <a:pt x="48" y="20"/>
                  </a:cubicBezTo>
                  <a:cubicBezTo>
                    <a:pt x="48" y="21"/>
                    <a:pt x="49" y="22"/>
                    <a:pt x="48" y="23"/>
                  </a:cubicBezTo>
                  <a:cubicBezTo>
                    <a:pt x="47" y="23"/>
                    <a:pt x="47" y="23"/>
                    <a:pt x="47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7" y="23"/>
                    <a:pt x="47" y="23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5" y="24"/>
                    <a:pt x="46" y="22"/>
                    <a:pt x="46" y="21"/>
                  </a:cubicBezTo>
                  <a:cubicBezTo>
                    <a:pt x="46" y="19"/>
                    <a:pt x="47" y="18"/>
                    <a:pt x="47" y="17"/>
                  </a:cubicBezTo>
                  <a:cubicBezTo>
                    <a:pt x="47" y="16"/>
                    <a:pt x="47" y="15"/>
                    <a:pt x="46" y="14"/>
                  </a:cubicBezTo>
                  <a:cubicBezTo>
                    <a:pt x="46" y="13"/>
                    <a:pt x="46" y="13"/>
                    <a:pt x="46" y="12"/>
                  </a:cubicBezTo>
                  <a:cubicBezTo>
                    <a:pt x="46" y="11"/>
                    <a:pt x="47" y="13"/>
                    <a:pt x="47" y="13"/>
                  </a:cubicBezTo>
                  <a:cubicBezTo>
                    <a:pt x="48" y="14"/>
                    <a:pt x="48" y="14"/>
                    <a:pt x="48" y="14"/>
                  </a:cubicBezTo>
                  <a:moveTo>
                    <a:pt x="49" y="26"/>
                  </a:moveTo>
                  <a:cubicBezTo>
                    <a:pt x="50" y="26"/>
                    <a:pt x="50" y="26"/>
                    <a:pt x="49" y="27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9" y="25"/>
                    <a:pt x="49" y="25"/>
                  </a:cubicBezTo>
                  <a:cubicBezTo>
                    <a:pt x="49" y="26"/>
                    <a:pt x="49" y="26"/>
                    <a:pt x="49" y="26"/>
                  </a:cubicBezTo>
                  <a:moveTo>
                    <a:pt x="50" y="24"/>
                  </a:moveTo>
                  <a:cubicBezTo>
                    <a:pt x="50" y="23"/>
                    <a:pt x="50" y="21"/>
                    <a:pt x="51" y="21"/>
                  </a:cubicBezTo>
                  <a:cubicBezTo>
                    <a:pt x="52" y="21"/>
                    <a:pt x="52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2" y="19"/>
                    <a:pt x="51" y="20"/>
                    <a:pt x="50" y="20"/>
                  </a:cubicBezTo>
                  <a:cubicBezTo>
                    <a:pt x="50" y="20"/>
                    <a:pt x="50" y="20"/>
                    <a:pt x="52" y="19"/>
                  </a:cubicBezTo>
                  <a:cubicBezTo>
                    <a:pt x="54" y="18"/>
                    <a:pt x="53" y="20"/>
                    <a:pt x="53" y="21"/>
                  </a:cubicBezTo>
                  <a:cubicBezTo>
                    <a:pt x="54" y="21"/>
                    <a:pt x="54" y="22"/>
                    <a:pt x="54" y="22"/>
                  </a:cubicBezTo>
                  <a:cubicBezTo>
                    <a:pt x="54" y="23"/>
                    <a:pt x="52" y="22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moveTo>
                    <a:pt x="50" y="19"/>
                  </a:moveTo>
                  <a:cubicBezTo>
                    <a:pt x="50" y="19"/>
                    <a:pt x="52" y="18"/>
                    <a:pt x="52" y="18"/>
                  </a:cubicBezTo>
                  <a:cubicBezTo>
                    <a:pt x="52" y="18"/>
                    <a:pt x="52" y="18"/>
                    <a:pt x="51" y="19"/>
                  </a:cubicBezTo>
                  <a:cubicBezTo>
                    <a:pt x="50" y="19"/>
                    <a:pt x="50" y="19"/>
                    <a:pt x="50" y="19"/>
                  </a:cubicBezTo>
                  <a:moveTo>
                    <a:pt x="52" y="16"/>
                  </a:moveTo>
                  <a:cubicBezTo>
                    <a:pt x="52" y="15"/>
                    <a:pt x="53" y="15"/>
                    <a:pt x="52" y="16"/>
                  </a:cubicBezTo>
                  <a:cubicBezTo>
                    <a:pt x="50" y="17"/>
                    <a:pt x="51" y="16"/>
                    <a:pt x="52" y="16"/>
                  </a:cubicBezTo>
                  <a:moveTo>
                    <a:pt x="56" y="31"/>
                  </a:moveTo>
                  <a:cubicBezTo>
                    <a:pt x="56" y="31"/>
                    <a:pt x="56" y="29"/>
                    <a:pt x="57" y="29"/>
                  </a:cubicBezTo>
                  <a:cubicBezTo>
                    <a:pt x="57" y="28"/>
                    <a:pt x="57" y="28"/>
                    <a:pt x="57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6" y="27"/>
                    <a:pt x="55" y="27"/>
                    <a:pt x="55" y="26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8" y="25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3"/>
                    <a:pt x="57" y="22"/>
                    <a:pt x="57" y="21"/>
                  </a:cubicBezTo>
                  <a:cubicBezTo>
                    <a:pt x="58" y="21"/>
                    <a:pt x="59" y="20"/>
                    <a:pt x="60" y="20"/>
                  </a:cubicBezTo>
                  <a:cubicBezTo>
                    <a:pt x="60" y="21"/>
                    <a:pt x="59" y="21"/>
                    <a:pt x="58" y="21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2"/>
                    <a:pt x="59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3"/>
                    <a:pt x="60" y="24"/>
                  </a:cubicBezTo>
                  <a:cubicBezTo>
                    <a:pt x="60" y="26"/>
                    <a:pt x="59" y="26"/>
                    <a:pt x="58" y="26"/>
                  </a:cubicBezTo>
                  <a:cubicBezTo>
                    <a:pt x="57" y="26"/>
                    <a:pt x="57" y="27"/>
                    <a:pt x="57" y="27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6"/>
                    <a:pt x="60" y="27"/>
                    <a:pt x="60" y="27"/>
                  </a:cubicBezTo>
                  <a:cubicBezTo>
                    <a:pt x="60" y="28"/>
                    <a:pt x="60" y="29"/>
                    <a:pt x="59" y="29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7" y="31"/>
                    <a:pt x="57" y="31"/>
                    <a:pt x="56" y="31"/>
                  </a:cubicBezTo>
                  <a:moveTo>
                    <a:pt x="57" y="47"/>
                  </a:moveTo>
                  <a:cubicBezTo>
                    <a:pt x="57" y="46"/>
                    <a:pt x="58" y="45"/>
                    <a:pt x="58" y="44"/>
                  </a:cubicBezTo>
                  <a:cubicBezTo>
                    <a:pt x="59" y="44"/>
                    <a:pt x="59" y="45"/>
                    <a:pt x="60" y="45"/>
                  </a:cubicBezTo>
                  <a:cubicBezTo>
                    <a:pt x="60" y="46"/>
                    <a:pt x="60" y="47"/>
                    <a:pt x="59" y="48"/>
                  </a:cubicBezTo>
                  <a:cubicBezTo>
                    <a:pt x="59" y="49"/>
                    <a:pt x="58" y="49"/>
                    <a:pt x="58" y="49"/>
                  </a:cubicBezTo>
                  <a:cubicBezTo>
                    <a:pt x="58" y="49"/>
                    <a:pt x="58" y="49"/>
                    <a:pt x="57" y="49"/>
                  </a:cubicBezTo>
                  <a:cubicBezTo>
                    <a:pt x="57" y="48"/>
                    <a:pt x="57" y="48"/>
                    <a:pt x="57" y="47"/>
                  </a:cubicBezTo>
                  <a:moveTo>
                    <a:pt x="53" y="55"/>
                  </a:moveTo>
                  <a:cubicBezTo>
                    <a:pt x="54" y="53"/>
                    <a:pt x="54" y="53"/>
                    <a:pt x="54" y="53"/>
                  </a:cubicBezTo>
                  <a:cubicBezTo>
                    <a:pt x="54" y="53"/>
                    <a:pt x="54" y="54"/>
                    <a:pt x="55" y="54"/>
                  </a:cubicBezTo>
                  <a:cubicBezTo>
                    <a:pt x="55" y="55"/>
                    <a:pt x="54" y="56"/>
                    <a:pt x="54" y="56"/>
                  </a:cubicBezTo>
                  <a:cubicBezTo>
                    <a:pt x="53" y="56"/>
                    <a:pt x="53" y="55"/>
                    <a:pt x="53" y="55"/>
                  </a:cubicBezTo>
                  <a:moveTo>
                    <a:pt x="52" y="54"/>
                  </a:moveTo>
                  <a:cubicBezTo>
                    <a:pt x="51" y="53"/>
                    <a:pt x="51" y="53"/>
                    <a:pt x="51" y="53"/>
                  </a:cubicBezTo>
                  <a:cubicBezTo>
                    <a:pt x="51" y="53"/>
                    <a:pt x="51" y="53"/>
                    <a:pt x="51" y="52"/>
                  </a:cubicBezTo>
                  <a:cubicBezTo>
                    <a:pt x="52" y="51"/>
                    <a:pt x="52" y="51"/>
                    <a:pt x="53" y="52"/>
                  </a:cubicBezTo>
                  <a:cubicBezTo>
                    <a:pt x="53" y="52"/>
                    <a:pt x="52" y="53"/>
                    <a:pt x="52" y="54"/>
                  </a:cubicBezTo>
                  <a:moveTo>
                    <a:pt x="50" y="54"/>
                  </a:moveTo>
                  <a:cubicBezTo>
                    <a:pt x="50" y="54"/>
                    <a:pt x="50" y="54"/>
                    <a:pt x="50" y="54"/>
                  </a:cubicBezTo>
                  <a:cubicBezTo>
                    <a:pt x="51" y="55"/>
                    <a:pt x="52" y="55"/>
                    <a:pt x="52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50" y="54"/>
                    <a:pt x="50" y="54"/>
                    <a:pt x="50" y="54"/>
                  </a:cubicBezTo>
                  <a:moveTo>
                    <a:pt x="50" y="46"/>
                  </a:moveTo>
                  <a:cubicBezTo>
                    <a:pt x="49" y="46"/>
                    <a:pt x="49" y="46"/>
                    <a:pt x="49" y="46"/>
                  </a:cubicBezTo>
                  <a:cubicBezTo>
                    <a:pt x="49" y="45"/>
                    <a:pt x="49" y="44"/>
                    <a:pt x="49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6"/>
                    <a:pt x="50" y="46"/>
                    <a:pt x="50" y="46"/>
                  </a:cubicBezTo>
                  <a:moveTo>
                    <a:pt x="49" y="49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50" y="47"/>
                    <a:pt x="50" y="47"/>
                    <a:pt x="50" y="48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49" y="49"/>
                    <a:pt x="49" y="49"/>
                    <a:pt x="49" y="49"/>
                  </a:cubicBezTo>
                  <a:moveTo>
                    <a:pt x="49" y="50"/>
                  </a:moveTo>
                  <a:cubicBezTo>
                    <a:pt x="49" y="50"/>
                    <a:pt x="49" y="50"/>
                    <a:pt x="49" y="50"/>
                  </a:cubicBezTo>
                  <a:cubicBezTo>
                    <a:pt x="49" y="50"/>
                    <a:pt x="49" y="51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49" y="52"/>
                    <a:pt x="49" y="52"/>
                    <a:pt x="49" y="50"/>
                  </a:cubicBezTo>
                  <a:moveTo>
                    <a:pt x="49" y="41"/>
                  </a:moveTo>
                  <a:cubicBezTo>
                    <a:pt x="49" y="41"/>
                    <a:pt x="50" y="41"/>
                    <a:pt x="50" y="41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42"/>
                    <a:pt x="48" y="41"/>
                    <a:pt x="49" y="41"/>
                  </a:cubicBezTo>
                  <a:moveTo>
                    <a:pt x="49" y="81"/>
                  </a:moveTo>
                  <a:cubicBezTo>
                    <a:pt x="49" y="81"/>
                    <a:pt x="49" y="81"/>
                    <a:pt x="49" y="81"/>
                  </a:cubicBezTo>
                  <a:cubicBezTo>
                    <a:pt x="49" y="81"/>
                    <a:pt x="48" y="80"/>
                    <a:pt x="48" y="80"/>
                  </a:cubicBezTo>
                  <a:cubicBezTo>
                    <a:pt x="47" y="79"/>
                    <a:pt x="47" y="79"/>
                    <a:pt x="47" y="78"/>
                  </a:cubicBezTo>
                  <a:cubicBezTo>
                    <a:pt x="47" y="76"/>
                    <a:pt x="47" y="75"/>
                    <a:pt x="48" y="74"/>
                  </a:cubicBezTo>
                  <a:cubicBezTo>
                    <a:pt x="49" y="73"/>
                    <a:pt x="49" y="74"/>
                    <a:pt x="49" y="75"/>
                  </a:cubicBezTo>
                  <a:cubicBezTo>
                    <a:pt x="49" y="75"/>
                    <a:pt x="49" y="75"/>
                    <a:pt x="49" y="78"/>
                  </a:cubicBezTo>
                  <a:cubicBezTo>
                    <a:pt x="50" y="81"/>
                    <a:pt x="50" y="81"/>
                    <a:pt x="49" y="81"/>
                  </a:cubicBezTo>
                  <a:moveTo>
                    <a:pt x="50" y="87"/>
                  </a:moveTo>
                  <a:cubicBezTo>
                    <a:pt x="50" y="87"/>
                    <a:pt x="49" y="87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0" y="87"/>
                    <a:pt x="50" y="87"/>
                    <a:pt x="50" y="87"/>
                  </a:cubicBezTo>
                  <a:moveTo>
                    <a:pt x="48" y="88"/>
                  </a:moveTo>
                  <a:cubicBezTo>
                    <a:pt x="49" y="88"/>
                    <a:pt x="50" y="88"/>
                    <a:pt x="50" y="89"/>
                  </a:cubicBezTo>
                  <a:cubicBezTo>
                    <a:pt x="50" y="89"/>
                    <a:pt x="50" y="89"/>
                    <a:pt x="50" y="91"/>
                  </a:cubicBezTo>
                  <a:cubicBezTo>
                    <a:pt x="49" y="93"/>
                    <a:pt x="49" y="93"/>
                    <a:pt x="49" y="93"/>
                  </a:cubicBezTo>
                  <a:cubicBezTo>
                    <a:pt x="49" y="92"/>
                    <a:pt x="48" y="90"/>
                    <a:pt x="47" y="89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8"/>
                    <a:pt x="48" y="88"/>
                    <a:pt x="48" y="88"/>
                  </a:cubicBezTo>
                  <a:moveTo>
                    <a:pt x="46" y="86"/>
                  </a:moveTo>
                  <a:cubicBezTo>
                    <a:pt x="46" y="86"/>
                    <a:pt x="46" y="86"/>
                    <a:pt x="46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7" y="87"/>
                    <a:pt x="47" y="87"/>
                    <a:pt x="47" y="87"/>
                  </a:cubicBezTo>
                  <a:cubicBezTo>
                    <a:pt x="47" y="87"/>
                    <a:pt x="46" y="87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moveTo>
                    <a:pt x="45" y="82"/>
                  </a:move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5" y="82"/>
                    <a:pt x="45" y="82"/>
                    <a:pt x="45" y="82"/>
                  </a:cubicBezTo>
                  <a:cubicBezTo>
                    <a:pt x="45" y="82"/>
                    <a:pt x="45" y="82"/>
                    <a:pt x="45" y="82"/>
                  </a:cubicBezTo>
                  <a:moveTo>
                    <a:pt x="39" y="60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41" y="59"/>
                    <a:pt x="41" y="60"/>
                    <a:pt x="41" y="61"/>
                  </a:cubicBezTo>
                  <a:cubicBezTo>
                    <a:pt x="42" y="64"/>
                    <a:pt x="42" y="65"/>
                    <a:pt x="41" y="68"/>
                  </a:cubicBezTo>
                  <a:cubicBezTo>
                    <a:pt x="41" y="69"/>
                    <a:pt x="41" y="69"/>
                    <a:pt x="41" y="70"/>
                  </a:cubicBezTo>
                  <a:cubicBezTo>
                    <a:pt x="40" y="70"/>
                    <a:pt x="40" y="70"/>
                    <a:pt x="40" y="69"/>
                  </a:cubicBezTo>
                  <a:cubicBezTo>
                    <a:pt x="40" y="66"/>
                    <a:pt x="39" y="64"/>
                    <a:pt x="39" y="60"/>
                  </a:cubicBezTo>
                  <a:moveTo>
                    <a:pt x="38" y="78"/>
                  </a:moveTo>
                  <a:cubicBezTo>
                    <a:pt x="39" y="72"/>
                    <a:pt x="39" y="72"/>
                    <a:pt x="40" y="72"/>
                  </a:cubicBezTo>
                  <a:cubicBezTo>
                    <a:pt x="40" y="74"/>
                    <a:pt x="40" y="75"/>
                    <a:pt x="39" y="76"/>
                  </a:cubicBezTo>
                  <a:cubicBezTo>
                    <a:pt x="39" y="77"/>
                    <a:pt x="39" y="80"/>
                    <a:pt x="39" y="81"/>
                  </a:cubicBezTo>
                  <a:cubicBezTo>
                    <a:pt x="39" y="82"/>
                    <a:pt x="40" y="84"/>
                    <a:pt x="40" y="84"/>
                  </a:cubicBezTo>
                  <a:cubicBezTo>
                    <a:pt x="40" y="84"/>
                    <a:pt x="39" y="84"/>
                    <a:pt x="38" y="84"/>
                  </a:cubicBezTo>
                  <a:cubicBezTo>
                    <a:pt x="37" y="84"/>
                    <a:pt x="36" y="84"/>
                    <a:pt x="38" y="78"/>
                  </a:cubicBezTo>
                  <a:moveTo>
                    <a:pt x="34" y="76"/>
                  </a:moveTo>
                  <a:cubicBezTo>
                    <a:pt x="35" y="73"/>
                    <a:pt x="35" y="70"/>
                    <a:pt x="35" y="68"/>
                  </a:cubicBezTo>
                  <a:cubicBezTo>
                    <a:pt x="35" y="65"/>
                    <a:pt x="35" y="61"/>
                    <a:pt x="36" y="59"/>
                  </a:cubicBezTo>
                  <a:cubicBezTo>
                    <a:pt x="36" y="58"/>
                    <a:pt x="36" y="56"/>
                    <a:pt x="38" y="57"/>
                  </a:cubicBezTo>
                  <a:cubicBezTo>
                    <a:pt x="38" y="58"/>
                    <a:pt x="38" y="58"/>
                    <a:pt x="38" y="59"/>
                  </a:cubicBezTo>
                  <a:cubicBezTo>
                    <a:pt x="37" y="60"/>
                    <a:pt x="38" y="60"/>
                    <a:pt x="38" y="62"/>
                  </a:cubicBezTo>
                  <a:cubicBezTo>
                    <a:pt x="38" y="62"/>
                    <a:pt x="38" y="63"/>
                    <a:pt x="38" y="63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4"/>
                    <a:pt x="38" y="64"/>
                    <a:pt x="36" y="71"/>
                  </a:cubicBezTo>
                  <a:cubicBezTo>
                    <a:pt x="34" y="77"/>
                    <a:pt x="34" y="76"/>
                    <a:pt x="34" y="76"/>
                  </a:cubicBezTo>
                  <a:cubicBezTo>
                    <a:pt x="34" y="76"/>
                    <a:pt x="34" y="76"/>
                    <a:pt x="34" y="76"/>
                  </a:cubicBezTo>
                  <a:moveTo>
                    <a:pt x="27" y="70"/>
                  </a:moveTo>
                  <a:cubicBezTo>
                    <a:pt x="27" y="70"/>
                    <a:pt x="27" y="73"/>
                    <a:pt x="27" y="74"/>
                  </a:cubicBezTo>
                  <a:cubicBezTo>
                    <a:pt x="27" y="75"/>
                    <a:pt x="27" y="78"/>
                    <a:pt x="27" y="79"/>
                  </a:cubicBezTo>
                  <a:cubicBezTo>
                    <a:pt x="26" y="79"/>
                    <a:pt x="26" y="79"/>
                    <a:pt x="26" y="80"/>
                  </a:cubicBezTo>
                  <a:cubicBezTo>
                    <a:pt x="25" y="80"/>
                    <a:pt x="25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5" y="75"/>
                    <a:pt x="25" y="74"/>
                  </a:cubicBezTo>
                  <a:cubicBezTo>
                    <a:pt x="25" y="72"/>
                    <a:pt x="26" y="70"/>
                    <a:pt x="27" y="70"/>
                  </a:cubicBezTo>
                  <a:moveTo>
                    <a:pt x="25" y="57"/>
                  </a:moveTo>
                  <a:cubicBezTo>
                    <a:pt x="26" y="57"/>
                    <a:pt x="26" y="57"/>
                    <a:pt x="26" y="57"/>
                  </a:cubicBezTo>
                  <a:cubicBezTo>
                    <a:pt x="26" y="57"/>
                    <a:pt x="26" y="57"/>
                    <a:pt x="26" y="59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2"/>
                    <a:pt x="26" y="62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2"/>
                    <a:pt x="25" y="59"/>
                    <a:pt x="25" y="57"/>
                  </a:cubicBezTo>
                  <a:moveTo>
                    <a:pt x="25" y="47"/>
                  </a:moveTo>
                  <a:cubicBezTo>
                    <a:pt x="25" y="47"/>
                    <a:pt x="26" y="47"/>
                    <a:pt x="26" y="48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24" y="48"/>
                    <a:pt x="25" y="47"/>
                    <a:pt x="25" y="47"/>
                  </a:cubicBezTo>
                  <a:moveTo>
                    <a:pt x="24" y="46"/>
                  </a:moveTo>
                  <a:cubicBezTo>
                    <a:pt x="24" y="46"/>
                    <a:pt x="24" y="46"/>
                    <a:pt x="24" y="46"/>
                  </a:cubicBezTo>
                  <a:cubicBezTo>
                    <a:pt x="24" y="45"/>
                    <a:pt x="25" y="44"/>
                    <a:pt x="25" y="44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6" y="45"/>
                    <a:pt x="25" y="46"/>
                    <a:pt x="24" y="47"/>
                  </a:cubicBezTo>
                  <a:cubicBezTo>
                    <a:pt x="24" y="47"/>
                    <a:pt x="24" y="47"/>
                    <a:pt x="24" y="46"/>
                  </a:cubicBezTo>
                  <a:moveTo>
                    <a:pt x="22" y="50"/>
                  </a:move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4" y="49"/>
                    <a:pt x="24" y="50"/>
                    <a:pt x="24" y="51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3" y="52"/>
                    <a:pt x="23" y="52"/>
                    <a:pt x="22" y="51"/>
                  </a:cubicBezTo>
                  <a:cubicBezTo>
                    <a:pt x="22" y="50"/>
                    <a:pt x="22" y="50"/>
                    <a:pt x="22" y="50"/>
                  </a:cubicBezTo>
                  <a:moveTo>
                    <a:pt x="22" y="47"/>
                  </a:moveTo>
                  <a:cubicBezTo>
                    <a:pt x="22" y="46"/>
                    <a:pt x="22" y="46"/>
                    <a:pt x="23" y="47"/>
                  </a:cubicBezTo>
                  <a:cubicBezTo>
                    <a:pt x="23" y="47"/>
                    <a:pt x="23" y="47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1" y="47"/>
                    <a:pt x="22" y="47"/>
                  </a:cubicBezTo>
                  <a:moveTo>
                    <a:pt x="21" y="43"/>
                  </a:moveTo>
                  <a:cubicBezTo>
                    <a:pt x="21" y="43"/>
                    <a:pt x="22" y="43"/>
                    <a:pt x="22" y="44"/>
                  </a:cubicBezTo>
                  <a:cubicBezTo>
                    <a:pt x="23" y="44"/>
                    <a:pt x="23" y="44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4"/>
                    <a:pt x="21" y="43"/>
                  </a:cubicBezTo>
                  <a:moveTo>
                    <a:pt x="18" y="52"/>
                  </a:move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1"/>
                    <a:pt x="18" y="51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4"/>
                    <a:pt x="21" y="55"/>
                    <a:pt x="20" y="55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0" y="55"/>
                    <a:pt x="20" y="54"/>
                    <a:pt x="19" y="54"/>
                  </a:cubicBezTo>
                  <a:cubicBezTo>
                    <a:pt x="19" y="53"/>
                    <a:pt x="18" y="53"/>
                    <a:pt x="18" y="52"/>
                  </a:cubicBezTo>
                  <a:moveTo>
                    <a:pt x="16" y="53"/>
                  </a:moveTo>
                  <a:cubicBezTo>
                    <a:pt x="16" y="53"/>
                    <a:pt x="16" y="52"/>
                    <a:pt x="17" y="53"/>
                  </a:cubicBezTo>
                  <a:cubicBezTo>
                    <a:pt x="17" y="53"/>
                    <a:pt x="18" y="54"/>
                    <a:pt x="18" y="54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5"/>
                    <a:pt x="17" y="54"/>
                    <a:pt x="16" y="53"/>
                  </a:cubicBezTo>
                  <a:cubicBezTo>
                    <a:pt x="16" y="53"/>
                    <a:pt x="16" y="53"/>
                    <a:pt x="16" y="53"/>
                  </a:cubicBezTo>
                  <a:moveTo>
                    <a:pt x="14" y="49"/>
                  </a:moveTo>
                  <a:cubicBezTo>
                    <a:pt x="14" y="49"/>
                    <a:pt x="16" y="50"/>
                    <a:pt x="16" y="51"/>
                  </a:cubicBezTo>
                  <a:cubicBezTo>
                    <a:pt x="16" y="51"/>
                    <a:pt x="16" y="52"/>
                    <a:pt x="16" y="52"/>
                  </a:cubicBezTo>
                  <a:cubicBezTo>
                    <a:pt x="15" y="52"/>
                    <a:pt x="15" y="52"/>
                    <a:pt x="15" y="51"/>
                  </a:cubicBezTo>
                  <a:cubicBezTo>
                    <a:pt x="15" y="51"/>
                    <a:pt x="14" y="51"/>
                    <a:pt x="14" y="50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moveTo>
                    <a:pt x="13" y="37"/>
                  </a:moveTo>
                  <a:cubicBezTo>
                    <a:pt x="13" y="37"/>
                    <a:pt x="14" y="38"/>
                    <a:pt x="14" y="39"/>
                  </a:cubicBezTo>
                  <a:cubicBezTo>
                    <a:pt x="14" y="39"/>
                    <a:pt x="14" y="39"/>
                    <a:pt x="14" y="40"/>
                  </a:cubicBezTo>
                  <a:cubicBezTo>
                    <a:pt x="15" y="40"/>
                    <a:pt x="15" y="40"/>
                    <a:pt x="15" y="40"/>
                  </a:cubicBezTo>
                  <a:cubicBezTo>
                    <a:pt x="15" y="41"/>
                    <a:pt x="15" y="41"/>
                    <a:pt x="14" y="41"/>
                  </a:cubicBezTo>
                  <a:cubicBezTo>
                    <a:pt x="13" y="42"/>
                    <a:pt x="13" y="40"/>
                    <a:pt x="13" y="39"/>
                  </a:cubicBezTo>
                  <a:cubicBezTo>
                    <a:pt x="12" y="39"/>
                    <a:pt x="12" y="39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3" y="37"/>
                    <a:pt x="13" y="37"/>
                    <a:pt x="13" y="37"/>
                  </a:cubicBezTo>
                  <a:moveTo>
                    <a:pt x="14" y="34"/>
                  </a:moveTo>
                  <a:cubicBezTo>
                    <a:pt x="14" y="35"/>
                    <a:pt x="15" y="36"/>
                    <a:pt x="16" y="36"/>
                  </a:cubicBezTo>
                  <a:cubicBezTo>
                    <a:pt x="16" y="37"/>
                    <a:pt x="15" y="38"/>
                    <a:pt x="15" y="38"/>
                  </a:cubicBezTo>
                  <a:cubicBezTo>
                    <a:pt x="14" y="38"/>
                    <a:pt x="14" y="38"/>
                    <a:pt x="14" y="37"/>
                  </a:cubicBezTo>
                  <a:cubicBezTo>
                    <a:pt x="14" y="36"/>
                    <a:pt x="14" y="36"/>
                    <a:pt x="13" y="36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34"/>
                    <a:pt x="14" y="34"/>
                    <a:pt x="14" y="34"/>
                  </a:cubicBezTo>
                  <a:moveTo>
                    <a:pt x="18" y="45"/>
                  </a:moveTo>
                  <a:cubicBezTo>
                    <a:pt x="18" y="45"/>
                    <a:pt x="18" y="46"/>
                    <a:pt x="17" y="46"/>
                  </a:cubicBezTo>
                  <a:cubicBezTo>
                    <a:pt x="17" y="45"/>
                    <a:pt x="17" y="45"/>
                    <a:pt x="17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2"/>
                    <a:pt x="16" y="42"/>
                  </a:cubicBezTo>
                  <a:cubicBezTo>
                    <a:pt x="17" y="42"/>
                    <a:pt x="18" y="42"/>
                    <a:pt x="18" y="42"/>
                  </a:cubicBezTo>
                  <a:cubicBezTo>
                    <a:pt x="18" y="42"/>
                    <a:pt x="17" y="41"/>
                    <a:pt x="17" y="40"/>
                  </a:cubicBezTo>
                  <a:cubicBezTo>
                    <a:pt x="16" y="40"/>
                    <a:pt x="15" y="39"/>
                    <a:pt x="15" y="39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7" y="38"/>
                    <a:pt x="17" y="39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9" y="41"/>
                    <a:pt x="19" y="42"/>
                    <a:pt x="18" y="4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43"/>
                    <a:pt x="18" y="44"/>
                    <a:pt x="18" y="45"/>
                  </a:cubicBezTo>
                  <a:moveTo>
                    <a:pt x="17" y="46"/>
                  </a:moveTo>
                  <a:cubicBezTo>
                    <a:pt x="17" y="47"/>
                    <a:pt x="17" y="47"/>
                    <a:pt x="18" y="48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49"/>
                    <a:pt x="16" y="49"/>
                    <a:pt x="16" y="49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7"/>
                    <a:pt x="15" y="47"/>
                    <a:pt x="15" y="47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7" y="45"/>
                    <a:pt x="17" y="46"/>
                  </a:cubicBezTo>
                  <a:cubicBezTo>
                    <a:pt x="17" y="46"/>
                    <a:pt x="17" y="46"/>
                    <a:pt x="17" y="46"/>
                  </a:cubicBezTo>
                  <a:moveTo>
                    <a:pt x="18" y="35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19" y="36"/>
                    <a:pt x="19" y="37"/>
                    <a:pt x="19" y="37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19" y="39"/>
                    <a:pt x="18" y="39"/>
                  </a:cubicBezTo>
                  <a:cubicBezTo>
                    <a:pt x="18" y="39"/>
                    <a:pt x="18" y="38"/>
                    <a:pt x="18" y="38"/>
                  </a:cubicBezTo>
                  <a:cubicBezTo>
                    <a:pt x="17" y="36"/>
                    <a:pt x="16" y="36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4"/>
                    <a:pt x="18" y="35"/>
                  </a:cubicBezTo>
                  <a:moveTo>
                    <a:pt x="19" y="27"/>
                  </a:moveTo>
                  <a:cubicBezTo>
                    <a:pt x="20" y="27"/>
                    <a:pt x="22" y="28"/>
                    <a:pt x="22" y="30"/>
                  </a:cubicBezTo>
                  <a:cubicBezTo>
                    <a:pt x="21" y="30"/>
                    <a:pt x="21" y="29"/>
                    <a:pt x="20" y="29"/>
                  </a:cubicBezTo>
                  <a:cubicBezTo>
                    <a:pt x="20" y="29"/>
                    <a:pt x="19" y="29"/>
                    <a:pt x="19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7"/>
                    <a:pt x="18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7"/>
                    <a:pt x="17" y="27"/>
                  </a:cubicBezTo>
                  <a:cubicBezTo>
                    <a:pt x="18" y="26"/>
                    <a:pt x="19" y="27"/>
                    <a:pt x="19" y="27"/>
                  </a:cubicBezTo>
                  <a:moveTo>
                    <a:pt x="22" y="26"/>
                  </a:moveTo>
                  <a:cubicBezTo>
                    <a:pt x="21" y="26"/>
                    <a:pt x="21" y="26"/>
                    <a:pt x="21" y="26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7" y="24"/>
                    <a:pt x="17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moveTo>
                    <a:pt x="18" y="30"/>
                  </a:moveTo>
                  <a:cubicBezTo>
                    <a:pt x="18" y="29"/>
                    <a:pt x="18" y="29"/>
                    <a:pt x="18" y="29"/>
                  </a:cubicBezTo>
                  <a:cubicBezTo>
                    <a:pt x="18" y="29"/>
                    <a:pt x="19" y="30"/>
                    <a:pt x="20" y="30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2"/>
                    <a:pt x="21" y="32"/>
                    <a:pt x="20" y="31"/>
                  </a:cubicBezTo>
                  <a:cubicBezTo>
                    <a:pt x="20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0"/>
                    <a:pt x="18" y="30"/>
                    <a:pt x="18" y="30"/>
                  </a:cubicBezTo>
                  <a:moveTo>
                    <a:pt x="18" y="32"/>
                  </a:moveTo>
                  <a:cubicBezTo>
                    <a:pt x="19" y="33"/>
                    <a:pt x="20" y="33"/>
                    <a:pt x="20" y="33"/>
                  </a:cubicBezTo>
                  <a:cubicBezTo>
                    <a:pt x="20" y="33"/>
                    <a:pt x="20" y="34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18" y="34"/>
                    <a:pt x="18" y="33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2"/>
                    <a:pt x="18" y="32"/>
                  </a:cubicBezTo>
                  <a:moveTo>
                    <a:pt x="20" y="41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20" y="40"/>
                    <a:pt x="21" y="41"/>
                    <a:pt x="22" y="41"/>
                  </a:cubicBezTo>
                  <a:cubicBezTo>
                    <a:pt x="22" y="41"/>
                    <a:pt x="22" y="41"/>
                    <a:pt x="22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0" y="41"/>
                    <a:pt x="20" y="41"/>
                    <a:pt x="20" y="41"/>
                  </a:cubicBezTo>
                  <a:moveTo>
                    <a:pt x="19" y="45"/>
                  </a:moveTo>
                  <a:cubicBezTo>
                    <a:pt x="19" y="44"/>
                    <a:pt x="19" y="44"/>
                    <a:pt x="19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0" y="44"/>
                    <a:pt x="20" y="45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9" y="45"/>
                    <a:pt x="19" y="45"/>
                    <a:pt x="19" y="45"/>
                  </a:cubicBezTo>
                  <a:moveTo>
                    <a:pt x="20" y="48"/>
                  </a:moveTo>
                  <a:cubicBezTo>
                    <a:pt x="20" y="48"/>
                    <a:pt x="21" y="48"/>
                    <a:pt x="21" y="4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50"/>
                    <a:pt x="20" y="50"/>
                    <a:pt x="20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0" y="48"/>
                    <a:pt x="20" y="48"/>
                  </a:cubicBezTo>
                  <a:moveTo>
                    <a:pt x="23" y="35"/>
                  </a:move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2" y="36"/>
                    <a:pt x="22" y="36"/>
                  </a:cubicBezTo>
                  <a:cubicBezTo>
                    <a:pt x="22" y="36"/>
                    <a:pt x="21" y="35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5"/>
                    <a:pt x="23" y="35"/>
                  </a:cubicBezTo>
                  <a:moveTo>
                    <a:pt x="24" y="34"/>
                  </a:moveTo>
                  <a:cubicBezTo>
                    <a:pt x="24" y="34"/>
                    <a:pt x="23" y="34"/>
                    <a:pt x="23" y="34"/>
                  </a:cubicBezTo>
                  <a:cubicBezTo>
                    <a:pt x="22" y="33"/>
                    <a:pt x="22" y="33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3" y="31"/>
                    <a:pt x="24" y="32"/>
                    <a:pt x="24" y="32"/>
                  </a:cubicBezTo>
                  <a:cubicBezTo>
                    <a:pt x="25" y="32"/>
                    <a:pt x="24" y="33"/>
                    <a:pt x="24" y="34"/>
                  </a:cubicBezTo>
                  <a:moveTo>
                    <a:pt x="25" y="35"/>
                  </a:moveTo>
                  <a:cubicBezTo>
                    <a:pt x="25" y="36"/>
                    <a:pt x="24" y="36"/>
                    <a:pt x="24" y="36"/>
                  </a:cubicBezTo>
                  <a:cubicBezTo>
                    <a:pt x="24" y="36"/>
                    <a:pt x="24" y="35"/>
                    <a:pt x="24" y="35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5" y="34"/>
                    <a:pt x="26" y="35"/>
                    <a:pt x="25" y="35"/>
                  </a:cubicBezTo>
                  <a:moveTo>
                    <a:pt x="28" y="25"/>
                  </a:move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7" y="26"/>
                    <a:pt x="27" y="26"/>
                  </a:cubicBezTo>
                  <a:cubicBezTo>
                    <a:pt x="26" y="26"/>
                    <a:pt x="26" y="25"/>
                    <a:pt x="25" y="24"/>
                  </a:cubicBezTo>
                  <a:cubicBezTo>
                    <a:pt x="25" y="24"/>
                    <a:pt x="25" y="23"/>
                    <a:pt x="25" y="23"/>
                  </a:cubicBezTo>
                  <a:cubicBezTo>
                    <a:pt x="26" y="23"/>
                    <a:pt x="27" y="22"/>
                    <a:pt x="27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3"/>
                    <a:pt x="28" y="25"/>
                    <a:pt x="28" y="25"/>
                  </a:cubicBezTo>
                  <a:moveTo>
                    <a:pt x="31" y="29"/>
                  </a:move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30"/>
                    <a:pt x="29" y="30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8" y="31"/>
                    <a:pt x="27" y="30"/>
                    <a:pt x="27" y="30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6" y="28"/>
                    <a:pt x="26" y="27"/>
                  </a:cubicBezTo>
                  <a:cubicBezTo>
                    <a:pt x="26" y="27"/>
                    <a:pt x="27" y="27"/>
                    <a:pt x="27" y="27"/>
                  </a:cubicBezTo>
                  <a:cubicBezTo>
                    <a:pt x="27" y="27"/>
                    <a:pt x="28" y="27"/>
                    <a:pt x="28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30" y="28"/>
                    <a:pt x="31" y="28"/>
                  </a:cubicBezTo>
                  <a:cubicBezTo>
                    <a:pt x="31" y="29"/>
                    <a:pt x="31" y="29"/>
                    <a:pt x="31" y="29"/>
                  </a:cubicBezTo>
                  <a:moveTo>
                    <a:pt x="33" y="30"/>
                  </a:moveTo>
                  <a:cubicBezTo>
                    <a:pt x="33" y="31"/>
                    <a:pt x="33" y="31"/>
                    <a:pt x="33" y="32"/>
                  </a:cubicBezTo>
                  <a:cubicBezTo>
                    <a:pt x="34" y="33"/>
                    <a:pt x="33" y="33"/>
                    <a:pt x="33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1" y="32"/>
                    <a:pt x="31" y="32"/>
                    <a:pt x="31" y="31"/>
                  </a:cubicBezTo>
                  <a:cubicBezTo>
                    <a:pt x="31" y="31"/>
                    <a:pt x="30" y="31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1" y="29"/>
                    <a:pt x="32" y="30"/>
                    <a:pt x="33" y="30"/>
                  </a:cubicBezTo>
                  <a:moveTo>
                    <a:pt x="46" y="28"/>
                  </a:moveTo>
                  <a:cubicBezTo>
                    <a:pt x="46" y="29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29"/>
                    <a:pt x="43" y="29"/>
                  </a:cubicBezTo>
                  <a:cubicBezTo>
                    <a:pt x="43" y="28"/>
                    <a:pt x="43" y="28"/>
                    <a:pt x="44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6" y="28"/>
                    <a:pt x="46" y="27"/>
                    <a:pt x="46" y="26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7" y="25"/>
                    <a:pt x="47" y="26"/>
                    <a:pt x="47" y="26"/>
                  </a:cubicBezTo>
                  <a:cubicBezTo>
                    <a:pt x="47" y="26"/>
                    <a:pt x="47" y="28"/>
                    <a:pt x="46" y="28"/>
                  </a:cubicBezTo>
                  <a:moveTo>
                    <a:pt x="47" y="33"/>
                  </a:moveTo>
                  <a:cubicBezTo>
                    <a:pt x="46" y="33"/>
                    <a:pt x="46" y="33"/>
                    <a:pt x="46" y="33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8" y="32"/>
                    <a:pt x="48" y="33"/>
                  </a:cubicBezTo>
                  <a:cubicBezTo>
                    <a:pt x="48" y="33"/>
                    <a:pt x="47" y="33"/>
                    <a:pt x="47" y="33"/>
                  </a:cubicBezTo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9" y="35"/>
                    <a:pt x="48" y="36"/>
                  </a:cubicBezTo>
                  <a:moveTo>
                    <a:pt x="48" y="64"/>
                  </a:moveTo>
                  <a:cubicBezTo>
                    <a:pt x="48" y="64"/>
                    <a:pt x="48" y="63"/>
                    <a:pt x="48" y="63"/>
                  </a:cubicBezTo>
                  <a:cubicBezTo>
                    <a:pt x="48" y="62"/>
                    <a:pt x="48" y="61"/>
                    <a:pt x="48" y="60"/>
                  </a:cubicBezTo>
                  <a:cubicBezTo>
                    <a:pt x="48" y="60"/>
                    <a:pt x="47" y="57"/>
                    <a:pt x="48" y="57"/>
                  </a:cubicBezTo>
                  <a:cubicBezTo>
                    <a:pt x="48" y="57"/>
                    <a:pt x="48" y="57"/>
                    <a:pt x="48" y="58"/>
                  </a:cubicBezTo>
                  <a:cubicBezTo>
                    <a:pt x="49" y="61"/>
                    <a:pt x="48" y="68"/>
                    <a:pt x="47" y="72"/>
                  </a:cubicBezTo>
                  <a:cubicBezTo>
                    <a:pt x="47" y="73"/>
                    <a:pt x="47" y="73"/>
                    <a:pt x="46" y="73"/>
                  </a:cubicBezTo>
                  <a:cubicBezTo>
                    <a:pt x="46" y="72"/>
                    <a:pt x="46" y="72"/>
                    <a:pt x="46" y="71"/>
                  </a:cubicBezTo>
                  <a:cubicBezTo>
                    <a:pt x="46" y="69"/>
                    <a:pt x="48" y="65"/>
                    <a:pt x="48" y="64"/>
                  </a:cubicBezTo>
                  <a:moveTo>
                    <a:pt x="45" y="53"/>
                  </a:moveTo>
                  <a:cubicBezTo>
                    <a:pt x="45" y="52"/>
                    <a:pt x="45" y="52"/>
                    <a:pt x="45" y="52"/>
                  </a:cubicBezTo>
                  <a:cubicBezTo>
                    <a:pt x="46" y="52"/>
                    <a:pt x="46" y="52"/>
                    <a:pt x="47" y="53"/>
                  </a:cubicBezTo>
                  <a:cubicBezTo>
                    <a:pt x="47" y="54"/>
                    <a:pt x="47" y="54"/>
                    <a:pt x="47" y="55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5" y="55"/>
                    <a:pt x="45" y="54"/>
                    <a:pt x="45" y="53"/>
                  </a:cubicBezTo>
                  <a:moveTo>
                    <a:pt x="42" y="41"/>
                  </a:moveTo>
                  <a:cubicBezTo>
                    <a:pt x="43" y="41"/>
                    <a:pt x="43" y="41"/>
                    <a:pt x="43" y="41"/>
                  </a:cubicBezTo>
                  <a:cubicBezTo>
                    <a:pt x="43" y="41"/>
                    <a:pt x="43" y="41"/>
                    <a:pt x="43" y="41"/>
                  </a:cubicBezTo>
                  <a:cubicBezTo>
                    <a:pt x="44" y="41"/>
                    <a:pt x="44" y="41"/>
                    <a:pt x="44" y="42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5"/>
                    <a:pt x="44" y="44"/>
                    <a:pt x="44" y="43"/>
                  </a:cubicBezTo>
                  <a:cubicBezTo>
                    <a:pt x="43" y="43"/>
                    <a:pt x="43" y="43"/>
                    <a:pt x="43" y="42"/>
                  </a:cubicBezTo>
                  <a:cubicBezTo>
                    <a:pt x="42" y="42"/>
                    <a:pt x="42" y="42"/>
                    <a:pt x="42" y="41"/>
                  </a:cubicBezTo>
                  <a:moveTo>
                    <a:pt x="45" y="35"/>
                  </a:moveTo>
                  <a:cubicBezTo>
                    <a:pt x="45" y="35"/>
                    <a:pt x="44" y="35"/>
                    <a:pt x="44" y="35"/>
                  </a:cubicBezTo>
                  <a:cubicBezTo>
                    <a:pt x="43" y="34"/>
                    <a:pt x="43" y="34"/>
                    <a:pt x="44" y="33"/>
                  </a:cubicBezTo>
                  <a:cubicBezTo>
                    <a:pt x="44" y="33"/>
                    <a:pt x="44" y="33"/>
                    <a:pt x="45" y="33"/>
                  </a:cubicBezTo>
                  <a:cubicBezTo>
                    <a:pt x="45" y="33"/>
                    <a:pt x="45" y="33"/>
                    <a:pt x="46" y="33"/>
                  </a:cubicBezTo>
                  <a:cubicBezTo>
                    <a:pt x="46" y="34"/>
                    <a:pt x="45" y="34"/>
                    <a:pt x="45" y="35"/>
                  </a:cubicBezTo>
                  <a:moveTo>
                    <a:pt x="47" y="38"/>
                  </a:moveTo>
                  <a:cubicBezTo>
                    <a:pt x="46" y="38"/>
                    <a:pt x="46" y="38"/>
                    <a:pt x="46" y="37"/>
                  </a:cubicBezTo>
                  <a:cubicBezTo>
                    <a:pt x="46" y="37"/>
                    <a:pt x="45" y="37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7" y="36"/>
                    <a:pt x="47" y="36"/>
                    <a:pt x="47" y="37"/>
                  </a:cubicBezTo>
                  <a:cubicBezTo>
                    <a:pt x="47" y="37"/>
                    <a:pt x="47" y="37"/>
                    <a:pt x="47" y="38"/>
                  </a:cubicBezTo>
                  <a:moveTo>
                    <a:pt x="47" y="41"/>
                  </a:moveTo>
                  <a:cubicBezTo>
                    <a:pt x="47" y="41"/>
                    <a:pt x="46" y="40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40"/>
                    <a:pt x="48" y="41"/>
                    <a:pt x="47" y="41"/>
                  </a:cubicBezTo>
                  <a:moveTo>
                    <a:pt x="48" y="44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7" y="42"/>
                    <a:pt x="48" y="42"/>
                    <a:pt x="48" y="43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8" y="44"/>
                    <a:pt x="48" y="44"/>
                    <a:pt x="48" y="44"/>
                  </a:cubicBezTo>
                  <a:moveTo>
                    <a:pt x="46" y="46"/>
                  </a:moveTo>
                  <a:cubicBezTo>
                    <a:pt x="46" y="45"/>
                    <a:pt x="46" y="45"/>
                    <a:pt x="46" y="45"/>
                  </a:cubicBezTo>
                  <a:cubicBezTo>
                    <a:pt x="47" y="44"/>
                    <a:pt x="47" y="44"/>
                    <a:pt x="47" y="45"/>
                  </a:cubicBezTo>
                  <a:cubicBezTo>
                    <a:pt x="47" y="45"/>
                    <a:pt x="47" y="45"/>
                    <a:pt x="47" y="45"/>
                  </a:cubicBezTo>
                  <a:cubicBezTo>
                    <a:pt x="48" y="46"/>
                    <a:pt x="48" y="48"/>
                    <a:pt x="48" y="48"/>
                  </a:cubicBezTo>
                  <a:cubicBezTo>
                    <a:pt x="47" y="49"/>
                    <a:pt x="46" y="47"/>
                    <a:pt x="46" y="46"/>
                  </a:cubicBezTo>
                  <a:moveTo>
                    <a:pt x="45" y="41"/>
                  </a:moveTo>
                  <a:cubicBezTo>
                    <a:pt x="44" y="42"/>
                    <a:pt x="45" y="41"/>
                    <a:pt x="44" y="40"/>
                  </a:cubicBezTo>
                  <a:cubicBezTo>
                    <a:pt x="44" y="40"/>
                    <a:pt x="43" y="40"/>
                    <a:pt x="43" y="39"/>
                  </a:cubicBezTo>
                  <a:cubicBezTo>
                    <a:pt x="43" y="38"/>
                    <a:pt x="43" y="38"/>
                    <a:pt x="44" y="38"/>
                  </a:cubicBezTo>
                  <a:cubicBezTo>
                    <a:pt x="44" y="38"/>
                    <a:pt x="46" y="40"/>
                    <a:pt x="46" y="41"/>
                  </a:cubicBezTo>
                  <a:cubicBezTo>
                    <a:pt x="46" y="41"/>
                    <a:pt x="46" y="41"/>
                    <a:pt x="45" y="41"/>
                  </a:cubicBezTo>
                  <a:moveTo>
                    <a:pt x="46" y="49"/>
                  </a:moveTo>
                  <a:cubicBezTo>
                    <a:pt x="47" y="49"/>
                    <a:pt x="47" y="49"/>
                    <a:pt x="47" y="50"/>
                  </a:cubicBezTo>
                  <a:cubicBezTo>
                    <a:pt x="47" y="50"/>
                    <a:pt x="48" y="51"/>
                    <a:pt x="47" y="51"/>
                  </a:cubicBezTo>
                  <a:cubicBezTo>
                    <a:pt x="46" y="51"/>
                    <a:pt x="46" y="50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moveTo>
                    <a:pt x="42" y="35"/>
                  </a:moveTo>
                  <a:cubicBezTo>
                    <a:pt x="42" y="35"/>
                    <a:pt x="42" y="35"/>
                    <a:pt x="42" y="35"/>
                  </a:cubicBezTo>
                  <a:cubicBezTo>
                    <a:pt x="43" y="35"/>
                    <a:pt x="43" y="35"/>
                    <a:pt x="44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4" y="38"/>
                    <a:pt x="44" y="37"/>
                    <a:pt x="43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5"/>
                    <a:pt x="42" y="35"/>
                    <a:pt x="42" y="35"/>
                  </a:cubicBezTo>
                  <a:moveTo>
                    <a:pt x="41" y="31"/>
                  </a:moveTo>
                  <a:cubicBezTo>
                    <a:pt x="41" y="30"/>
                    <a:pt x="42" y="29"/>
                    <a:pt x="43" y="29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3" y="33"/>
                    <a:pt x="42" y="33"/>
                  </a:cubicBezTo>
                  <a:cubicBezTo>
                    <a:pt x="42" y="33"/>
                    <a:pt x="42" y="33"/>
                    <a:pt x="41" y="33"/>
                  </a:cubicBezTo>
                  <a:cubicBezTo>
                    <a:pt x="41" y="33"/>
                    <a:pt x="41" y="31"/>
                    <a:pt x="41" y="31"/>
                  </a:cubicBezTo>
                  <a:moveTo>
                    <a:pt x="42" y="40"/>
                  </a:moveTo>
                  <a:cubicBezTo>
                    <a:pt x="41" y="40"/>
                    <a:pt x="41" y="39"/>
                    <a:pt x="40" y="38"/>
                  </a:cubicBezTo>
                  <a:cubicBezTo>
                    <a:pt x="40" y="38"/>
                    <a:pt x="38" y="36"/>
                    <a:pt x="38" y="36"/>
                  </a:cubicBezTo>
                  <a:cubicBezTo>
                    <a:pt x="38" y="36"/>
                    <a:pt x="38" y="35"/>
                    <a:pt x="39" y="35"/>
                  </a:cubicBezTo>
                  <a:cubicBezTo>
                    <a:pt x="39" y="35"/>
                    <a:pt x="42" y="38"/>
                    <a:pt x="42" y="38"/>
                  </a:cubicBezTo>
                  <a:cubicBezTo>
                    <a:pt x="42" y="38"/>
                    <a:pt x="42" y="40"/>
                    <a:pt x="42" y="40"/>
                  </a:cubicBezTo>
                  <a:moveTo>
                    <a:pt x="42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5"/>
                    <a:pt x="40" y="45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39" y="44"/>
                    <a:pt x="38" y="44"/>
                    <a:pt x="38" y="43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9" y="43"/>
                    <a:pt x="40" y="43"/>
                    <a:pt x="40" y="43"/>
                  </a:cubicBezTo>
                  <a:cubicBezTo>
                    <a:pt x="41" y="43"/>
                    <a:pt x="41" y="44"/>
                    <a:pt x="42" y="44"/>
                  </a:cubicBezTo>
                  <a:cubicBezTo>
                    <a:pt x="42" y="45"/>
                    <a:pt x="42" y="45"/>
                    <a:pt x="42" y="46"/>
                  </a:cubicBezTo>
                  <a:moveTo>
                    <a:pt x="33" y="43"/>
                  </a:moveTo>
                  <a:cubicBezTo>
                    <a:pt x="33" y="43"/>
                    <a:pt x="33" y="42"/>
                    <a:pt x="33" y="41"/>
                  </a:cubicBezTo>
                  <a:cubicBezTo>
                    <a:pt x="34" y="40"/>
                    <a:pt x="37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8" y="38"/>
                    <a:pt x="39" y="38"/>
                    <a:pt x="39" y="38"/>
                  </a:cubicBezTo>
                  <a:cubicBezTo>
                    <a:pt x="40" y="39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1" y="41"/>
                    <a:pt x="42" y="41"/>
                    <a:pt x="42" y="41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9" y="41"/>
                    <a:pt x="39" y="40"/>
                    <a:pt x="37" y="40"/>
                  </a:cubicBezTo>
                  <a:cubicBezTo>
                    <a:pt x="36" y="40"/>
                    <a:pt x="36" y="40"/>
                    <a:pt x="35" y="41"/>
                  </a:cubicBezTo>
                  <a:cubicBezTo>
                    <a:pt x="35" y="42"/>
                    <a:pt x="34" y="42"/>
                    <a:pt x="34" y="42"/>
                  </a:cubicBezTo>
                  <a:cubicBezTo>
                    <a:pt x="34" y="43"/>
                    <a:pt x="34" y="44"/>
                    <a:pt x="33" y="43"/>
                  </a:cubicBezTo>
                  <a:moveTo>
                    <a:pt x="30" y="56"/>
                  </a:moveTo>
                  <a:cubicBezTo>
                    <a:pt x="31" y="55"/>
                    <a:pt x="32" y="54"/>
                    <a:pt x="33" y="54"/>
                  </a:cubicBezTo>
                  <a:cubicBezTo>
                    <a:pt x="33" y="54"/>
                    <a:pt x="33" y="55"/>
                    <a:pt x="33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2"/>
                    <a:pt x="32" y="51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1" y="54"/>
                    <a:pt x="30" y="54"/>
                  </a:cubicBezTo>
                  <a:cubicBezTo>
                    <a:pt x="30" y="54"/>
                    <a:pt x="30" y="54"/>
                    <a:pt x="30" y="53"/>
                  </a:cubicBezTo>
                  <a:moveTo>
                    <a:pt x="31" y="47"/>
                  </a:moveTo>
                  <a:cubicBezTo>
                    <a:pt x="32" y="47"/>
                    <a:pt x="32" y="47"/>
                    <a:pt x="33" y="47"/>
                  </a:cubicBezTo>
                  <a:cubicBezTo>
                    <a:pt x="33" y="47"/>
                    <a:pt x="33" y="48"/>
                    <a:pt x="33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0" y="50"/>
                    <a:pt x="30" y="50"/>
                  </a:cubicBezTo>
                  <a:cubicBezTo>
                    <a:pt x="30" y="50"/>
                    <a:pt x="29" y="50"/>
                    <a:pt x="29" y="50"/>
                  </a:cubicBezTo>
                  <a:cubicBezTo>
                    <a:pt x="29" y="49"/>
                    <a:pt x="31" y="48"/>
                    <a:pt x="31" y="47"/>
                  </a:cubicBezTo>
                  <a:moveTo>
                    <a:pt x="30" y="46"/>
                  </a:moveTo>
                  <a:cubicBezTo>
                    <a:pt x="30" y="45"/>
                    <a:pt x="30" y="45"/>
                    <a:pt x="30" y="44"/>
                  </a:cubicBezTo>
                  <a:cubicBezTo>
                    <a:pt x="30" y="44"/>
                    <a:pt x="31" y="43"/>
                    <a:pt x="31" y="43"/>
                  </a:cubicBezTo>
                  <a:cubicBezTo>
                    <a:pt x="32" y="43"/>
                    <a:pt x="32" y="44"/>
                    <a:pt x="32" y="45"/>
                  </a:cubicBezTo>
                  <a:cubicBezTo>
                    <a:pt x="32" y="46"/>
                    <a:pt x="31" y="46"/>
                    <a:pt x="30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30" y="46"/>
                    <a:pt x="30" y="46"/>
                    <a:pt x="30" y="46"/>
                  </a:cubicBezTo>
                  <a:moveTo>
                    <a:pt x="31" y="32"/>
                  </a:move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1" y="32"/>
                    <a:pt x="31" y="32"/>
                    <a:pt x="31" y="32"/>
                  </a:cubicBezTo>
                  <a:moveTo>
                    <a:pt x="32" y="36"/>
                  </a:moveTo>
                  <a:cubicBezTo>
                    <a:pt x="32" y="37"/>
                    <a:pt x="31" y="38"/>
                    <a:pt x="31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1" y="42"/>
                    <a:pt x="30" y="42"/>
                  </a:cubicBezTo>
                  <a:cubicBezTo>
                    <a:pt x="30" y="42"/>
                    <a:pt x="29" y="42"/>
                    <a:pt x="29" y="41"/>
                  </a:cubicBezTo>
                  <a:cubicBezTo>
                    <a:pt x="30" y="38"/>
                    <a:pt x="30" y="37"/>
                    <a:pt x="31" y="35"/>
                  </a:cubicBezTo>
                  <a:cubicBezTo>
                    <a:pt x="31" y="34"/>
                    <a:pt x="32" y="33"/>
                    <a:pt x="33" y="34"/>
                  </a:cubicBezTo>
                  <a:cubicBezTo>
                    <a:pt x="34" y="34"/>
                    <a:pt x="33" y="35"/>
                    <a:pt x="32" y="36"/>
                  </a:cubicBezTo>
                  <a:moveTo>
                    <a:pt x="35" y="35"/>
                  </a:moveTo>
                  <a:cubicBezTo>
                    <a:pt x="35" y="35"/>
                    <a:pt x="35" y="35"/>
                    <a:pt x="35" y="35"/>
                  </a:cubicBezTo>
                  <a:cubicBezTo>
                    <a:pt x="36" y="35"/>
                    <a:pt x="37" y="35"/>
                    <a:pt x="36" y="36"/>
                  </a:cubicBezTo>
                  <a:cubicBezTo>
                    <a:pt x="36" y="37"/>
                    <a:pt x="35" y="37"/>
                    <a:pt x="34" y="38"/>
                  </a:cubicBezTo>
                  <a:cubicBezTo>
                    <a:pt x="34" y="38"/>
                    <a:pt x="34" y="39"/>
                    <a:pt x="34" y="39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2" y="40"/>
                    <a:pt x="32" y="38"/>
                    <a:pt x="33" y="37"/>
                  </a:cubicBezTo>
                  <a:cubicBezTo>
                    <a:pt x="33" y="37"/>
                    <a:pt x="34" y="35"/>
                    <a:pt x="35" y="35"/>
                  </a:cubicBezTo>
                  <a:moveTo>
                    <a:pt x="36" y="32"/>
                  </a:moveTo>
                  <a:cubicBezTo>
                    <a:pt x="37" y="33"/>
                    <a:pt x="37" y="33"/>
                    <a:pt x="37" y="33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2"/>
                    <a:pt x="40" y="33"/>
                  </a:cubicBezTo>
                  <a:cubicBezTo>
                    <a:pt x="39" y="34"/>
                    <a:pt x="39" y="33"/>
                    <a:pt x="38" y="33"/>
                  </a:cubicBezTo>
                  <a:cubicBezTo>
                    <a:pt x="37" y="33"/>
                    <a:pt x="36" y="34"/>
                    <a:pt x="36" y="34"/>
                  </a:cubicBezTo>
                  <a:cubicBezTo>
                    <a:pt x="35" y="34"/>
                    <a:pt x="35" y="33"/>
                    <a:pt x="34" y="33"/>
                  </a:cubicBezTo>
                  <a:cubicBezTo>
                    <a:pt x="34" y="32"/>
                    <a:pt x="34" y="31"/>
                    <a:pt x="34" y="31"/>
                  </a:cubicBezTo>
                  <a:cubicBezTo>
                    <a:pt x="35" y="30"/>
                    <a:pt x="36" y="31"/>
                    <a:pt x="36" y="31"/>
                  </a:cubicBezTo>
                  <a:cubicBezTo>
                    <a:pt x="36" y="32"/>
                    <a:pt x="36" y="32"/>
                    <a:pt x="36" y="32"/>
                  </a:cubicBezTo>
                  <a:moveTo>
                    <a:pt x="27" y="36"/>
                  </a:moveTo>
                  <a:cubicBezTo>
                    <a:pt x="27" y="35"/>
                    <a:pt x="27" y="34"/>
                    <a:pt x="28" y="34"/>
                  </a:cubicBezTo>
                  <a:cubicBezTo>
                    <a:pt x="28" y="34"/>
                    <a:pt x="29" y="33"/>
                    <a:pt x="30" y="33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7" y="37"/>
                    <a:pt x="27" y="36"/>
                  </a:cubicBezTo>
                  <a:moveTo>
                    <a:pt x="27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9"/>
                    <a:pt x="27" y="37"/>
                    <a:pt x="28" y="37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9"/>
                    <a:pt x="27" y="40"/>
                    <a:pt x="27" y="40"/>
                  </a:cubicBezTo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7" y="31"/>
                    <a:pt x="27" y="31"/>
                  </a:cubicBezTo>
                  <a:cubicBezTo>
                    <a:pt x="29" y="32"/>
                    <a:pt x="27" y="33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2"/>
                    <a:pt x="26" y="32"/>
                    <a:pt x="26" y="32"/>
                  </a:cubicBezTo>
                  <a:moveTo>
                    <a:pt x="25" y="38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25" y="37"/>
                    <a:pt x="26" y="36"/>
                    <a:pt x="26" y="36"/>
                  </a:cubicBezTo>
                  <a:cubicBezTo>
                    <a:pt x="27" y="36"/>
                    <a:pt x="26" y="37"/>
                    <a:pt x="26" y="38"/>
                  </a:cubicBezTo>
                  <a:cubicBezTo>
                    <a:pt x="26" y="38"/>
                    <a:pt x="25" y="38"/>
                    <a:pt x="25" y="38"/>
                  </a:cubicBezTo>
                  <a:moveTo>
                    <a:pt x="24" y="39"/>
                  </a:move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4" y="39"/>
                    <a:pt x="24" y="39"/>
                    <a:pt x="24" y="39"/>
                  </a:cubicBezTo>
                  <a:moveTo>
                    <a:pt x="24" y="42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5" y="40"/>
                    <a:pt x="25" y="40"/>
                  </a:cubicBezTo>
                  <a:cubicBezTo>
                    <a:pt x="26" y="41"/>
                    <a:pt x="25" y="42"/>
                    <a:pt x="25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2"/>
                    <a:pt x="24" y="42"/>
                    <a:pt x="24" y="42"/>
                  </a:cubicBezTo>
                  <a:moveTo>
                    <a:pt x="28" y="44"/>
                  </a:moveTo>
                  <a:cubicBezTo>
                    <a:pt x="28" y="44"/>
                    <a:pt x="27" y="45"/>
                    <a:pt x="27" y="45"/>
                  </a:cubicBezTo>
                  <a:cubicBezTo>
                    <a:pt x="26" y="45"/>
                    <a:pt x="26" y="45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3"/>
                    <a:pt x="27" y="43"/>
                  </a:cubicBezTo>
                  <a:cubicBezTo>
                    <a:pt x="27" y="42"/>
                    <a:pt x="28" y="41"/>
                    <a:pt x="28" y="41"/>
                  </a:cubicBezTo>
                  <a:cubicBezTo>
                    <a:pt x="29" y="42"/>
                    <a:pt x="29" y="43"/>
                    <a:pt x="28" y="44"/>
                  </a:cubicBezTo>
                  <a:moveTo>
                    <a:pt x="28" y="47"/>
                  </a:moveTo>
                  <a:cubicBezTo>
                    <a:pt x="28" y="48"/>
                    <a:pt x="28" y="48"/>
                    <a:pt x="28" y="49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50"/>
                    <a:pt x="27" y="49"/>
                    <a:pt x="27" y="48"/>
                  </a:cubicBezTo>
                  <a:cubicBezTo>
                    <a:pt x="27" y="48"/>
                    <a:pt x="27" y="46"/>
                    <a:pt x="27" y="46"/>
                  </a:cubicBezTo>
                  <a:cubicBezTo>
                    <a:pt x="27" y="46"/>
                    <a:pt x="28" y="45"/>
                    <a:pt x="28" y="45"/>
                  </a:cubicBezTo>
                  <a:cubicBezTo>
                    <a:pt x="29" y="46"/>
                    <a:pt x="29" y="47"/>
                    <a:pt x="28" y="47"/>
                  </a:cubicBezTo>
                  <a:moveTo>
                    <a:pt x="28" y="55"/>
                  </a:moveTo>
                  <a:cubicBezTo>
                    <a:pt x="27" y="55"/>
                    <a:pt x="27" y="54"/>
                    <a:pt x="27" y="54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7" y="53"/>
                    <a:pt x="28" y="53"/>
                    <a:pt x="28" y="54"/>
                  </a:cubicBezTo>
                  <a:cubicBezTo>
                    <a:pt x="29" y="54"/>
                    <a:pt x="28" y="54"/>
                    <a:pt x="28" y="55"/>
                  </a:cubicBezTo>
                  <a:moveTo>
                    <a:pt x="27" y="52"/>
                  </a:move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8" y="50"/>
                    <a:pt x="28" y="50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8" y="51"/>
                    <a:pt x="28" y="52"/>
                    <a:pt x="27" y="52"/>
                  </a:cubicBezTo>
                  <a:moveTo>
                    <a:pt x="40" y="48"/>
                  </a:moveTo>
                  <a:cubicBezTo>
                    <a:pt x="39" y="47"/>
                    <a:pt x="39" y="47"/>
                    <a:pt x="39" y="47"/>
                  </a:cubicBezTo>
                  <a:cubicBezTo>
                    <a:pt x="38" y="47"/>
                    <a:pt x="36" y="45"/>
                    <a:pt x="36" y="45"/>
                  </a:cubicBezTo>
                  <a:cubicBezTo>
                    <a:pt x="36" y="45"/>
                    <a:pt x="36" y="45"/>
                    <a:pt x="36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4" y="47"/>
                    <a:pt x="34" y="48"/>
                    <a:pt x="33" y="47"/>
                  </a:cubicBezTo>
                  <a:cubicBezTo>
                    <a:pt x="33" y="46"/>
                    <a:pt x="34" y="45"/>
                    <a:pt x="35" y="44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2"/>
                    <a:pt x="37" y="43"/>
                    <a:pt x="37" y="44"/>
                  </a:cubicBezTo>
                  <a:cubicBezTo>
                    <a:pt x="37" y="44"/>
                    <a:pt x="38" y="44"/>
                    <a:pt x="38" y="45"/>
                  </a:cubicBezTo>
                  <a:cubicBezTo>
                    <a:pt x="39" y="45"/>
                    <a:pt x="39" y="45"/>
                    <a:pt x="40" y="46"/>
                  </a:cubicBezTo>
                  <a:cubicBezTo>
                    <a:pt x="40" y="47"/>
                    <a:pt x="41" y="47"/>
                    <a:pt x="42" y="48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1" y="50"/>
                    <a:pt x="41" y="48"/>
                    <a:pt x="40" y="48"/>
                  </a:cubicBezTo>
                  <a:moveTo>
                    <a:pt x="39" y="51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49"/>
                    <a:pt x="37" y="48"/>
                    <a:pt x="38" y="48"/>
                  </a:cubicBezTo>
                  <a:cubicBezTo>
                    <a:pt x="38" y="48"/>
                    <a:pt x="39" y="49"/>
                    <a:pt x="40" y="4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39" y="51"/>
                    <a:pt x="39" y="51"/>
                    <a:pt x="39" y="51"/>
                  </a:cubicBezTo>
                  <a:moveTo>
                    <a:pt x="39" y="54"/>
                  </a:moveTo>
                  <a:cubicBezTo>
                    <a:pt x="38" y="53"/>
                    <a:pt x="38" y="53"/>
                    <a:pt x="38" y="52"/>
                  </a:cubicBezTo>
                  <a:cubicBezTo>
                    <a:pt x="38" y="52"/>
                    <a:pt x="38" y="51"/>
                    <a:pt x="39" y="51"/>
                  </a:cubicBezTo>
                  <a:cubicBezTo>
                    <a:pt x="39" y="52"/>
                    <a:pt x="40" y="53"/>
                    <a:pt x="40" y="53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moveTo>
                    <a:pt x="35" y="56"/>
                  </a:moveTo>
                  <a:cubicBezTo>
                    <a:pt x="35" y="56"/>
                    <a:pt x="35" y="55"/>
                    <a:pt x="36" y="55"/>
                  </a:cubicBezTo>
                  <a:cubicBezTo>
                    <a:pt x="36" y="54"/>
                    <a:pt x="37" y="54"/>
                    <a:pt x="37" y="54"/>
                  </a:cubicBezTo>
                  <a:cubicBezTo>
                    <a:pt x="38" y="53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4"/>
                    <a:pt x="37" y="55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5" y="56"/>
                    <a:pt x="35" y="56"/>
                    <a:pt x="35" y="56"/>
                  </a:cubicBezTo>
                  <a:moveTo>
                    <a:pt x="37" y="50"/>
                  </a:moveTo>
                  <a:cubicBezTo>
                    <a:pt x="37" y="50"/>
                    <a:pt x="37" y="52"/>
                    <a:pt x="37" y="52"/>
                  </a:cubicBezTo>
                  <a:cubicBezTo>
                    <a:pt x="37" y="52"/>
                    <a:pt x="35" y="55"/>
                    <a:pt x="35" y="54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2"/>
                    <a:pt x="35" y="52"/>
                  </a:cubicBezTo>
                  <a:cubicBezTo>
                    <a:pt x="36" y="51"/>
                    <a:pt x="37" y="50"/>
                    <a:pt x="37" y="50"/>
                  </a:cubicBezTo>
                  <a:moveTo>
                    <a:pt x="36" y="49"/>
                  </a:move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5" y="49"/>
                    <a:pt x="35" y="48"/>
                  </a:cubicBezTo>
                  <a:cubicBezTo>
                    <a:pt x="35" y="48"/>
                    <a:pt x="36" y="47"/>
                    <a:pt x="36" y="48"/>
                  </a:cubicBezTo>
                  <a:cubicBezTo>
                    <a:pt x="37" y="48"/>
                    <a:pt x="36" y="48"/>
                    <a:pt x="36" y="49"/>
                  </a:cubicBezTo>
                  <a:moveTo>
                    <a:pt x="42" y="55"/>
                  </a:move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5"/>
                  </a:cubicBezTo>
                  <a:cubicBezTo>
                    <a:pt x="41" y="54"/>
                    <a:pt x="41" y="54"/>
                    <a:pt x="41" y="55"/>
                  </a:cubicBezTo>
                  <a:cubicBezTo>
                    <a:pt x="42" y="55"/>
                    <a:pt x="42" y="55"/>
                    <a:pt x="42" y="55"/>
                  </a:cubicBezTo>
                  <a:moveTo>
                    <a:pt x="41" y="53"/>
                  </a:moveTo>
                  <a:cubicBezTo>
                    <a:pt x="41" y="53"/>
                    <a:pt x="40" y="51"/>
                    <a:pt x="40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2" y="52"/>
                    <a:pt x="42" y="52"/>
                  </a:cubicBezTo>
                  <a:cubicBezTo>
                    <a:pt x="41" y="53"/>
                    <a:pt x="41" y="53"/>
                    <a:pt x="41" y="53"/>
                  </a:cubicBezTo>
                  <a:moveTo>
                    <a:pt x="43" y="54"/>
                  </a:moveTo>
                  <a:cubicBezTo>
                    <a:pt x="43" y="54"/>
                    <a:pt x="43" y="53"/>
                    <a:pt x="43" y="53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2"/>
                    <a:pt x="44" y="52"/>
                    <a:pt x="44" y="52"/>
                  </a:cubicBezTo>
                  <a:cubicBezTo>
                    <a:pt x="44" y="53"/>
                    <a:pt x="44" y="54"/>
                    <a:pt x="44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4"/>
                    <a:pt x="43" y="54"/>
                    <a:pt x="43" y="54"/>
                  </a:cubicBezTo>
                  <a:moveTo>
                    <a:pt x="45" y="51"/>
                  </a:moveTo>
                  <a:cubicBezTo>
                    <a:pt x="45" y="51"/>
                    <a:pt x="45" y="51"/>
                    <a:pt x="45" y="51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8"/>
                    <a:pt x="44" y="48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5" y="48"/>
                    <a:pt x="44" y="47"/>
                    <a:pt x="44" y="47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45"/>
                    <a:pt x="43" y="45"/>
                    <a:pt x="43" y="45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5" y="46"/>
                    <a:pt x="45" y="47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5" y="48"/>
                    <a:pt x="45" y="49"/>
                    <a:pt x="45" y="49"/>
                  </a:cubicBezTo>
                  <a:cubicBezTo>
                    <a:pt x="45" y="49"/>
                    <a:pt x="45" y="50"/>
                    <a:pt x="45" y="51"/>
                  </a:cubicBezTo>
                  <a:moveTo>
                    <a:pt x="50" y="39"/>
                  </a:moveTo>
                  <a:cubicBezTo>
                    <a:pt x="50" y="39"/>
                    <a:pt x="49" y="40"/>
                    <a:pt x="49" y="39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9" y="37"/>
                    <a:pt x="50" y="38"/>
                    <a:pt x="50" y="39"/>
                  </a:cubicBezTo>
                  <a:moveTo>
                    <a:pt x="50" y="32"/>
                  </a:move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1"/>
                    <a:pt x="49" y="29"/>
                    <a:pt x="50" y="29"/>
                  </a:cubicBezTo>
                  <a:cubicBezTo>
                    <a:pt x="51" y="29"/>
                    <a:pt x="50" y="31"/>
                    <a:pt x="50" y="32"/>
                  </a:cubicBezTo>
                  <a:moveTo>
                    <a:pt x="51" y="32"/>
                  </a:moveTo>
                  <a:cubicBezTo>
                    <a:pt x="51" y="32"/>
                    <a:pt x="51" y="33"/>
                    <a:pt x="51" y="33"/>
                  </a:cubicBezTo>
                  <a:cubicBezTo>
                    <a:pt x="51" y="34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34"/>
                    <a:pt x="52" y="34"/>
                    <a:pt x="52" y="35"/>
                  </a:cubicBezTo>
                  <a:cubicBezTo>
                    <a:pt x="52" y="35"/>
                    <a:pt x="52" y="37"/>
                    <a:pt x="51" y="37"/>
                  </a:cubicBezTo>
                  <a:cubicBezTo>
                    <a:pt x="51" y="37"/>
                    <a:pt x="50" y="36"/>
                    <a:pt x="50" y="3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4"/>
                    <a:pt x="49" y="34"/>
                    <a:pt x="50" y="33"/>
                  </a:cubicBezTo>
                  <a:cubicBezTo>
                    <a:pt x="50" y="32"/>
                    <a:pt x="50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moveTo>
                    <a:pt x="54" y="25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24"/>
                    <a:pt x="54" y="24"/>
                    <a:pt x="54" y="25"/>
                  </a:cubicBezTo>
                  <a:moveTo>
                    <a:pt x="51" y="28"/>
                  </a:moveTo>
                  <a:cubicBezTo>
                    <a:pt x="51" y="28"/>
                    <a:pt x="52" y="27"/>
                    <a:pt x="53" y="27"/>
                  </a:cubicBezTo>
                  <a:cubicBezTo>
                    <a:pt x="53" y="26"/>
                    <a:pt x="54" y="26"/>
                    <a:pt x="54" y="27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3" y="29"/>
                    <a:pt x="53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1" y="28"/>
                    <a:pt x="51" y="28"/>
                    <a:pt x="51" y="28"/>
                  </a:cubicBezTo>
                  <a:moveTo>
                    <a:pt x="55" y="31"/>
                  </a:moveTo>
                  <a:cubicBezTo>
                    <a:pt x="54" y="31"/>
                    <a:pt x="54" y="31"/>
                    <a:pt x="53" y="32"/>
                  </a:cubicBezTo>
                  <a:cubicBezTo>
                    <a:pt x="53" y="32"/>
                    <a:pt x="53" y="33"/>
                    <a:pt x="52" y="33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3" y="30"/>
                    <a:pt x="53" y="30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5" y="31"/>
                    <a:pt x="55" y="31"/>
                    <a:pt x="55" y="31"/>
                  </a:cubicBezTo>
                  <a:moveTo>
                    <a:pt x="54" y="34"/>
                  </a:moveTo>
                  <a:cubicBezTo>
                    <a:pt x="53" y="34"/>
                    <a:pt x="53" y="34"/>
                    <a:pt x="53" y="34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6" y="32"/>
                    <a:pt x="56" y="33"/>
                    <a:pt x="56" y="33"/>
                  </a:cubicBezTo>
                  <a:cubicBezTo>
                    <a:pt x="56" y="33"/>
                    <a:pt x="54" y="35"/>
                    <a:pt x="54" y="34"/>
                  </a:cubicBezTo>
                  <a:moveTo>
                    <a:pt x="51" y="51"/>
                  </a:move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0" y="51"/>
                    <a:pt x="50" y="5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1" y="51"/>
                    <a:pt x="51" y="51"/>
                    <a:pt x="51" y="51"/>
                  </a:cubicBezTo>
                  <a:moveTo>
                    <a:pt x="51" y="40"/>
                  </a:moveTo>
                  <a:cubicBezTo>
                    <a:pt x="51" y="39"/>
                    <a:pt x="51" y="38"/>
                    <a:pt x="52" y="38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4" y="37"/>
                    <a:pt x="53" y="39"/>
                    <a:pt x="52" y="40"/>
                  </a:cubicBezTo>
                  <a:cubicBezTo>
                    <a:pt x="52" y="41"/>
                    <a:pt x="52" y="42"/>
                    <a:pt x="51" y="42"/>
                  </a:cubicBezTo>
                  <a:cubicBezTo>
                    <a:pt x="51" y="42"/>
                    <a:pt x="50" y="40"/>
                    <a:pt x="51" y="40"/>
                  </a:cubicBezTo>
                  <a:moveTo>
                    <a:pt x="54" y="41"/>
                  </a:moveTo>
                  <a:cubicBezTo>
                    <a:pt x="54" y="41"/>
                    <a:pt x="53" y="42"/>
                    <a:pt x="53" y="42"/>
                  </a:cubicBezTo>
                  <a:cubicBezTo>
                    <a:pt x="53" y="43"/>
                    <a:pt x="53" y="43"/>
                    <a:pt x="53" y="44"/>
                  </a:cubicBezTo>
                  <a:cubicBezTo>
                    <a:pt x="53" y="44"/>
                    <a:pt x="54" y="45"/>
                    <a:pt x="54" y="45"/>
                  </a:cubicBezTo>
                  <a:cubicBezTo>
                    <a:pt x="54" y="46"/>
                    <a:pt x="54" y="46"/>
                    <a:pt x="54" y="46"/>
                  </a:cubicBezTo>
                  <a:cubicBezTo>
                    <a:pt x="54" y="46"/>
                    <a:pt x="53" y="49"/>
                    <a:pt x="52" y="50"/>
                  </a:cubicBezTo>
                  <a:cubicBezTo>
                    <a:pt x="52" y="50"/>
                    <a:pt x="51" y="49"/>
                    <a:pt x="51" y="49"/>
                  </a:cubicBezTo>
                  <a:cubicBezTo>
                    <a:pt x="51" y="48"/>
                    <a:pt x="51" y="48"/>
                    <a:pt x="52" y="47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52" y="45"/>
                    <a:pt x="52" y="46"/>
                    <a:pt x="52" y="46"/>
                  </a:cubicBezTo>
                  <a:cubicBezTo>
                    <a:pt x="51" y="46"/>
                    <a:pt x="51" y="46"/>
                    <a:pt x="51" y="45"/>
                  </a:cubicBezTo>
                  <a:cubicBezTo>
                    <a:pt x="51" y="44"/>
                    <a:pt x="52" y="44"/>
                    <a:pt x="52" y="43"/>
                  </a:cubicBezTo>
                  <a:cubicBezTo>
                    <a:pt x="53" y="43"/>
                    <a:pt x="52" y="42"/>
                    <a:pt x="53" y="41"/>
                  </a:cubicBezTo>
                  <a:cubicBezTo>
                    <a:pt x="53" y="41"/>
                    <a:pt x="53" y="39"/>
                    <a:pt x="53" y="39"/>
                  </a:cubicBezTo>
                  <a:cubicBezTo>
                    <a:pt x="54" y="39"/>
                    <a:pt x="54" y="40"/>
                    <a:pt x="54" y="41"/>
                  </a:cubicBezTo>
                  <a:moveTo>
                    <a:pt x="57" y="42"/>
                  </a:moveTo>
                  <a:cubicBezTo>
                    <a:pt x="57" y="42"/>
                    <a:pt x="57" y="42"/>
                    <a:pt x="57" y="42"/>
                  </a:cubicBezTo>
                  <a:cubicBezTo>
                    <a:pt x="58" y="43"/>
                    <a:pt x="58" y="43"/>
                    <a:pt x="58" y="44"/>
                  </a:cubicBezTo>
                  <a:cubicBezTo>
                    <a:pt x="58" y="44"/>
                    <a:pt x="57" y="46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6" y="45"/>
                    <a:pt x="57" y="43"/>
                    <a:pt x="57" y="42"/>
                  </a:cubicBezTo>
                  <a:moveTo>
                    <a:pt x="55" y="44"/>
                  </a:moveTo>
                  <a:cubicBezTo>
                    <a:pt x="55" y="45"/>
                    <a:pt x="55" y="45"/>
                    <a:pt x="55" y="45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4" y="42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ubicBezTo>
                    <a:pt x="56" y="40"/>
                    <a:pt x="56" y="42"/>
                    <a:pt x="56" y="42"/>
                  </a:cubicBezTo>
                  <a:cubicBezTo>
                    <a:pt x="56" y="42"/>
                    <a:pt x="56" y="44"/>
                    <a:pt x="55" y="44"/>
                  </a:cubicBezTo>
                  <a:moveTo>
                    <a:pt x="34" y="23"/>
                  </a:moveTo>
                  <a:cubicBezTo>
                    <a:pt x="34" y="23"/>
                    <a:pt x="36" y="22"/>
                    <a:pt x="37" y="22"/>
                  </a:cubicBezTo>
                  <a:cubicBezTo>
                    <a:pt x="39" y="22"/>
                    <a:pt x="41" y="22"/>
                    <a:pt x="41" y="23"/>
                  </a:cubicBezTo>
                  <a:cubicBezTo>
                    <a:pt x="41" y="24"/>
                    <a:pt x="39" y="25"/>
                    <a:pt x="38" y="25"/>
                  </a:cubicBezTo>
                  <a:cubicBezTo>
                    <a:pt x="36" y="25"/>
                    <a:pt x="34" y="24"/>
                    <a:pt x="34" y="23"/>
                  </a:cubicBezTo>
                  <a:moveTo>
                    <a:pt x="35" y="26"/>
                  </a:moveTo>
                  <a:cubicBezTo>
                    <a:pt x="36" y="27"/>
                    <a:pt x="39" y="26"/>
                    <a:pt x="40" y="26"/>
                  </a:cubicBezTo>
                  <a:cubicBezTo>
                    <a:pt x="41" y="26"/>
                    <a:pt x="44" y="23"/>
                    <a:pt x="44" y="24"/>
                  </a:cubicBezTo>
                  <a:cubicBezTo>
                    <a:pt x="45" y="25"/>
                    <a:pt x="44" y="25"/>
                    <a:pt x="44" y="26"/>
                  </a:cubicBezTo>
                  <a:cubicBezTo>
                    <a:pt x="44" y="27"/>
                    <a:pt x="42" y="28"/>
                    <a:pt x="40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4" y="28"/>
                    <a:pt x="32" y="27"/>
                    <a:pt x="33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4"/>
                    <a:pt x="35" y="25"/>
                    <a:pt x="35" y="26"/>
                  </a:cubicBezTo>
                  <a:moveTo>
                    <a:pt x="16" y="30"/>
                  </a:moveTo>
                  <a:cubicBezTo>
                    <a:pt x="16" y="29"/>
                    <a:pt x="15" y="29"/>
                    <a:pt x="15" y="28"/>
                  </a:cubicBezTo>
                  <a:cubicBezTo>
                    <a:pt x="14" y="28"/>
                    <a:pt x="13" y="27"/>
                    <a:pt x="13" y="26"/>
                  </a:cubicBezTo>
                  <a:cubicBezTo>
                    <a:pt x="14" y="26"/>
                    <a:pt x="14" y="26"/>
                    <a:pt x="15" y="26"/>
                  </a:cubicBezTo>
                  <a:cubicBezTo>
                    <a:pt x="15" y="26"/>
                    <a:pt x="17" y="29"/>
                    <a:pt x="17" y="30"/>
                  </a:cubicBezTo>
                  <a:cubicBezTo>
                    <a:pt x="16" y="30"/>
                    <a:pt x="16" y="31"/>
                    <a:pt x="16" y="31"/>
                  </a:cubicBezTo>
                  <a:cubicBezTo>
                    <a:pt x="16" y="32"/>
                    <a:pt x="16" y="32"/>
                    <a:pt x="17" y="33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4" y="30"/>
                    <a:pt x="14" y="30"/>
                  </a:cubicBezTo>
                  <a:cubicBezTo>
                    <a:pt x="13" y="30"/>
                    <a:pt x="13" y="29"/>
                    <a:pt x="14" y="29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6" y="30"/>
                    <a:pt x="16" y="30"/>
                    <a:pt x="16" y="30"/>
                  </a:cubicBezTo>
                  <a:moveTo>
                    <a:pt x="27" y="87"/>
                  </a:moveTo>
                  <a:cubicBezTo>
                    <a:pt x="26" y="86"/>
                    <a:pt x="26" y="86"/>
                    <a:pt x="26" y="86"/>
                  </a:cubicBezTo>
                  <a:cubicBezTo>
                    <a:pt x="27" y="86"/>
                    <a:pt x="27" y="86"/>
                    <a:pt x="28" y="8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8" y="87"/>
                    <a:pt x="27" y="87"/>
                    <a:pt x="27" y="87"/>
                  </a:cubicBezTo>
                  <a:moveTo>
                    <a:pt x="25" y="86"/>
                  </a:moveTo>
                  <a:cubicBezTo>
                    <a:pt x="25" y="86"/>
                    <a:pt x="25" y="86"/>
                    <a:pt x="25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6" y="87"/>
                    <a:pt x="26" y="87"/>
                  </a:cubicBezTo>
                  <a:cubicBezTo>
                    <a:pt x="25" y="87"/>
                    <a:pt x="24" y="88"/>
                    <a:pt x="24" y="87"/>
                  </a:cubicBezTo>
                  <a:cubicBezTo>
                    <a:pt x="25" y="86"/>
                    <a:pt x="25" y="86"/>
                    <a:pt x="25" y="86"/>
                  </a:cubicBezTo>
                  <a:moveTo>
                    <a:pt x="21" y="93"/>
                  </a:moveTo>
                  <a:cubicBezTo>
                    <a:pt x="21" y="91"/>
                    <a:pt x="21" y="91"/>
                    <a:pt x="21" y="91"/>
                  </a:cubicBezTo>
                  <a:cubicBezTo>
                    <a:pt x="21" y="91"/>
                    <a:pt x="21" y="91"/>
                    <a:pt x="21" y="91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89"/>
                    <a:pt x="21" y="89"/>
                    <a:pt x="22" y="89"/>
                  </a:cubicBezTo>
                  <a:cubicBezTo>
                    <a:pt x="23" y="89"/>
                    <a:pt x="23" y="89"/>
                    <a:pt x="24" y="89"/>
                  </a:cubicBezTo>
                  <a:cubicBezTo>
                    <a:pt x="25" y="89"/>
                    <a:pt x="27" y="89"/>
                    <a:pt x="27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6" y="90"/>
                    <a:pt x="26" y="90"/>
                    <a:pt x="25" y="91"/>
                  </a:cubicBezTo>
                  <a:cubicBezTo>
                    <a:pt x="25" y="91"/>
                    <a:pt x="25" y="92"/>
                    <a:pt x="25" y="92"/>
                  </a:cubicBezTo>
                  <a:cubicBezTo>
                    <a:pt x="25" y="94"/>
                    <a:pt x="25" y="96"/>
                    <a:pt x="24" y="96"/>
                  </a:cubicBezTo>
                  <a:cubicBezTo>
                    <a:pt x="23" y="96"/>
                    <a:pt x="21" y="96"/>
                    <a:pt x="20" y="94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1" y="93"/>
                    <a:pt x="21" y="93"/>
                    <a:pt x="21" y="93"/>
                  </a:cubicBezTo>
                  <a:moveTo>
                    <a:pt x="21" y="85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3" y="85"/>
                    <a:pt x="23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moveTo>
                    <a:pt x="22" y="87"/>
                  </a:moveTo>
                  <a:cubicBezTo>
                    <a:pt x="23" y="87"/>
                    <a:pt x="23" y="87"/>
                    <a:pt x="23" y="86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24" y="87"/>
                    <a:pt x="23" y="88"/>
                    <a:pt x="23" y="88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1" y="87"/>
                    <a:pt x="21" y="87"/>
                    <a:pt x="21" y="87"/>
                  </a:cubicBezTo>
                  <a:cubicBezTo>
                    <a:pt x="20" y="87"/>
                    <a:pt x="20" y="87"/>
                    <a:pt x="20" y="87"/>
                  </a:cubicBezTo>
                  <a:cubicBezTo>
                    <a:pt x="20" y="87"/>
                    <a:pt x="20" y="87"/>
                    <a:pt x="20" y="87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2" y="86"/>
                    <a:pt x="22" y="87"/>
                    <a:pt x="22" y="87"/>
                  </a:cubicBezTo>
                  <a:moveTo>
                    <a:pt x="29" y="87"/>
                  </a:moveTo>
                  <a:cubicBezTo>
                    <a:pt x="28" y="87"/>
                    <a:pt x="28" y="87"/>
                    <a:pt x="28" y="87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0" y="87"/>
                    <a:pt x="29" y="87"/>
                    <a:pt x="29" y="87"/>
                  </a:cubicBezTo>
                  <a:moveTo>
                    <a:pt x="28" y="85"/>
                  </a:moveTo>
                  <a:cubicBezTo>
                    <a:pt x="28" y="84"/>
                    <a:pt x="28" y="84"/>
                    <a:pt x="28" y="84"/>
                  </a:cubicBezTo>
                  <a:cubicBezTo>
                    <a:pt x="28" y="84"/>
                    <a:pt x="29" y="83"/>
                    <a:pt x="29" y="83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4"/>
                    <a:pt x="29" y="85"/>
                    <a:pt x="28" y="85"/>
                  </a:cubicBezTo>
                  <a:moveTo>
                    <a:pt x="32" y="86"/>
                  </a:moveTo>
                  <a:cubicBezTo>
                    <a:pt x="31" y="86"/>
                    <a:pt x="31" y="86"/>
                    <a:pt x="31" y="86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2" y="86"/>
                    <a:pt x="32" y="86"/>
                    <a:pt x="32" y="86"/>
                  </a:cubicBezTo>
                  <a:cubicBezTo>
                    <a:pt x="32" y="86"/>
                    <a:pt x="32" y="86"/>
                    <a:pt x="32" y="86"/>
                  </a:cubicBezTo>
                  <a:moveTo>
                    <a:pt x="31" y="82"/>
                  </a:moveTo>
                  <a:cubicBezTo>
                    <a:pt x="30" y="82"/>
                    <a:pt x="30" y="82"/>
                    <a:pt x="30" y="82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4"/>
                    <a:pt x="27" y="85"/>
                    <a:pt x="26" y="85"/>
                  </a:cubicBezTo>
                  <a:cubicBezTo>
                    <a:pt x="26" y="84"/>
                    <a:pt x="26" y="83"/>
                    <a:pt x="27" y="83"/>
                  </a:cubicBezTo>
                  <a:cubicBezTo>
                    <a:pt x="27" y="82"/>
                    <a:pt x="28" y="82"/>
                    <a:pt x="28" y="81"/>
                  </a:cubicBezTo>
                  <a:cubicBezTo>
                    <a:pt x="28" y="81"/>
                    <a:pt x="27" y="81"/>
                    <a:pt x="27" y="81"/>
                  </a:cubicBezTo>
                  <a:cubicBezTo>
                    <a:pt x="27" y="81"/>
                    <a:pt x="25" y="82"/>
                    <a:pt x="25" y="82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24" y="85"/>
                    <a:pt x="24" y="85"/>
                    <a:pt x="24" y="85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6" y="81"/>
                    <a:pt x="26" y="81"/>
                  </a:cubicBezTo>
                  <a:cubicBezTo>
                    <a:pt x="27" y="80"/>
                    <a:pt x="28" y="80"/>
                    <a:pt x="28" y="80"/>
                  </a:cubicBezTo>
                  <a:cubicBezTo>
                    <a:pt x="29" y="79"/>
                    <a:pt x="29" y="79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6"/>
                    <a:pt x="28" y="74"/>
                    <a:pt x="28" y="73"/>
                  </a:cubicBezTo>
                  <a:cubicBezTo>
                    <a:pt x="28" y="71"/>
                    <a:pt x="28" y="70"/>
                    <a:pt x="28" y="69"/>
                  </a:cubicBezTo>
                  <a:cubicBezTo>
                    <a:pt x="27" y="67"/>
                    <a:pt x="27" y="62"/>
                    <a:pt x="27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8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2" y="59"/>
                    <a:pt x="31" y="61"/>
                    <a:pt x="31" y="63"/>
                  </a:cubicBezTo>
                  <a:cubicBezTo>
                    <a:pt x="31" y="65"/>
                    <a:pt x="32" y="70"/>
                    <a:pt x="32" y="72"/>
                  </a:cubicBezTo>
                  <a:cubicBezTo>
                    <a:pt x="33" y="72"/>
                    <a:pt x="33" y="74"/>
                    <a:pt x="33" y="75"/>
                  </a:cubicBezTo>
                  <a:cubicBezTo>
                    <a:pt x="33" y="77"/>
                    <a:pt x="33" y="77"/>
                    <a:pt x="33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1" y="77"/>
                    <a:pt x="31" y="78"/>
                    <a:pt x="31" y="78"/>
                  </a:cubicBezTo>
                  <a:cubicBezTo>
                    <a:pt x="30" y="79"/>
                    <a:pt x="30" y="79"/>
                    <a:pt x="30" y="80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31" y="80"/>
                    <a:pt x="31" y="80"/>
                    <a:pt x="31" y="80"/>
                  </a:cubicBezTo>
                  <a:cubicBezTo>
                    <a:pt x="31" y="80"/>
                    <a:pt x="32" y="79"/>
                    <a:pt x="32" y="80"/>
                  </a:cubicBezTo>
                  <a:cubicBezTo>
                    <a:pt x="33" y="80"/>
                    <a:pt x="33" y="80"/>
                    <a:pt x="33" y="80"/>
                  </a:cubicBezTo>
                  <a:cubicBezTo>
                    <a:pt x="33" y="80"/>
                    <a:pt x="33" y="82"/>
                    <a:pt x="34" y="82"/>
                  </a:cubicBezTo>
                  <a:cubicBezTo>
                    <a:pt x="34" y="82"/>
                    <a:pt x="34" y="83"/>
                    <a:pt x="34" y="83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3" y="85"/>
                    <a:pt x="33" y="85"/>
                    <a:pt x="33" y="84"/>
                  </a:cubicBezTo>
                  <a:cubicBezTo>
                    <a:pt x="32" y="84"/>
                    <a:pt x="31" y="82"/>
                    <a:pt x="31" y="82"/>
                  </a:cubicBezTo>
                  <a:moveTo>
                    <a:pt x="34" y="67"/>
                  </a:moveTo>
                  <a:cubicBezTo>
                    <a:pt x="34" y="68"/>
                    <a:pt x="34" y="68"/>
                    <a:pt x="34" y="69"/>
                  </a:cubicBezTo>
                  <a:cubicBezTo>
                    <a:pt x="34" y="71"/>
                    <a:pt x="34" y="71"/>
                    <a:pt x="34" y="71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2" y="68"/>
                    <a:pt x="32" y="60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8"/>
                    <a:pt x="34" y="59"/>
                  </a:cubicBezTo>
                  <a:cubicBezTo>
                    <a:pt x="35" y="59"/>
                    <a:pt x="34" y="60"/>
                    <a:pt x="34" y="62"/>
                  </a:cubicBezTo>
                  <a:cubicBezTo>
                    <a:pt x="34" y="62"/>
                    <a:pt x="34" y="65"/>
                    <a:pt x="34" y="67"/>
                  </a:cubicBezTo>
                  <a:moveTo>
                    <a:pt x="43" y="70"/>
                  </a:moveTo>
                  <a:cubicBezTo>
                    <a:pt x="43" y="70"/>
                    <a:pt x="43" y="71"/>
                    <a:pt x="42" y="72"/>
                  </a:cubicBezTo>
                  <a:cubicBezTo>
                    <a:pt x="42" y="75"/>
                    <a:pt x="41" y="79"/>
                    <a:pt x="41" y="79"/>
                  </a:cubicBezTo>
                  <a:cubicBezTo>
                    <a:pt x="41" y="81"/>
                    <a:pt x="42" y="83"/>
                    <a:pt x="42" y="83"/>
                  </a:cubicBezTo>
                  <a:cubicBezTo>
                    <a:pt x="41" y="83"/>
                    <a:pt x="41" y="82"/>
                    <a:pt x="41" y="81"/>
                  </a:cubicBezTo>
                  <a:cubicBezTo>
                    <a:pt x="40" y="78"/>
                    <a:pt x="40" y="78"/>
                    <a:pt x="42" y="74"/>
                  </a:cubicBezTo>
                  <a:cubicBezTo>
                    <a:pt x="42" y="73"/>
                    <a:pt x="43" y="67"/>
                    <a:pt x="43" y="65"/>
                  </a:cubicBezTo>
                  <a:cubicBezTo>
                    <a:pt x="43" y="65"/>
                    <a:pt x="43" y="62"/>
                    <a:pt x="43" y="62"/>
                  </a:cubicBezTo>
                  <a:cubicBezTo>
                    <a:pt x="42" y="60"/>
                    <a:pt x="42" y="58"/>
                    <a:pt x="43" y="57"/>
                  </a:cubicBezTo>
                  <a:cubicBezTo>
                    <a:pt x="45" y="56"/>
                    <a:pt x="46" y="57"/>
                    <a:pt x="47" y="57"/>
                  </a:cubicBezTo>
                  <a:cubicBezTo>
                    <a:pt x="47" y="57"/>
                    <a:pt x="47" y="58"/>
                    <a:pt x="47" y="59"/>
                  </a:cubicBezTo>
                  <a:cubicBezTo>
                    <a:pt x="46" y="60"/>
                    <a:pt x="46" y="63"/>
                    <a:pt x="46" y="65"/>
                  </a:cubicBezTo>
                  <a:cubicBezTo>
                    <a:pt x="45" y="67"/>
                    <a:pt x="44" y="70"/>
                    <a:pt x="44" y="71"/>
                  </a:cubicBezTo>
                  <a:cubicBezTo>
                    <a:pt x="45" y="71"/>
                    <a:pt x="45" y="71"/>
                    <a:pt x="45" y="72"/>
                  </a:cubicBezTo>
                  <a:cubicBezTo>
                    <a:pt x="45" y="73"/>
                    <a:pt x="46" y="74"/>
                    <a:pt x="46" y="75"/>
                  </a:cubicBezTo>
                  <a:cubicBezTo>
                    <a:pt x="46" y="76"/>
                    <a:pt x="46" y="79"/>
                    <a:pt x="46" y="80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8" y="81"/>
                    <a:pt x="49" y="83"/>
                    <a:pt x="48" y="84"/>
                  </a:cubicBezTo>
                  <a:cubicBezTo>
                    <a:pt x="47" y="85"/>
                    <a:pt x="47" y="85"/>
                    <a:pt x="47" y="85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8" y="83"/>
                    <a:pt x="47" y="81"/>
                    <a:pt x="46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0"/>
                    <a:pt x="45" y="79"/>
                    <a:pt x="45" y="78"/>
                  </a:cubicBezTo>
                  <a:cubicBezTo>
                    <a:pt x="45" y="77"/>
                    <a:pt x="43" y="70"/>
                    <a:pt x="43" y="70"/>
                  </a:cubicBezTo>
                  <a:moveTo>
                    <a:pt x="44" y="83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3"/>
                    <a:pt x="44" y="83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42" y="82"/>
                    <a:pt x="42" y="80"/>
                    <a:pt x="42" y="79"/>
                  </a:cubicBezTo>
                  <a:cubicBezTo>
                    <a:pt x="42" y="79"/>
                    <a:pt x="42" y="78"/>
                    <a:pt x="42" y="77"/>
                  </a:cubicBezTo>
                  <a:cubicBezTo>
                    <a:pt x="43" y="76"/>
                    <a:pt x="43" y="76"/>
                    <a:pt x="43" y="75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76"/>
                    <a:pt x="44" y="77"/>
                    <a:pt x="44" y="78"/>
                  </a:cubicBezTo>
                  <a:cubicBezTo>
                    <a:pt x="44" y="79"/>
                    <a:pt x="44" y="81"/>
                    <a:pt x="44" y="81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3"/>
                    <a:pt x="44" y="83"/>
                    <a:pt x="44" y="83"/>
                  </a:cubicBezTo>
                  <a:moveTo>
                    <a:pt x="57" y="56"/>
                  </a:moveTo>
                  <a:cubicBezTo>
                    <a:pt x="57" y="56"/>
                    <a:pt x="57" y="56"/>
                    <a:pt x="57" y="57"/>
                  </a:cubicBezTo>
                  <a:cubicBezTo>
                    <a:pt x="57" y="57"/>
                    <a:pt x="57" y="59"/>
                    <a:pt x="56" y="59"/>
                  </a:cubicBezTo>
                  <a:cubicBezTo>
                    <a:pt x="56" y="59"/>
                    <a:pt x="55" y="58"/>
                    <a:pt x="55" y="57"/>
                  </a:cubicBezTo>
                  <a:cubicBezTo>
                    <a:pt x="56" y="56"/>
                    <a:pt x="56" y="55"/>
                    <a:pt x="57" y="56"/>
                  </a:cubicBezTo>
                  <a:moveTo>
                    <a:pt x="54" y="52"/>
                  </a:moveTo>
                  <a:cubicBezTo>
                    <a:pt x="53" y="52"/>
                    <a:pt x="53" y="50"/>
                    <a:pt x="53" y="49"/>
                  </a:cubicBezTo>
                  <a:cubicBezTo>
                    <a:pt x="53" y="48"/>
                    <a:pt x="54" y="48"/>
                    <a:pt x="54" y="47"/>
                  </a:cubicBezTo>
                  <a:cubicBezTo>
                    <a:pt x="54" y="47"/>
                    <a:pt x="54" y="47"/>
                    <a:pt x="55" y="47"/>
                  </a:cubicBezTo>
                  <a:cubicBezTo>
                    <a:pt x="55" y="47"/>
                    <a:pt x="56" y="48"/>
                    <a:pt x="55" y="48"/>
                  </a:cubicBezTo>
                  <a:cubicBezTo>
                    <a:pt x="55" y="49"/>
                    <a:pt x="54" y="50"/>
                    <a:pt x="54" y="50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55" y="51"/>
                    <a:pt x="56" y="51"/>
                    <a:pt x="56" y="50"/>
                  </a:cubicBezTo>
                  <a:cubicBezTo>
                    <a:pt x="56" y="50"/>
                    <a:pt x="57" y="49"/>
                    <a:pt x="57" y="50"/>
                  </a:cubicBezTo>
                  <a:cubicBezTo>
                    <a:pt x="57" y="50"/>
                    <a:pt x="57" y="51"/>
                    <a:pt x="57" y="51"/>
                  </a:cubicBezTo>
                  <a:cubicBezTo>
                    <a:pt x="56" y="52"/>
                    <a:pt x="55" y="53"/>
                    <a:pt x="54" y="52"/>
                  </a:cubicBezTo>
                  <a:moveTo>
                    <a:pt x="57" y="40"/>
                  </a:move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9" y="38"/>
                    <a:pt x="59" y="38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0" y="39"/>
                    <a:pt x="60" y="40"/>
                    <a:pt x="59" y="40"/>
                  </a:cubicBezTo>
                  <a:cubicBezTo>
                    <a:pt x="59" y="41"/>
                    <a:pt x="59" y="42"/>
                    <a:pt x="58" y="42"/>
                  </a:cubicBezTo>
                  <a:cubicBezTo>
                    <a:pt x="57" y="41"/>
                    <a:pt x="57" y="41"/>
                    <a:pt x="56" y="40"/>
                  </a:cubicBezTo>
                  <a:cubicBezTo>
                    <a:pt x="56" y="40"/>
                    <a:pt x="55" y="39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6"/>
                    <a:pt x="54" y="36"/>
                    <a:pt x="54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57" y="35"/>
                    <a:pt x="56" y="36"/>
                    <a:pt x="56" y="37"/>
                  </a:cubicBezTo>
                  <a:cubicBezTo>
                    <a:pt x="56" y="37"/>
                    <a:pt x="56" y="37"/>
                    <a:pt x="55" y="38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39"/>
                    <a:pt x="56" y="38"/>
                  </a:cubicBezTo>
                  <a:cubicBezTo>
                    <a:pt x="56" y="38"/>
                    <a:pt x="57" y="37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9" y="37"/>
                    <a:pt x="58" y="37"/>
                  </a:cubicBezTo>
                  <a:cubicBezTo>
                    <a:pt x="58" y="38"/>
                    <a:pt x="57" y="39"/>
                    <a:pt x="57" y="40"/>
                  </a:cubicBezTo>
                  <a:cubicBezTo>
                    <a:pt x="57" y="40"/>
                    <a:pt x="57" y="40"/>
                    <a:pt x="57" y="40"/>
                  </a:cubicBezTo>
                  <a:moveTo>
                    <a:pt x="54" y="16"/>
                  </a:moveTo>
                  <a:cubicBezTo>
                    <a:pt x="55" y="14"/>
                    <a:pt x="55" y="14"/>
                    <a:pt x="56" y="14"/>
                  </a:cubicBezTo>
                  <a:cubicBezTo>
                    <a:pt x="56" y="13"/>
                    <a:pt x="57" y="12"/>
                    <a:pt x="58" y="12"/>
                  </a:cubicBezTo>
                  <a:cubicBezTo>
                    <a:pt x="59" y="11"/>
                    <a:pt x="61" y="13"/>
                    <a:pt x="62" y="13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6"/>
                    <a:pt x="61" y="16"/>
                    <a:pt x="60" y="17"/>
                  </a:cubicBezTo>
                  <a:cubicBezTo>
                    <a:pt x="60" y="17"/>
                    <a:pt x="59" y="18"/>
                    <a:pt x="59" y="18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8" y="19"/>
                    <a:pt x="57" y="20"/>
                    <a:pt x="56" y="20"/>
                  </a:cubicBezTo>
                  <a:cubicBezTo>
                    <a:pt x="56" y="20"/>
                    <a:pt x="56" y="21"/>
                    <a:pt x="56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1"/>
                    <a:pt x="55" y="21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6" y="18"/>
                    <a:pt x="55" y="17"/>
                    <a:pt x="55" y="17"/>
                  </a:cubicBezTo>
                  <a:cubicBezTo>
                    <a:pt x="54" y="16"/>
                    <a:pt x="54" y="17"/>
                    <a:pt x="54" y="17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3" y="17"/>
                    <a:pt x="53" y="17"/>
                    <a:pt x="54" y="16"/>
                  </a:cubicBezTo>
                  <a:moveTo>
                    <a:pt x="65" y="17"/>
                  </a:moveTo>
                  <a:cubicBezTo>
                    <a:pt x="66" y="17"/>
                    <a:pt x="68" y="17"/>
                    <a:pt x="68" y="18"/>
                  </a:cubicBezTo>
                  <a:cubicBezTo>
                    <a:pt x="68" y="19"/>
                    <a:pt x="67" y="19"/>
                    <a:pt x="67" y="19"/>
                  </a:cubicBezTo>
                  <a:cubicBezTo>
                    <a:pt x="66" y="20"/>
                    <a:pt x="65" y="21"/>
                    <a:pt x="64" y="21"/>
                  </a:cubicBezTo>
                  <a:cubicBezTo>
                    <a:pt x="64" y="21"/>
                    <a:pt x="64" y="21"/>
                    <a:pt x="63" y="21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2" y="20"/>
                    <a:pt x="61" y="21"/>
                    <a:pt x="61" y="21"/>
                  </a:cubicBezTo>
                  <a:cubicBezTo>
                    <a:pt x="61" y="21"/>
                    <a:pt x="61" y="20"/>
                    <a:pt x="61" y="20"/>
                  </a:cubicBezTo>
                  <a:cubicBezTo>
                    <a:pt x="61" y="19"/>
                    <a:pt x="61" y="18"/>
                    <a:pt x="62" y="18"/>
                  </a:cubicBezTo>
                  <a:cubicBezTo>
                    <a:pt x="63" y="17"/>
                    <a:pt x="63" y="17"/>
                    <a:pt x="65" y="17"/>
                  </a:cubicBezTo>
                  <a:moveTo>
                    <a:pt x="71" y="22"/>
                  </a:moveTo>
                  <a:cubicBezTo>
                    <a:pt x="70" y="22"/>
                    <a:pt x="70" y="21"/>
                    <a:pt x="70" y="21"/>
                  </a:cubicBezTo>
                  <a:cubicBezTo>
                    <a:pt x="70" y="19"/>
                    <a:pt x="70" y="17"/>
                    <a:pt x="68" y="16"/>
                  </a:cubicBezTo>
                  <a:cubicBezTo>
                    <a:pt x="67" y="16"/>
                    <a:pt x="65" y="16"/>
                    <a:pt x="64" y="15"/>
                  </a:cubicBezTo>
                  <a:cubicBezTo>
                    <a:pt x="64" y="15"/>
                    <a:pt x="64" y="14"/>
                    <a:pt x="63" y="13"/>
                  </a:cubicBezTo>
                  <a:cubicBezTo>
                    <a:pt x="63" y="13"/>
                    <a:pt x="62" y="12"/>
                    <a:pt x="61" y="12"/>
                  </a:cubicBezTo>
                  <a:cubicBezTo>
                    <a:pt x="60" y="11"/>
                    <a:pt x="58" y="10"/>
                    <a:pt x="57" y="11"/>
                  </a:cubicBezTo>
                  <a:cubicBezTo>
                    <a:pt x="55" y="11"/>
                    <a:pt x="55" y="12"/>
                    <a:pt x="54" y="14"/>
                  </a:cubicBezTo>
                  <a:cubicBezTo>
                    <a:pt x="53" y="14"/>
                    <a:pt x="53" y="14"/>
                    <a:pt x="52" y="14"/>
                  </a:cubicBezTo>
                  <a:cubicBezTo>
                    <a:pt x="52" y="14"/>
                    <a:pt x="51" y="14"/>
                    <a:pt x="51" y="14"/>
                  </a:cubicBezTo>
                  <a:cubicBezTo>
                    <a:pt x="51" y="14"/>
                    <a:pt x="50" y="15"/>
                    <a:pt x="50" y="15"/>
                  </a:cubicBezTo>
                  <a:cubicBezTo>
                    <a:pt x="50" y="15"/>
                    <a:pt x="50" y="14"/>
                    <a:pt x="50" y="13"/>
                  </a:cubicBezTo>
                  <a:cubicBezTo>
                    <a:pt x="50" y="13"/>
                    <a:pt x="49" y="13"/>
                    <a:pt x="49" y="12"/>
                  </a:cubicBezTo>
                  <a:cubicBezTo>
                    <a:pt x="49" y="12"/>
                    <a:pt x="49" y="11"/>
                    <a:pt x="49" y="10"/>
                  </a:cubicBezTo>
                  <a:cubicBezTo>
                    <a:pt x="49" y="10"/>
                    <a:pt x="48" y="7"/>
                    <a:pt x="48" y="7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4"/>
                    <a:pt x="46" y="2"/>
                    <a:pt x="45" y="3"/>
                  </a:cubicBezTo>
                  <a:cubicBezTo>
                    <a:pt x="45" y="3"/>
                    <a:pt x="42" y="4"/>
                    <a:pt x="42" y="4"/>
                  </a:cubicBezTo>
                  <a:cubicBezTo>
                    <a:pt x="42" y="3"/>
                    <a:pt x="42" y="3"/>
                    <a:pt x="41" y="2"/>
                  </a:cubicBezTo>
                  <a:cubicBezTo>
                    <a:pt x="41" y="2"/>
                    <a:pt x="40" y="2"/>
                    <a:pt x="39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8" y="2"/>
                    <a:pt x="38" y="2"/>
                    <a:pt x="37" y="2"/>
                  </a:cubicBezTo>
                  <a:cubicBezTo>
                    <a:pt x="37" y="2"/>
                    <a:pt x="36" y="2"/>
                    <a:pt x="35" y="2"/>
                  </a:cubicBezTo>
                  <a:cubicBezTo>
                    <a:pt x="35" y="1"/>
                    <a:pt x="35" y="1"/>
                    <a:pt x="34" y="1"/>
                  </a:cubicBezTo>
                  <a:cubicBezTo>
                    <a:pt x="34" y="1"/>
                    <a:pt x="33" y="0"/>
                    <a:pt x="33" y="0"/>
                  </a:cubicBezTo>
                  <a:cubicBezTo>
                    <a:pt x="33" y="0"/>
                    <a:pt x="32" y="2"/>
                    <a:pt x="32" y="2"/>
                  </a:cubicBezTo>
                  <a:cubicBezTo>
                    <a:pt x="31" y="3"/>
                    <a:pt x="31" y="2"/>
                    <a:pt x="31" y="2"/>
                  </a:cubicBezTo>
                  <a:cubicBezTo>
                    <a:pt x="30" y="2"/>
                    <a:pt x="30" y="3"/>
                    <a:pt x="29" y="3"/>
                  </a:cubicBezTo>
                  <a:cubicBezTo>
                    <a:pt x="29" y="4"/>
                    <a:pt x="29" y="4"/>
                    <a:pt x="28" y="4"/>
                  </a:cubicBezTo>
                  <a:cubicBezTo>
                    <a:pt x="28" y="4"/>
                    <a:pt x="27" y="4"/>
                    <a:pt x="27" y="4"/>
                  </a:cubicBezTo>
                  <a:cubicBezTo>
                    <a:pt x="26" y="4"/>
                    <a:pt x="26" y="4"/>
                    <a:pt x="25" y="4"/>
                  </a:cubicBezTo>
                  <a:cubicBezTo>
                    <a:pt x="24" y="4"/>
                    <a:pt x="24" y="7"/>
                    <a:pt x="24" y="8"/>
                  </a:cubicBezTo>
                  <a:cubicBezTo>
                    <a:pt x="25" y="9"/>
                    <a:pt x="25" y="9"/>
                    <a:pt x="25" y="10"/>
                  </a:cubicBezTo>
                  <a:cubicBezTo>
                    <a:pt x="25" y="11"/>
                    <a:pt x="25" y="11"/>
                    <a:pt x="24" y="12"/>
                  </a:cubicBezTo>
                  <a:cubicBezTo>
                    <a:pt x="23" y="12"/>
                    <a:pt x="23" y="13"/>
                    <a:pt x="23" y="14"/>
                  </a:cubicBezTo>
                  <a:cubicBezTo>
                    <a:pt x="24" y="15"/>
                    <a:pt x="24" y="16"/>
                    <a:pt x="23" y="16"/>
                  </a:cubicBezTo>
                  <a:cubicBezTo>
                    <a:pt x="23" y="16"/>
                    <a:pt x="21" y="15"/>
                    <a:pt x="21" y="15"/>
                  </a:cubicBezTo>
                  <a:cubicBezTo>
                    <a:pt x="21" y="14"/>
                    <a:pt x="20" y="13"/>
                    <a:pt x="20" y="12"/>
                  </a:cubicBezTo>
                  <a:cubicBezTo>
                    <a:pt x="19" y="12"/>
                    <a:pt x="17" y="10"/>
                    <a:pt x="16" y="10"/>
                  </a:cubicBezTo>
                  <a:cubicBezTo>
                    <a:pt x="15" y="10"/>
                    <a:pt x="14" y="10"/>
                    <a:pt x="13" y="11"/>
                  </a:cubicBezTo>
                  <a:cubicBezTo>
                    <a:pt x="12" y="11"/>
                    <a:pt x="11" y="12"/>
                    <a:pt x="11" y="12"/>
                  </a:cubicBezTo>
                  <a:cubicBezTo>
                    <a:pt x="9" y="13"/>
                    <a:pt x="10" y="13"/>
                    <a:pt x="8" y="15"/>
                  </a:cubicBezTo>
                  <a:cubicBezTo>
                    <a:pt x="8" y="16"/>
                    <a:pt x="5" y="17"/>
                    <a:pt x="4" y="18"/>
                  </a:cubicBezTo>
                  <a:cubicBezTo>
                    <a:pt x="4" y="18"/>
                    <a:pt x="3" y="19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2" y="22"/>
                    <a:pt x="1" y="23"/>
                  </a:cubicBezTo>
                  <a:cubicBezTo>
                    <a:pt x="1" y="23"/>
                    <a:pt x="1" y="25"/>
                    <a:pt x="0" y="25"/>
                  </a:cubicBezTo>
                  <a:cubicBezTo>
                    <a:pt x="0" y="26"/>
                    <a:pt x="1" y="28"/>
                    <a:pt x="2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30"/>
                    <a:pt x="4" y="31"/>
                    <a:pt x="4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2"/>
                    <a:pt x="6" y="33"/>
                    <a:pt x="6" y="33"/>
                  </a:cubicBezTo>
                  <a:cubicBezTo>
                    <a:pt x="6" y="34"/>
                    <a:pt x="6" y="35"/>
                    <a:pt x="7" y="35"/>
                  </a:cubicBezTo>
                  <a:cubicBezTo>
                    <a:pt x="7" y="35"/>
                    <a:pt x="9" y="36"/>
                    <a:pt x="10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2" y="36"/>
                    <a:pt x="11" y="36"/>
                    <a:pt x="11" y="37"/>
                  </a:cubicBezTo>
                  <a:cubicBezTo>
                    <a:pt x="11" y="37"/>
                    <a:pt x="11" y="39"/>
                    <a:pt x="10" y="39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1"/>
                    <a:pt x="10" y="41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4"/>
                    <a:pt x="9" y="44"/>
                    <a:pt x="9" y="45"/>
                  </a:cubicBezTo>
                  <a:cubicBezTo>
                    <a:pt x="9" y="45"/>
                    <a:pt x="9" y="46"/>
                    <a:pt x="9" y="47"/>
                  </a:cubicBezTo>
                  <a:cubicBezTo>
                    <a:pt x="9" y="48"/>
                    <a:pt x="9" y="48"/>
                    <a:pt x="10" y="49"/>
                  </a:cubicBezTo>
                  <a:cubicBezTo>
                    <a:pt x="10" y="49"/>
                    <a:pt x="10" y="50"/>
                    <a:pt x="10" y="50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1" y="53"/>
                    <a:pt x="12" y="53"/>
                  </a:cubicBezTo>
                  <a:cubicBezTo>
                    <a:pt x="12" y="54"/>
                    <a:pt x="13" y="55"/>
                    <a:pt x="13" y="55"/>
                  </a:cubicBezTo>
                  <a:cubicBezTo>
                    <a:pt x="13" y="56"/>
                    <a:pt x="14" y="56"/>
                    <a:pt x="14" y="56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4" y="58"/>
                    <a:pt x="14" y="58"/>
                    <a:pt x="15" y="58"/>
                  </a:cubicBezTo>
                  <a:cubicBezTo>
                    <a:pt x="15" y="59"/>
                    <a:pt x="15" y="59"/>
                    <a:pt x="16" y="59"/>
                  </a:cubicBezTo>
                  <a:cubicBezTo>
                    <a:pt x="16" y="59"/>
                    <a:pt x="16" y="61"/>
                    <a:pt x="16" y="62"/>
                  </a:cubicBezTo>
                  <a:cubicBezTo>
                    <a:pt x="16" y="63"/>
                    <a:pt x="16" y="66"/>
                    <a:pt x="17" y="69"/>
                  </a:cubicBezTo>
                  <a:cubicBezTo>
                    <a:pt x="17" y="69"/>
                    <a:pt x="17" y="70"/>
                    <a:pt x="17" y="70"/>
                  </a:cubicBezTo>
                  <a:cubicBezTo>
                    <a:pt x="17" y="72"/>
                    <a:pt x="16" y="75"/>
                    <a:pt x="16" y="76"/>
                  </a:cubicBezTo>
                  <a:cubicBezTo>
                    <a:pt x="16" y="78"/>
                    <a:pt x="16" y="80"/>
                    <a:pt x="16" y="80"/>
                  </a:cubicBezTo>
                  <a:cubicBezTo>
                    <a:pt x="16" y="80"/>
                    <a:pt x="15" y="80"/>
                    <a:pt x="14" y="80"/>
                  </a:cubicBezTo>
                  <a:cubicBezTo>
                    <a:pt x="13" y="80"/>
                    <a:pt x="13" y="80"/>
                    <a:pt x="12" y="81"/>
                  </a:cubicBezTo>
                  <a:cubicBezTo>
                    <a:pt x="12" y="82"/>
                    <a:pt x="11" y="82"/>
                    <a:pt x="11" y="82"/>
                  </a:cubicBezTo>
                  <a:cubicBezTo>
                    <a:pt x="10" y="83"/>
                    <a:pt x="10" y="85"/>
                    <a:pt x="10" y="86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1" y="87"/>
                    <a:pt x="10" y="88"/>
                    <a:pt x="9" y="88"/>
                  </a:cubicBezTo>
                  <a:cubicBezTo>
                    <a:pt x="8" y="89"/>
                    <a:pt x="7" y="90"/>
                    <a:pt x="7" y="91"/>
                  </a:cubicBezTo>
                  <a:cubicBezTo>
                    <a:pt x="7" y="92"/>
                    <a:pt x="7" y="96"/>
                    <a:pt x="6" y="96"/>
                  </a:cubicBezTo>
                  <a:cubicBezTo>
                    <a:pt x="6" y="97"/>
                    <a:pt x="6" y="97"/>
                    <a:pt x="6" y="97"/>
                  </a:cubicBezTo>
                  <a:cubicBezTo>
                    <a:pt x="5" y="99"/>
                    <a:pt x="6" y="99"/>
                    <a:pt x="6" y="101"/>
                  </a:cubicBezTo>
                  <a:cubicBezTo>
                    <a:pt x="7" y="102"/>
                    <a:pt x="7" y="102"/>
                    <a:pt x="7" y="104"/>
                  </a:cubicBezTo>
                  <a:cubicBezTo>
                    <a:pt x="7" y="104"/>
                    <a:pt x="7" y="105"/>
                    <a:pt x="7" y="105"/>
                  </a:cubicBezTo>
                  <a:cubicBezTo>
                    <a:pt x="8" y="107"/>
                    <a:pt x="9" y="108"/>
                    <a:pt x="11" y="109"/>
                  </a:cubicBezTo>
                  <a:cubicBezTo>
                    <a:pt x="12" y="109"/>
                    <a:pt x="14" y="109"/>
                    <a:pt x="14" y="109"/>
                  </a:cubicBezTo>
                  <a:cubicBezTo>
                    <a:pt x="15" y="111"/>
                    <a:pt x="15" y="112"/>
                    <a:pt x="17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57" y="112"/>
                    <a:pt x="57" y="112"/>
                    <a:pt x="57" y="112"/>
                  </a:cubicBezTo>
                  <a:cubicBezTo>
                    <a:pt x="60" y="112"/>
                    <a:pt x="62" y="109"/>
                    <a:pt x="62" y="108"/>
                  </a:cubicBezTo>
                  <a:cubicBezTo>
                    <a:pt x="65" y="107"/>
                    <a:pt x="68" y="106"/>
                    <a:pt x="68" y="102"/>
                  </a:cubicBezTo>
                  <a:cubicBezTo>
                    <a:pt x="68" y="101"/>
                    <a:pt x="69" y="98"/>
                    <a:pt x="69" y="98"/>
                  </a:cubicBezTo>
                  <a:cubicBezTo>
                    <a:pt x="70" y="97"/>
                    <a:pt x="70" y="97"/>
                    <a:pt x="70" y="97"/>
                  </a:cubicBezTo>
                  <a:cubicBezTo>
                    <a:pt x="71" y="96"/>
                    <a:pt x="70" y="95"/>
                    <a:pt x="69" y="94"/>
                  </a:cubicBezTo>
                  <a:cubicBezTo>
                    <a:pt x="68" y="93"/>
                    <a:pt x="68" y="93"/>
                    <a:pt x="68" y="93"/>
                  </a:cubicBezTo>
                  <a:cubicBezTo>
                    <a:pt x="68" y="92"/>
                    <a:pt x="68" y="91"/>
                    <a:pt x="68" y="91"/>
                  </a:cubicBezTo>
                  <a:cubicBezTo>
                    <a:pt x="68" y="90"/>
                    <a:pt x="68" y="89"/>
                    <a:pt x="67" y="88"/>
                  </a:cubicBezTo>
                  <a:cubicBezTo>
                    <a:pt x="67" y="88"/>
                    <a:pt x="66" y="88"/>
                    <a:pt x="66" y="87"/>
                  </a:cubicBezTo>
                  <a:cubicBezTo>
                    <a:pt x="66" y="87"/>
                    <a:pt x="66" y="86"/>
                    <a:pt x="65" y="8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3"/>
                    <a:pt x="64" y="82"/>
                    <a:pt x="64" y="82"/>
                  </a:cubicBezTo>
                  <a:cubicBezTo>
                    <a:pt x="63" y="81"/>
                    <a:pt x="63" y="81"/>
                    <a:pt x="63" y="80"/>
                  </a:cubicBezTo>
                  <a:cubicBezTo>
                    <a:pt x="63" y="79"/>
                    <a:pt x="61" y="78"/>
                    <a:pt x="60" y="79"/>
                  </a:cubicBezTo>
                  <a:cubicBezTo>
                    <a:pt x="60" y="79"/>
                    <a:pt x="60" y="79"/>
                    <a:pt x="59" y="79"/>
                  </a:cubicBezTo>
                  <a:cubicBezTo>
                    <a:pt x="59" y="79"/>
                    <a:pt x="58" y="79"/>
                    <a:pt x="58" y="70"/>
                  </a:cubicBezTo>
                  <a:cubicBezTo>
                    <a:pt x="57" y="62"/>
                    <a:pt x="57" y="62"/>
                    <a:pt x="58" y="61"/>
                  </a:cubicBezTo>
                  <a:cubicBezTo>
                    <a:pt x="58" y="60"/>
                    <a:pt x="58" y="60"/>
                    <a:pt x="58" y="60"/>
                  </a:cubicBezTo>
                  <a:cubicBezTo>
                    <a:pt x="59" y="59"/>
                    <a:pt x="60" y="57"/>
                    <a:pt x="60" y="56"/>
                  </a:cubicBezTo>
                  <a:cubicBezTo>
                    <a:pt x="60" y="55"/>
                    <a:pt x="60" y="55"/>
                    <a:pt x="60" y="54"/>
                  </a:cubicBezTo>
                  <a:cubicBezTo>
                    <a:pt x="61" y="54"/>
                    <a:pt x="61" y="53"/>
                    <a:pt x="62" y="52"/>
                  </a:cubicBezTo>
                  <a:cubicBezTo>
                    <a:pt x="62" y="52"/>
                    <a:pt x="62" y="50"/>
                    <a:pt x="62" y="50"/>
                  </a:cubicBezTo>
                  <a:cubicBezTo>
                    <a:pt x="62" y="49"/>
                    <a:pt x="62" y="49"/>
                    <a:pt x="62" y="49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4" y="47"/>
                    <a:pt x="64" y="46"/>
                    <a:pt x="64" y="46"/>
                  </a:cubicBezTo>
                  <a:cubicBezTo>
                    <a:pt x="64" y="45"/>
                    <a:pt x="64" y="45"/>
                    <a:pt x="64" y="44"/>
                  </a:cubicBezTo>
                  <a:cubicBezTo>
                    <a:pt x="64" y="44"/>
                    <a:pt x="64" y="43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4" y="41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3" y="37"/>
                    <a:pt x="63" y="37"/>
                    <a:pt x="62" y="36"/>
                  </a:cubicBezTo>
                  <a:cubicBezTo>
                    <a:pt x="62" y="36"/>
                    <a:pt x="62" y="35"/>
                    <a:pt x="62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3" y="35"/>
                    <a:pt x="63" y="35"/>
                    <a:pt x="64" y="35"/>
                  </a:cubicBezTo>
                  <a:cubicBezTo>
                    <a:pt x="65" y="36"/>
                    <a:pt x="65" y="35"/>
                    <a:pt x="66" y="34"/>
                  </a:cubicBezTo>
                  <a:cubicBezTo>
                    <a:pt x="67" y="33"/>
                    <a:pt x="68" y="32"/>
                    <a:pt x="68" y="32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7" y="30"/>
                    <a:pt x="69" y="31"/>
                    <a:pt x="69" y="30"/>
                  </a:cubicBezTo>
                  <a:cubicBezTo>
                    <a:pt x="69" y="30"/>
                    <a:pt x="71" y="29"/>
                    <a:pt x="71" y="29"/>
                  </a:cubicBezTo>
                  <a:cubicBezTo>
                    <a:pt x="72" y="28"/>
                    <a:pt x="72" y="28"/>
                    <a:pt x="73" y="27"/>
                  </a:cubicBezTo>
                  <a:cubicBezTo>
                    <a:pt x="73" y="25"/>
                    <a:pt x="72" y="24"/>
                    <a:pt x="71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77" name="Freeform 10650"/>
            <p:cNvSpPr>
              <a:spLocks/>
            </p:cNvSpPr>
            <p:nvPr/>
          </p:nvSpPr>
          <p:spPr bwMode="auto">
            <a:xfrm>
              <a:off x="10163320" y="3221038"/>
              <a:ext cx="3175" cy="3175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78" name="Freeform 10651"/>
            <p:cNvSpPr>
              <a:spLocks noEditPoints="1"/>
            </p:cNvSpPr>
            <p:nvPr/>
          </p:nvSpPr>
          <p:spPr bwMode="auto">
            <a:xfrm>
              <a:off x="10053782" y="3205163"/>
              <a:ext cx="41275" cy="38100"/>
            </a:xfrm>
            <a:custGeom>
              <a:avLst/>
              <a:gdLst>
                <a:gd name="T0" fmla="*/ 2 w 11"/>
                <a:gd name="T1" fmla="*/ 2 h 10"/>
                <a:gd name="T2" fmla="*/ 1 w 11"/>
                <a:gd name="T3" fmla="*/ 2 h 10"/>
                <a:gd name="T4" fmla="*/ 1 w 11"/>
                <a:gd name="T5" fmla="*/ 2 h 10"/>
                <a:gd name="T6" fmla="*/ 2 w 11"/>
                <a:gd name="T7" fmla="*/ 1 h 10"/>
                <a:gd name="T8" fmla="*/ 4 w 11"/>
                <a:gd name="T9" fmla="*/ 2 h 10"/>
                <a:gd name="T10" fmla="*/ 2 w 11"/>
                <a:gd name="T11" fmla="*/ 2 h 10"/>
                <a:gd name="T12" fmla="*/ 4 w 11"/>
                <a:gd name="T13" fmla="*/ 4 h 10"/>
                <a:gd name="T14" fmla="*/ 2 w 11"/>
                <a:gd name="T15" fmla="*/ 4 h 10"/>
                <a:gd name="T16" fmla="*/ 1 w 11"/>
                <a:gd name="T17" fmla="*/ 3 h 10"/>
                <a:gd name="T18" fmla="*/ 1 w 11"/>
                <a:gd name="T19" fmla="*/ 3 h 10"/>
                <a:gd name="T20" fmla="*/ 3 w 11"/>
                <a:gd name="T21" fmla="*/ 3 h 10"/>
                <a:gd name="T22" fmla="*/ 4 w 11"/>
                <a:gd name="T23" fmla="*/ 4 h 10"/>
                <a:gd name="T24" fmla="*/ 7 w 11"/>
                <a:gd name="T25" fmla="*/ 8 h 10"/>
                <a:gd name="T26" fmla="*/ 5 w 11"/>
                <a:gd name="T27" fmla="*/ 7 h 10"/>
                <a:gd name="T28" fmla="*/ 5 w 11"/>
                <a:gd name="T29" fmla="*/ 6 h 10"/>
                <a:gd name="T30" fmla="*/ 4 w 11"/>
                <a:gd name="T31" fmla="*/ 1 h 10"/>
                <a:gd name="T32" fmla="*/ 1 w 11"/>
                <a:gd name="T33" fmla="*/ 1 h 10"/>
                <a:gd name="T34" fmla="*/ 0 w 11"/>
                <a:gd name="T35" fmla="*/ 3 h 10"/>
                <a:gd name="T36" fmla="*/ 1 w 11"/>
                <a:gd name="T37" fmla="*/ 4 h 10"/>
                <a:gd name="T38" fmla="*/ 3 w 11"/>
                <a:gd name="T39" fmla="*/ 5 h 10"/>
                <a:gd name="T40" fmla="*/ 4 w 11"/>
                <a:gd name="T41" fmla="*/ 4 h 10"/>
                <a:gd name="T42" fmla="*/ 4 w 11"/>
                <a:gd name="T43" fmla="*/ 6 h 10"/>
                <a:gd name="T44" fmla="*/ 7 w 11"/>
                <a:gd name="T45" fmla="*/ 10 h 10"/>
                <a:gd name="T46" fmla="*/ 9 w 11"/>
                <a:gd name="T47" fmla="*/ 8 h 10"/>
                <a:gd name="T48" fmla="*/ 11 w 11"/>
                <a:gd name="T49" fmla="*/ 7 h 10"/>
                <a:gd name="T50" fmla="*/ 10 w 11"/>
                <a:gd name="T51" fmla="*/ 5 h 10"/>
                <a:gd name="T52" fmla="*/ 7 w 11"/>
                <a:gd name="T5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" h="10">
                  <a:moveTo>
                    <a:pt x="2" y="2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4" y="1"/>
                    <a:pt x="4" y="2"/>
                  </a:cubicBezTo>
                  <a:cubicBezTo>
                    <a:pt x="5" y="3"/>
                    <a:pt x="3" y="2"/>
                    <a:pt x="2" y="2"/>
                  </a:cubicBezTo>
                  <a:moveTo>
                    <a:pt x="4" y="4"/>
                  </a:moveTo>
                  <a:cubicBezTo>
                    <a:pt x="3" y="4"/>
                    <a:pt x="2" y="4"/>
                    <a:pt x="2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2"/>
                    <a:pt x="2" y="3"/>
                    <a:pt x="3" y="3"/>
                  </a:cubicBezTo>
                  <a:cubicBezTo>
                    <a:pt x="4" y="3"/>
                    <a:pt x="4" y="4"/>
                    <a:pt x="4" y="4"/>
                  </a:cubicBezTo>
                  <a:moveTo>
                    <a:pt x="7" y="8"/>
                  </a:moveTo>
                  <a:cubicBezTo>
                    <a:pt x="6" y="8"/>
                    <a:pt x="6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3"/>
                    <a:pt x="6" y="2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4" y="6"/>
                    <a:pt x="4" y="6"/>
                  </a:cubicBezTo>
                  <a:cubicBezTo>
                    <a:pt x="4" y="7"/>
                    <a:pt x="6" y="10"/>
                    <a:pt x="7" y="10"/>
                  </a:cubicBezTo>
                  <a:cubicBezTo>
                    <a:pt x="7" y="10"/>
                    <a:pt x="9" y="9"/>
                    <a:pt x="9" y="8"/>
                  </a:cubicBezTo>
                  <a:cubicBezTo>
                    <a:pt x="10" y="8"/>
                    <a:pt x="11" y="8"/>
                    <a:pt x="11" y="7"/>
                  </a:cubicBezTo>
                  <a:cubicBezTo>
                    <a:pt x="11" y="6"/>
                    <a:pt x="11" y="5"/>
                    <a:pt x="10" y="5"/>
                  </a:cubicBezTo>
                  <a:cubicBezTo>
                    <a:pt x="7" y="6"/>
                    <a:pt x="8" y="8"/>
                    <a:pt x="7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79" name="Freeform 10652"/>
            <p:cNvSpPr>
              <a:spLocks/>
            </p:cNvSpPr>
            <p:nvPr/>
          </p:nvSpPr>
          <p:spPr bwMode="auto">
            <a:xfrm>
              <a:off x="10076007" y="3535363"/>
              <a:ext cx="11113" cy="30163"/>
            </a:xfrm>
            <a:custGeom>
              <a:avLst/>
              <a:gdLst>
                <a:gd name="T0" fmla="*/ 2 w 3"/>
                <a:gd name="T1" fmla="*/ 0 h 8"/>
                <a:gd name="T2" fmla="*/ 2 w 3"/>
                <a:gd name="T3" fmla="*/ 0 h 8"/>
                <a:gd name="T4" fmla="*/ 2 w 3"/>
                <a:gd name="T5" fmla="*/ 3 h 8"/>
                <a:gd name="T6" fmla="*/ 0 w 3"/>
                <a:gd name="T7" fmla="*/ 8 h 8"/>
                <a:gd name="T8" fmla="*/ 1 w 3"/>
                <a:gd name="T9" fmla="*/ 8 h 8"/>
                <a:gd name="T10" fmla="*/ 1 w 3"/>
                <a:gd name="T11" fmla="*/ 8 h 8"/>
                <a:gd name="T12" fmla="*/ 2 w 3"/>
                <a:gd name="T13" fmla="*/ 8 h 8"/>
                <a:gd name="T14" fmla="*/ 3 w 3"/>
                <a:gd name="T15" fmla="*/ 8 h 8"/>
                <a:gd name="T16" fmla="*/ 2 w 3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8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2"/>
                    <a:pt x="2" y="3"/>
                  </a:cubicBezTo>
                  <a:cubicBezTo>
                    <a:pt x="1" y="5"/>
                    <a:pt x="1" y="7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6"/>
                    <a:pt x="2" y="3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0" name="Freeform 10653"/>
            <p:cNvSpPr>
              <a:spLocks/>
            </p:cNvSpPr>
            <p:nvPr/>
          </p:nvSpPr>
          <p:spPr bwMode="auto">
            <a:xfrm>
              <a:off x="10087120" y="3502026"/>
              <a:ext cx="23813" cy="25400"/>
            </a:xfrm>
            <a:custGeom>
              <a:avLst/>
              <a:gdLst>
                <a:gd name="T0" fmla="*/ 0 w 6"/>
                <a:gd name="T1" fmla="*/ 7 h 7"/>
                <a:gd name="T2" fmla="*/ 3 w 6"/>
                <a:gd name="T3" fmla="*/ 3 h 7"/>
                <a:gd name="T4" fmla="*/ 6 w 6"/>
                <a:gd name="T5" fmla="*/ 1 h 7"/>
                <a:gd name="T6" fmla="*/ 5 w 6"/>
                <a:gd name="T7" fmla="*/ 1 h 7"/>
                <a:gd name="T8" fmla="*/ 4 w 6"/>
                <a:gd name="T9" fmla="*/ 1 h 7"/>
                <a:gd name="T10" fmla="*/ 4 w 6"/>
                <a:gd name="T11" fmla="*/ 0 h 7"/>
                <a:gd name="T12" fmla="*/ 4 w 6"/>
                <a:gd name="T13" fmla="*/ 0 h 7"/>
                <a:gd name="T14" fmla="*/ 0 w 6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0" y="7"/>
                  </a:moveTo>
                  <a:cubicBezTo>
                    <a:pt x="1" y="6"/>
                    <a:pt x="2" y="4"/>
                    <a:pt x="3" y="3"/>
                  </a:cubicBezTo>
                  <a:cubicBezTo>
                    <a:pt x="4" y="2"/>
                    <a:pt x="5" y="2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2"/>
                    <a:pt x="1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1" name="Freeform 10654"/>
            <p:cNvSpPr>
              <a:spLocks/>
            </p:cNvSpPr>
            <p:nvPr/>
          </p:nvSpPr>
          <p:spPr bwMode="auto">
            <a:xfrm>
              <a:off x="10087120" y="3505201"/>
              <a:ext cx="26988" cy="22225"/>
            </a:xfrm>
            <a:custGeom>
              <a:avLst/>
              <a:gdLst>
                <a:gd name="T0" fmla="*/ 0 w 7"/>
                <a:gd name="T1" fmla="*/ 6 h 6"/>
                <a:gd name="T2" fmla="*/ 0 w 7"/>
                <a:gd name="T3" fmla="*/ 6 h 6"/>
                <a:gd name="T4" fmla="*/ 2 w 7"/>
                <a:gd name="T5" fmla="*/ 5 h 6"/>
                <a:gd name="T6" fmla="*/ 7 w 7"/>
                <a:gd name="T7" fmla="*/ 2 h 6"/>
                <a:gd name="T8" fmla="*/ 7 w 7"/>
                <a:gd name="T9" fmla="*/ 1 h 6"/>
                <a:gd name="T10" fmla="*/ 6 w 7"/>
                <a:gd name="T11" fmla="*/ 1 h 6"/>
                <a:gd name="T12" fmla="*/ 6 w 7"/>
                <a:gd name="T13" fmla="*/ 1 h 6"/>
                <a:gd name="T14" fmla="*/ 6 w 7"/>
                <a:gd name="T15" fmla="*/ 0 h 6"/>
                <a:gd name="T16" fmla="*/ 0 w 7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0" y="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4" y="4"/>
                    <a:pt x="5" y="3"/>
                    <a:pt x="7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2"/>
                    <a:pt x="2" y="4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2" name="Freeform 10655"/>
            <p:cNvSpPr>
              <a:spLocks/>
            </p:cNvSpPr>
            <p:nvPr/>
          </p:nvSpPr>
          <p:spPr bwMode="auto">
            <a:xfrm>
              <a:off x="10087120" y="3497263"/>
              <a:ext cx="15875" cy="30163"/>
            </a:xfrm>
            <a:custGeom>
              <a:avLst/>
              <a:gdLst>
                <a:gd name="T0" fmla="*/ 0 w 4"/>
                <a:gd name="T1" fmla="*/ 6 h 8"/>
                <a:gd name="T2" fmla="*/ 0 w 4"/>
                <a:gd name="T3" fmla="*/ 8 h 8"/>
                <a:gd name="T4" fmla="*/ 0 w 4"/>
                <a:gd name="T5" fmla="*/ 8 h 8"/>
                <a:gd name="T6" fmla="*/ 1 w 4"/>
                <a:gd name="T7" fmla="*/ 5 h 8"/>
                <a:gd name="T8" fmla="*/ 4 w 4"/>
                <a:gd name="T9" fmla="*/ 1 h 8"/>
                <a:gd name="T10" fmla="*/ 3 w 4"/>
                <a:gd name="T11" fmla="*/ 0 h 8"/>
                <a:gd name="T12" fmla="*/ 2 w 4"/>
                <a:gd name="T13" fmla="*/ 1 h 8"/>
                <a:gd name="T14" fmla="*/ 2 w 4"/>
                <a:gd name="T15" fmla="*/ 0 h 8"/>
                <a:gd name="T16" fmla="*/ 1 w 4"/>
                <a:gd name="T17" fmla="*/ 0 h 8"/>
                <a:gd name="T18" fmla="*/ 0 w 4"/>
                <a:gd name="T1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8">
                  <a:moveTo>
                    <a:pt x="0" y="6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1" y="6"/>
                    <a:pt x="1" y="5"/>
                  </a:cubicBezTo>
                  <a:cubicBezTo>
                    <a:pt x="2" y="4"/>
                    <a:pt x="2" y="2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2"/>
                    <a:pt x="1" y="4"/>
                    <a:pt x="0" y="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3" name="Freeform 10656"/>
            <p:cNvSpPr>
              <a:spLocks/>
            </p:cNvSpPr>
            <p:nvPr/>
          </p:nvSpPr>
          <p:spPr bwMode="auto">
            <a:xfrm>
              <a:off x="10083945" y="3527426"/>
              <a:ext cx="3175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1" y="1"/>
                    <a:pt x="1" y="1"/>
                    <a:pt x="0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4" name="Freeform 10657"/>
            <p:cNvSpPr>
              <a:spLocks/>
            </p:cNvSpPr>
            <p:nvPr/>
          </p:nvSpPr>
          <p:spPr bwMode="auto">
            <a:xfrm>
              <a:off x="10076007" y="3497263"/>
              <a:ext cx="7938" cy="30163"/>
            </a:xfrm>
            <a:custGeom>
              <a:avLst/>
              <a:gdLst>
                <a:gd name="T0" fmla="*/ 2 w 2"/>
                <a:gd name="T1" fmla="*/ 8 h 8"/>
                <a:gd name="T2" fmla="*/ 2 w 2"/>
                <a:gd name="T3" fmla="*/ 0 h 8"/>
                <a:gd name="T4" fmla="*/ 2 w 2"/>
                <a:gd name="T5" fmla="*/ 0 h 8"/>
                <a:gd name="T6" fmla="*/ 1 w 2"/>
                <a:gd name="T7" fmla="*/ 0 h 8"/>
                <a:gd name="T8" fmla="*/ 1 w 2"/>
                <a:gd name="T9" fmla="*/ 0 h 8"/>
                <a:gd name="T10" fmla="*/ 0 w 2"/>
                <a:gd name="T11" fmla="*/ 0 h 8"/>
                <a:gd name="T12" fmla="*/ 0 w 2"/>
                <a:gd name="T13" fmla="*/ 0 h 8"/>
                <a:gd name="T14" fmla="*/ 2 w 2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cubicBezTo>
                    <a:pt x="2" y="5"/>
                    <a:pt x="1" y="2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1" y="5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5" name="Freeform 10658"/>
            <p:cNvSpPr>
              <a:spLocks/>
            </p:cNvSpPr>
            <p:nvPr/>
          </p:nvSpPr>
          <p:spPr bwMode="auto">
            <a:xfrm>
              <a:off x="10087120" y="3513138"/>
              <a:ext cx="30163" cy="19050"/>
            </a:xfrm>
            <a:custGeom>
              <a:avLst/>
              <a:gdLst>
                <a:gd name="T0" fmla="*/ 1 w 8"/>
                <a:gd name="T1" fmla="*/ 5 h 5"/>
                <a:gd name="T2" fmla="*/ 3 w 8"/>
                <a:gd name="T3" fmla="*/ 3 h 5"/>
                <a:gd name="T4" fmla="*/ 8 w 8"/>
                <a:gd name="T5" fmla="*/ 2 h 5"/>
                <a:gd name="T6" fmla="*/ 8 w 8"/>
                <a:gd name="T7" fmla="*/ 2 h 5"/>
                <a:gd name="T8" fmla="*/ 7 w 8"/>
                <a:gd name="T9" fmla="*/ 1 h 5"/>
                <a:gd name="T10" fmla="*/ 8 w 8"/>
                <a:gd name="T11" fmla="*/ 1 h 5"/>
                <a:gd name="T12" fmla="*/ 7 w 8"/>
                <a:gd name="T13" fmla="*/ 0 h 5"/>
                <a:gd name="T14" fmla="*/ 0 w 8"/>
                <a:gd name="T15" fmla="*/ 4 h 5"/>
                <a:gd name="T16" fmla="*/ 1 w 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5">
                  <a:moveTo>
                    <a:pt x="1" y="5"/>
                  </a:moveTo>
                  <a:cubicBezTo>
                    <a:pt x="1" y="4"/>
                    <a:pt x="2" y="4"/>
                    <a:pt x="3" y="3"/>
                  </a:cubicBezTo>
                  <a:cubicBezTo>
                    <a:pt x="5" y="3"/>
                    <a:pt x="7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2"/>
                    <a:pt x="3" y="3"/>
                    <a:pt x="0" y="4"/>
                  </a:cubicBez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6" name="Freeform 10659"/>
            <p:cNvSpPr>
              <a:spLocks/>
            </p:cNvSpPr>
            <p:nvPr/>
          </p:nvSpPr>
          <p:spPr bwMode="auto">
            <a:xfrm>
              <a:off x="10083945" y="3497263"/>
              <a:ext cx="7938" cy="30163"/>
            </a:xfrm>
            <a:custGeom>
              <a:avLst/>
              <a:gdLst>
                <a:gd name="T0" fmla="*/ 0 w 2"/>
                <a:gd name="T1" fmla="*/ 8 h 8"/>
                <a:gd name="T2" fmla="*/ 1 w 2"/>
                <a:gd name="T3" fmla="*/ 8 h 8"/>
                <a:gd name="T4" fmla="*/ 2 w 2"/>
                <a:gd name="T5" fmla="*/ 1 h 8"/>
                <a:gd name="T6" fmla="*/ 2 w 2"/>
                <a:gd name="T7" fmla="*/ 0 h 8"/>
                <a:gd name="T8" fmla="*/ 2 w 2"/>
                <a:gd name="T9" fmla="*/ 0 h 8"/>
                <a:gd name="T10" fmla="*/ 1 w 2"/>
                <a:gd name="T11" fmla="*/ 0 h 8"/>
                <a:gd name="T12" fmla="*/ 0 w 2"/>
                <a:gd name="T13" fmla="*/ 0 h 8"/>
                <a:gd name="T14" fmla="*/ 0 w 2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8">
                  <a:moveTo>
                    <a:pt x="0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5"/>
                    <a:pt x="1" y="3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0" y="0"/>
                  </a:cubicBezTo>
                  <a:cubicBezTo>
                    <a:pt x="1" y="2"/>
                    <a:pt x="1" y="5"/>
                    <a:pt x="0" y="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7" name="Freeform 10660"/>
            <p:cNvSpPr>
              <a:spLocks/>
            </p:cNvSpPr>
            <p:nvPr/>
          </p:nvSpPr>
          <p:spPr bwMode="auto">
            <a:xfrm>
              <a:off x="9990282" y="3513138"/>
              <a:ext cx="3175" cy="3175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0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8" name="Freeform 10661"/>
            <p:cNvSpPr>
              <a:spLocks/>
            </p:cNvSpPr>
            <p:nvPr/>
          </p:nvSpPr>
          <p:spPr bwMode="auto">
            <a:xfrm>
              <a:off x="10064895" y="3497263"/>
              <a:ext cx="19050" cy="30163"/>
            </a:xfrm>
            <a:custGeom>
              <a:avLst/>
              <a:gdLst>
                <a:gd name="T0" fmla="*/ 5 w 5"/>
                <a:gd name="T1" fmla="*/ 8 h 8"/>
                <a:gd name="T2" fmla="*/ 3 w 5"/>
                <a:gd name="T3" fmla="*/ 2 h 8"/>
                <a:gd name="T4" fmla="*/ 2 w 5"/>
                <a:gd name="T5" fmla="*/ 0 h 8"/>
                <a:gd name="T6" fmla="*/ 2 w 5"/>
                <a:gd name="T7" fmla="*/ 0 h 8"/>
                <a:gd name="T8" fmla="*/ 2 w 5"/>
                <a:gd name="T9" fmla="*/ 1 h 8"/>
                <a:gd name="T10" fmla="*/ 1 w 5"/>
                <a:gd name="T11" fmla="*/ 1 h 8"/>
                <a:gd name="T12" fmla="*/ 0 w 5"/>
                <a:gd name="T13" fmla="*/ 1 h 8"/>
                <a:gd name="T14" fmla="*/ 5 w 5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5" y="8"/>
                  </a:moveTo>
                  <a:cubicBezTo>
                    <a:pt x="4" y="6"/>
                    <a:pt x="3" y="4"/>
                    <a:pt x="3" y="2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3"/>
                    <a:pt x="4" y="5"/>
                    <a:pt x="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89" name="Freeform 10662"/>
            <p:cNvSpPr>
              <a:spLocks/>
            </p:cNvSpPr>
            <p:nvPr/>
          </p:nvSpPr>
          <p:spPr bwMode="auto">
            <a:xfrm>
              <a:off x="9956945" y="3243263"/>
              <a:ext cx="11113" cy="3175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0 h 1"/>
                <a:gd name="T4" fmla="*/ 2 w 3"/>
                <a:gd name="T5" fmla="*/ 1 h 1"/>
                <a:gd name="T6" fmla="*/ 2 w 3"/>
                <a:gd name="T7" fmla="*/ 1 h 1"/>
                <a:gd name="T8" fmla="*/ 3 w 3"/>
                <a:gd name="T9" fmla="*/ 0 h 1"/>
                <a:gd name="T10" fmla="*/ 2 w 3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0" name="Freeform 10663"/>
            <p:cNvSpPr>
              <a:spLocks/>
            </p:cNvSpPr>
            <p:nvPr/>
          </p:nvSpPr>
          <p:spPr bwMode="auto">
            <a:xfrm>
              <a:off x="10020445" y="3409951"/>
              <a:ext cx="11113" cy="41275"/>
            </a:xfrm>
            <a:custGeom>
              <a:avLst/>
              <a:gdLst>
                <a:gd name="T0" fmla="*/ 1 w 3"/>
                <a:gd name="T1" fmla="*/ 11 h 11"/>
                <a:gd name="T2" fmla="*/ 3 w 3"/>
                <a:gd name="T3" fmla="*/ 1 h 11"/>
                <a:gd name="T4" fmla="*/ 2 w 3"/>
                <a:gd name="T5" fmla="*/ 0 h 11"/>
                <a:gd name="T6" fmla="*/ 2 w 3"/>
                <a:gd name="T7" fmla="*/ 0 h 11"/>
                <a:gd name="T8" fmla="*/ 2 w 3"/>
                <a:gd name="T9" fmla="*/ 4 h 11"/>
                <a:gd name="T10" fmla="*/ 0 w 3"/>
                <a:gd name="T11" fmla="*/ 10 h 11"/>
                <a:gd name="T12" fmla="*/ 0 w 3"/>
                <a:gd name="T13" fmla="*/ 11 h 11"/>
                <a:gd name="T14" fmla="*/ 1 w 3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11">
                  <a:moveTo>
                    <a:pt x="1" y="11"/>
                  </a:moveTo>
                  <a:cubicBezTo>
                    <a:pt x="2" y="8"/>
                    <a:pt x="3" y="4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2"/>
                    <a:pt x="2" y="4"/>
                  </a:cubicBezTo>
                  <a:cubicBezTo>
                    <a:pt x="2" y="5"/>
                    <a:pt x="1" y="8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1" name="Freeform 10664"/>
            <p:cNvSpPr>
              <a:spLocks/>
            </p:cNvSpPr>
            <p:nvPr/>
          </p:nvSpPr>
          <p:spPr bwMode="auto">
            <a:xfrm>
              <a:off x="10091882" y="3521076"/>
              <a:ext cx="30163" cy="11113"/>
            </a:xfrm>
            <a:custGeom>
              <a:avLst/>
              <a:gdLst>
                <a:gd name="T0" fmla="*/ 0 w 8"/>
                <a:gd name="T1" fmla="*/ 3 h 3"/>
                <a:gd name="T2" fmla="*/ 7 w 8"/>
                <a:gd name="T3" fmla="*/ 2 h 3"/>
                <a:gd name="T4" fmla="*/ 8 w 8"/>
                <a:gd name="T5" fmla="*/ 3 h 3"/>
                <a:gd name="T6" fmla="*/ 8 w 8"/>
                <a:gd name="T7" fmla="*/ 2 h 3"/>
                <a:gd name="T8" fmla="*/ 7 w 8"/>
                <a:gd name="T9" fmla="*/ 2 h 3"/>
                <a:gd name="T10" fmla="*/ 8 w 8"/>
                <a:gd name="T11" fmla="*/ 1 h 3"/>
                <a:gd name="T12" fmla="*/ 7 w 8"/>
                <a:gd name="T13" fmla="*/ 0 h 3"/>
                <a:gd name="T14" fmla="*/ 0 w 8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cubicBezTo>
                    <a:pt x="2" y="2"/>
                    <a:pt x="5" y="2"/>
                    <a:pt x="7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2"/>
                    <a:pt x="2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2" name="Freeform 10665"/>
            <p:cNvSpPr>
              <a:spLocks/>
            </p:cNvSpPr>
            <p:nvPr/>
          </p:nvSpPr>
          <p:spPr bwMode="auto">
            <a:xfrm>
              <a:off x="10091882" y="3532188"/>
              <a:ext cx="30163" cy="6350"/>
            </a:xfrm>
            <a:custGeom>
              <a:avLst/>
              <a:gdLst>
                <a:gd name="T0" fmla="*/ 0 w 8"/>
                <a:gd name="T1" fmla="*/ 0 h 2"/>
                <a:gd name="T2" fmla="*/ 0 w 8"/>
                <a:gd name="T3" fmla="*/ 0 h 2"/>
                <a:gd name="T4" fmla="*/ 6 w 8"/>
                <a:gd name="T5" fmla="*/ 2 h 2"/>
                <a:gd name="T6" fmla="*/ 8 w 8"/>
                <a:gd name="T7" fmla="*/ 2 h 2"/>
                <a:gd name="T8" fmla="*/ 8 w 8"/>
                <a:gd name="T9" fmla="*/ 1 h 2"/>
                <a:gd name="T10" fmla="*/ 7 w 8"/>
                <a:gd name="T11" fmla="*/ 1 h 2"/>
                <a:gd name="T12" fmla="*/ 8 w 8"/>
                <a:gd name="T13" fmla="*/ 0 h 2"/>
                <a:gd name="T14" fmla="*/ 8 w 8"/>
                <a:gd name="T15" fmla="*/ 0 h 2"/>
                <a:gd name="T16" fmla="*/ 0 w 8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4" y="1"/>
                    <a:pt x="6" y="2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2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3" name="Freeform 10666"/>
            <p:cNvSpPr>
              <a:spLocks/>
            </p:cNvSpPr>
            <p:nvPr/>
          </p:nvSpPr>
          <p:spPr bwMode="auto">
            <a:xfrm>
              <a:off x="10091882" y="3532188"/>
              <a:ext cx="30163" cy="14288"/>
            </a:xfrm>
            <a:custGeom>
              <a:avLst/>
              <a:gdLst>
                <a:gd name="T0" fmla="*/ 0 w 8"/>
                <a:gd name="T1" fmla="*/ 1 h 4"/>
                <a:gd name="T2" fmla="*/ 6 w 8"/>
                <a:gd name="T3" fmla="*/ 4 h 4"/>
                <a:gd name="T4" fmla="*/ 7 w 8"/>
                <a:gd name="T5" fmla="*/ 4 h 4"/>
                <a:gd name="T6" fmla="*/ 7 w 8"/>
                <a:gd name="T7" fmla="*/ 4 h 4"/>
                <a:gd name="T8" fmla="*/ 7 w 8"/>
                <a:gd name="T9" fmla="*/ 3 h 4"/>
                <a:gd name="T10" fmla="*/ 8 w 8"/>
                <a:gd name="T11" fmla="*/ 2 h 4"/>
                <a:gd name="T12" fmla="*/ 0 w 8"/>
                <a:gd name="T13" fmla="*/ 0 h 4"/>
                <a:gd name="T14" fmla="*/ 0 w 8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4">
                  <a:moveTo>
                    <a:pt x="0" y="1"/>
                  </a:moveTo>
                  <a:cubicBezTo>
                    <a:pt x="2" y="1"/>
                    <a:pt x="4" y="2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6" y="3"/>
                    <a:pt x="7" y="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2" y="1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4" name="Freeform 10667"/>
            <p:cNvSpPr>
              <a:spLocks/>
            </p:cNvSpPr>
            <p:nvPr/>
          </p:nvSpPr>
          <p:spPr bwMode="auto">
            <a:xfrm>
              <a:off x="10083945" y="3535363"/>
              <a:ext cx="11113" cy="30163"/>
            </a:xfrm>
            <a:custGeom>
              <a:avLst/>
              <a:gdLst>
                <a:gd name="T0" fmla="*/ 0 w 3"/>
                <a:gd name="T1" fmla="*/ 0 h 8"/>
                <a:gd name="T2" fmla="*/ 1 w 3"/>
                <a:gd name="T3" fmla="*/ 8 h 8"/>
                <a:gd name="T4" fmla="*/ 1 w 3"/>
                <a:gd name="T5" fmla="*/ 8 h 8"/>
                <a:gd name="T6" fmla="*/ 1 w 3"/>
                <a:gd name="T7" fmla="*/ 8 h 8"/>
                <a:gd name="T8" fmla="*/ 2 w 3"/>
                <a:gd name="T9" fmla="*/ 8 h 8"/>
                <a:gd name="T10" fmla="*/ 2 w 3"/>
                <a:gd name="T11" fmla="*/ 8 h 8"/>
                <a:gd name="T12" fmla="*/ 3 w 3"/>
                <a:gd name="T13" fmla="*/ 8 h 8"/>
                <a:gd name="T14" fmla="*/ 1 w 3"/>
                <a:gd name="T15" fmla="*/ 0 h 8"/>
                <a:gd name="T16" fmla="*/ 0 w 3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8">
                  <a:moveTo>
                    <a:pt x="0" y="0"/>
                  </a:moveTo>
                  <a:cubicBezTo>
                    <a:pt x="1" y="3"/>
                    <a:pt x="1" y="5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6"/>
                    <a:pt x="1" y="3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5" name="Freeform 10668"/>
            <p:cNvSpPr>
              <a:spLocks/>
            </p:cNvSpPr>
            <p:nvPr/>
          </p:nvSpPr>
          <p:spPr bwMode="auto">
            <a:xfrm>
              <a:off x="10087120" y="3535363"/>
              <a:ext cx="15875" cy="30163"/>
            </a:xfrm>
            <a:custGeom>
              <a:avLst/>
              <a:gdLst>
                <a:gd name="T0" fmla="*/ 0 w 4"/>
                <a:gd name="T1" fmla="*/ 0 h 8"/>
                <a:gd name="T2" fmla="*/ 1 w 4"/>
                <a:gd name="T3" fmla="*/ 2 h 8"/>
                <a:gd name="T4" fmla="*/ 2 w 4"/>
                <a:gd name="T5" fmla="*/ 8 h 8"/>
                <a:gd name="T6" fmla="*/ 3 w 4"/>
                <a:gd name="T7" fmla="*/ 8 h 8"/>
                <a:gd name="T8" fmla="*/ 3 w 4"/>
                <a:gd name="T9" fmla="*/ 7 h 8"/>
                <a:gd name="T10" fmla="*/ 4 w 4"/>
                <a:gd name="T11" fmla="*/ 7 h 8"/>
                <a:gd name="T12" fmla="*/ 4 w 4"/>
                <a:gd name="T13" fmla="*/ 7 h 8"/>
                <a:gd name="T14" fmla="*/ 0 w 4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1" y="4"/>
                    <a:pt x="2" y="6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5"/>
                    <a:pt x="1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6" name="Freeform 10669"/>
            <p:cNvSpPr>
              <a:spLocks/>
            </p:cNvSpPr>
            <p:nvPr/>
          </p:nvSpPr>
          <p:spPr bwMode="auto">
            <a:xfrm>
              <a:off x="10058545" y="3502026"/>
              <a:ext cx="22225" cy="25400"/>
            </a:xfrm>
            <a:custGeom>
              <a:avLst/>
              <a:gdLst>
                <a:gd name="T0" fmla="*/ 6 w 6"/>
                <a:gd name="T1" fmla="*/ 7 h 7"/>
                <a:gd name="T2" fmla="*/ 6 w 6"/>
                <a:gd name="T3" fmla="*/ 7 h 7"/>
                <a:gd name="T4" fmla="*/ 2 w 6"/>
                <a:gd name="T5" fmla="*/ 0 h 7"/>
                <a:gd name="T6" fmla="*/ 2 w 6"/>
                <a:gd name="T7" fmla="*/ 0 h 7"/>
                <a:gd name="T8" fmla="*/ 2 w 6"/>
                <a:gd name="T9" fmla="*/ 1 h 7"/>
                <a:gd name="T10" fmla="*/ 1 w 6"/>
                <a:gd name="T11" fmla="*/ 1 h 7"/>
                <a:gd name="T12" fmla="*/ 0 w 6"/>
                <a:gd name="T13" fmla="*/ 2 h 7"/>
                <a:gd name="T14" fmla="*/ 6 w 6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6" y="7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5" y="5"/>
                    <a:pt x="3" y="3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3"/>
                    <a:pt x="5" y="5"/>
                    <a:pt x="6" y="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7" name="Freeform 10670"/>
            <p:cNvSpPr>
              <a:spLocks/>
            </p:cNvSpPr>
            <p:nvPr/>
          </p:nvSpPr>
          <p:spPr bwMode="auto">
            <a:xfrm>
              <a:off x="10061720" y="3535363"/>
              <a:ext cx="22225" cy="26988"/>
            </a:xfrm>
            <a:custGeom>
              <a:avLst/>
              <a:gdLst>
                <a:gd name="T0" fmla="*/ 5 w 6"/>
                <a:gd name="T1" fmla="*/ 0 h 7"/>
                <a:gd name="T2" fmla="*/ 0 w 6"/>
                <a:gd name="T3" fmla="*/ 6 h 7"/>
                <a:gd name="T4" fmla="*/ 0 w 6"/>
                <a:gd name="T5" fmla="*/ 6 h 7"/>
                <a:gd name="T6" fmla="*/ 1 w 6"/>
                <a:gd name="T7" fmla="*/ 6 h 7"/>
                <a:gd name="T8" fmla="*/ 1 w 6"/>
                <a:gd name="T9" fmla="*/ 7 h 7"/>
                <a:gd name="T10" fmla="*/ 2 w 6"/>
                <a:gd name="T11" fmla="*/ 7 h 7"/>
                <a:gd name="T12" fmla="*/ 6 w 6"/>
                <a:gd name="T13" fmla="*/ 0 h 7"/>
                <a:gd name="T14" fmla="*/ 5 w 6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5" y="0"/>
                  </a:moveTo>
                  <a:cubicBezTo>
                    <a:pt x="4" y="2"/>
                    <a:pt x="2" y="4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5"/>
                    <a:pt x="4" y="2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8" name="Freeform 10671"/>
            <p:cNvSpPr>
              <a:spLocks/>
            </p:cNvSpPr>
            <p:nvPr/>
          </p:nvSpPr>
          <p:spPr bwMode="auto">
            <a:xfrm>
              <a:off x="10069657" y="3535363"/>
              <a:ext cx="14288" cy="30163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7 h 8"/>
                <a:gd name="T4" fmla="*/ 0 w 4"/>
                <a:gd name="T5" fmla="*/ 7 h 8"/>
                <a:gd name="T6" fmla="*/ 0 w 4"/>
                <a:gd name="T7" fmla="*/ 8 h 8"/>
                <a:gd name="T8" fmla="*/ 1 w 4"/>
                <a:gd name="T9" fmla="*/ 7 h 8"/>
                <a:gd name="T10" fmla="*/ 1 w 4"/>
                <a:gd name="T11" fmla="*/ 8 h 8"/>
                <a:gd name="T12" fmla="*/ 2 w 4"/>
                <a:gd name="T13" fmla="*/ 8 h 8"/>
                <a:gd name="T14" fmla="*/ 4 w 4"/>
                <a:gd name="T1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cubicBezTo>
                    <a:pt x="3" y="2"/>
                    <a:pt x="2" y="5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6"/>
                    <a:pt x="3" y="3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199" name="Freeform 10672"/>
            <p:cNvSpPr>
              <a:spLocks/>
            </p:cNvSpPr>
            <p:nvPr/>
          </p:nvSpPr>
          <p:spPr bwMode="auto">
            <a:xfrm>
              <a:off x="10087120" y="3535363"/>
              <a:ext cx="23813" cy="26988"/>
            </a:xfrm>
            <a:custGeom>
              <a:avLst/>
              <a:gdLst>
                <a:gd name="T0" fmla="*/ 0 w 6"/>
                <a:gd name="T1" fmla="*/ 0 h 7"/>
                <a:gd name="T2" fmla="*/ 0 w 6"/>
                <a:gd name="T3" fmla="*/ 0 h 7"/>
                <a:gd name="T4" fmla="*/ 4 w 6"/>
                <a:gd name="T5" fmla="*/ 5 h 7"/>
                <a:gd name="T6" fmla="*/ 4 w 6"/>
                <a:gd name="T7" fmla="*/ 7 h 7"/>
                <a:gd name="T8" fmla="*/ 5 w 6"/>
                <a:gd name="T9" fmla="*/ 7 h 7"/>
                <a:gd name="T10" fmla="*/ 5 w 6"/>
                <a:gd name="T11" fmla="*/ 6 h 7"/>
                <a:gd name="T12" fmla="*/ 6 w 6"/>
                <a:gd name="T13" fmla="*/ 6 h 7"/>
                <a:gd name="T14" fmla="*/ 6 w 6"/>
                <a:gd name="T15" fmla="*/ 5 h 7"/>
                <a:gd name="T16" fmla="*/ 0 w 6"/>
                <a:gd name="T1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7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2"/>
                    <a:pt x="3" y="4"/>
                    <a:pt x="4" y="5"/>
                  </a:cubicBezTo>
                  <a:cubicBezTo>
                    <a:pt x="4" y="6"/>
                    <a:pt x="4" y="6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4"/>
                    <a:pt x="2" y="2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0" name="Freeform 10673"/>
            <p:cNvSpPr>
              <a:spLocks/>
            </p:cNvSpPr>
            <p:nvPr/>
          </p:nvSpPr>
          <p:spPr bwMode="auto">
            <a:xfrm>
              <a:off x="10087120" y="3535363"/>
              <a:ext cx="30163" cy="19050"/>
            </a:xfrm>
            <a:custGeom>
              <a:avLst/>
              <a:gdLst>
                <a:gd name="T0" fmla="*/ 7 w 8"/>
                <a:gd name="T1" fmla="*/ 4 h 5"/>
                <a:gd name="T2" fmla="*/ 7 w 8"/>
                <a:gd name="T3" fmla="*/ 4 h 5"/>
                <a:gd name="T4" fmla="*/ 8 w 8"/>
                <a:gd name="T5" fmla="*/ 3 h 5"/>
                <a:gd name="T6" fmla="*/ 0 w 8"/>
                <a:gd name="T7" fmla="*/ 0 h 5"/>
                <a:gd name="T8" fmla="*/ 0 w 8"/>
                <a:gd name="T9" fmla="*/ 0 h 5"/>
                <a:gd name="T10" fmla="*/ 6 w 8"/>
                <a:gd name="T11" fmla="*/ 5 h 5"/>
                <a:gd name="T12" fmla="*/ 6 w 8"/>
                <a:gd name="T13" fmla="*/ 5 h 5"/>
                <a:gd name="T14" fmla="*/ 7 w 8"/>
                <a:gd name="T15" fmla="*/ 5 h 5"/>
                <a:gd name="T16" fmla="*/ 7 w 8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5">
                  <a:moveTo>
                    <a:pt x="7" y="4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5" y="3"/>
                    <a:pt x="3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1"/>
                    <a:pt x="4" y="3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1" name="Freeform 10674"/>
            <p:cNvSpPr>
              <a:spLocks/>
            </p:cNvSpPr>
            <p:nvPr/>
          </p:nvSpPr>
          <p:spPr bwMode="auto">
            <a:xfrm>
              <a:off x="10136332" y="3513138"/>
              <a:ext cx="4763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2" name="Freeform 10675"/>
            <p:cNvSpPr>
              <a:spLocks/>
            </p:cNvSpPr>
            <p:nvPr/>
          </p:nvSpPr>
          <p:spPr bwMode="auto">
            <a:xfrm>
              <a:off x="10053782" y="3535363"/>
              <a:ext cx="26988" cy="22225"/>
            </a:xfrm>
            <a:custGeom>
              <a:avLst/>
              <a:gdLst>
                <a:gd name="T0" fmla="*/ 7 w 7"/>
                <a:gd name="T1" fmla="*/ 0 h 6"/>
                <a:gd name="T2" fmla="*/ 7 w 7"/>
                <a:gd name="T3" fmla="*/ 0 h 6"/>
                <a:gd name="T4" fmla="*/ 0 w 7"/>
                <a:gd name="T5" fmla="*/ 4 h 6"/>
                <a:gd name="T6" fmla="*/ 1 w 7"/>
                <a:gd name="T7" fmla="*/ 5 h 6"/>
                <a:gd name="T8" fmla="*/ 1 w 7"/>
                <a:gd name="T9" fmla="*/ 5 h 6"/>
                <a:gd name="T10" fmla="*/ 1 w 7"/>
                <a:gd name="T11" fmla="*/ 5 h 6"/>
                <a:gd name="T12" fmla="*/ 2 w 7"/>
                <a:gd name="T13" fmla="*/ 6 h 6"/>
                <a:gd name="T14" fmla="*/ 7 w 7"/>
                <a:gd name="T1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5" y="1"/>
                    <a:pt x="3" y="3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4"/>
                    <a:pt x="5" y="2"/>
                    <a:pt x="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3" name="Freeform 10676"/>
            <p:cNvSpPr>
              <a:spLocks/>
            </p:cNvSpPr>
            <p:nvPr/>
          </p:nvSpPr>
          <p:spPr bwMode="auto">
            <a:xfrm>
              <a:off x="10050607" y="3516313"/>
              <a:ext cx="30163" cy="15875"/>
            </a:xfrm>
            <a:custGeom>
              <a:avLst/>
              <a:gdLst>
                <a:gd name="T0" fmla="*/ 8 w 8"/>
                <a:gd name="T1" fmla="*/ 4 h 4"/>
                <a:gd name="T2" fmla="*/ 8 w 8"/>
                <a:gd name="T3" fmla="*/ 3 h 4"/>
                <a:gd name="T4" fmla="*/ 3 w 8"/>
                <a:gd name="T5" fmla="*/ 1 h 4"/>
                <a:gd name="T6" fmla="*/ 1 w 8"/>
                <a:gd name="T7" fmla="*/ 0 h 4"/>
                <a:gd name="T8" fmla="*/ 1 w 8"/>
                <a:gd name="T9" fmla="*/ 0 h 4"/>
                <a:gd name="T10" fmla="*/ 1 w 8"/>
                <a:gd name="T11" fmla="*/ 1 h 4"/>
                <a:gd name="T12" fmla="*/ 0 w 8"/>
                <a:gd name="T13" fmla="*/ 1 h 4"/>
                <a:gd name="T14" fmla="*/ 0 w 8"/>
                <a:gd name="T15" fmla="*/ 2 h 4"/>
                <a:gd name="T16" fmla="*/ 8 w 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6" y="3"/>
                    <a:pt x="4" y="2"/>
                    <a:pt x="3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" y="2"/>
                    <a:pt x="6" y="3"/>
                    <a:pt x="8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4" name="Freeform 10677"/>
            <p:cNvSpPr>
              <a:spLocks/>
            </p:cNvSpPr>
            <p:nvPr/>
          </p:nvSpPr>
          <p:spPr bwMode="auto">
            <a:xfrm>
              <a:off x="10053782" y="3508376"/>
              <a:ext cx="26988" cy="19050"/>
            </a:xfrm>
            <a:custGeom>
              <a:avLst/>
              <a:gdLst>
                <a:gd name="T0" fmla="*/ 7 w 7"/>
                <a:gd name="T1" fmla="*/ 5 h 5"/>
                <a:gd name="T2" fmla="*/ 7 w 7"/>
                <a:gd name="T3" fmla="*/ 5 h 5"/>
                <a:gd name="T4" fmla="*/ 1 w 7"/>
                <a:gd name="T5" fmla="*/ 0 h 5"/>
                <a:gd name="T6" fmla="*/ 1 w 7"/>
                <a:gd name="T7" fmla="*/ 0 h 5"/>
                <a:gd name="T8" fmla="*/ 1 w 7"/>
                <a:gd name="T9" fmla="*/ 1 h 5"/>
                <a:gd name="T10" fmla="*/ 0 w 7"/>
                <a:gd name="T11" fmla="*/ 1 h 5"/>
                <a:gd name="T12" fmla="*/ 0 w 7"/>
                <a:gd name="T13" fmla="*/ 2 h 5"/>
                <a:gd name="T14" fmla="*/ 6 w 7"/>
                <a:gd name="T15" fmla="*/ 4 h 5"/>
                <a:gd name="T16" fmla="*/ 7 w 7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5">
                  <a:moveTo>
                    <a:pt x="7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5" y="4"/>
                    <a:pt x="3" y="2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4" y="3"/>
                    <a:pt x="6" y="4"/>
                  </a:cubicBezTo>
                  <a:lnTo>
                    <a:pt x="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5" name="Freeform 10678"/>
            <p:cNvSpPr>
              <a:spLocks/>
            </p:cNvSpPr>
            <p:nvPr/>
          </p:nvSpPr>
          <p:spPr bwMode="auto">
            <a:xfrm>
              <a:off x="10050607" y="3524251"/>
              <a:ext cx="30163" cy="7938"/>
            </a:xfrm>
            <a:custGeom>
              <a:avLst/>
              <a:gdLst>
                <a:gd name="T0" fmla="*/ 8 w 8"/>
                <a:gd name="T1" fmla="*/ 2 h 2"/>
                <a:gd name="T2" fmla="*/ 8 w 8"/>
                <a:gd name="T3" fmla="*/ 2 h 2"/>
                <a:gd name="T4" fmla="*/ 0 w 8"/>
                <a:gd name="T5" fmla="*/ 0 h 2"/>
                <a:gd name="T6" fmla="*/ 0 w 8"/>
                <a:gd name="T7" fmla="*/ 1 h 2"/>
                <a:gd name="T8" fmla="*/ 0 w 8"/>
                <a:gd name="T9" fmla="*/ 1 h 2"/>
                <a:gd name="T10" fmla="*/ 0 w 8"/>
                <a:gd name="T11" fmla="*/ 2 h 2"/>
                <a:gd name="T12" fmla="*/ 0 w 8"/>
                <a:gd name="T13" fmla="*/ 2 h 2"/>
                <a:gd name="T14" fmla="*/ 8 w 8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2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5" y="2"/>
                    <a:pt x="8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6" name="Freeform 10679"/>
            <p:cNvSpPr>
              <a:spLocks/>
            </p:cNvSpPr>
            <p:nvPr/>
          </p:nvSpPr>
          <p:spPr bwMode="auto">
            <a:xfrm>
              <a:off x="10050607" y="3532188"/>
              <a:ext cx="30163" cy="11113"/>
            </a:xfrm>
            <a:custGeom>
              <a:avLst/>
              <a:gdLst>
                <a:gd name="T0" fmla="*/ 8 w 8"/>
                <a:gd name="T1" fmla="*/ 0 h 3"/>
                <a:gd name="T2" fmla="*/ 8 w 8"/>
                <a:gd name="T3" fmla="*/ 0 h 3"/>
                <a:gd name="T4" fmla="*/ 0 w 8"/>
                <a:gd name="T5" fmla="*/ 0 h 3"/>
                <a:gd name="T6" fmla="*/ 0 w 8"/>
                <a:gd name="T7" fmla="*/ 1 h 3"/>
                <a:gd name="T8" fmla="*/ 0 w 8"/>
                <a:gd name="T9" fmla="*/ 2 h 3"/>
                <a:gd name="T10" fmla="*/ 0 w 8"/>
                <a:gd name="T11" fmla="*/ 3 h 3"/>
                <a:gd name="T12" fmla="*/ 6 w 8"/>
                <a:gd name="T13" fmla="*/ 1 h 3"/>
                <a:gd name="T14" fmla="*/ 8 w 8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3">
                  <a:moveTo>
                    <a:pt x="8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5" y="1"/>
                    <a:pt x="2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0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4" y="1"/>
                    <a:pt x="6" y="1"/>
                  </a:cubicBezTo>
                  <a:cubicBezTo>
                    <a:pt x="6" y="1"/>
                    <a:pt x="7" y="1"/>
                    <a:pt x="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7" name="Freeform 10680"/>
            <p:cNvSpPr>
              <a:spLocks/>
            </p:cNvSpPr>
            <p:nvPr/>
          </p:nvSpPr>
          <p:spPr bwMode="auto">
            <a:xfrm>
              <a:off x="10050607" y="3532188"/>
              <a:ext cx="30163" cy="19050"/>
            </a:xfrm>
            <a:custGeom>
              <a:avLst/>
              <a:gdLst>
                <a:gd name="T0" fmla="*/ 8 w 8"/>
                <a:gd name="T1" fmla="*/ 1 h 5"/>
                <a:gd name="T2" fmla="*/ 8 w 8"/>
                <a:gd name="T3" fmla="*/ 0 h 5"/>
                <a:gd name="T4" fmla="*/ 1 w 8"/>
                <a:gd name="T5" fmla="*/ 3 h 5"/>
                <a:gd name="T6" fmla="*/ 0 w 8"/>
                <a:gd name="T7" fmla="*/ 3 h 5"/>
                <a:gd name="T8" fmla="*/ 0 w 8"/>
                <a:gd name="T9" fmla="*/ 3 h 5"/>
                <a:gd name="T10" fmla="*/ 1 w 8"/>
                <a:gd name="T11" fmla="*/ 4 h 5"/>
                <a:gd name="T12" fmla="*/ 1 w 8"/>
                <a:gd name="T13" fmla="*/ 4 h 5"/>
                <a:gd name="T14" fmla="*/ 1 w 8"/>
                <a:gd name="T15" fmla="*/ 5 h 5"/>
                <a:gd name="T16" fmla="*/ 8 w 8"/>
                <a:gd name="T1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5">
                  <a:moveTo>
                    <a:pt x="8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2"/>
                    <a:pt x="3" y="2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3"/>
                    <a:pt x="6" y="2"/>
                    <a:pt x="8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8" name="Freeform 10681"/>
            <p:cNvSpPr>
              <a:spLocks noEditPoints="1"/>
            </p:cNvSpPr>
            <p:nvPr/>
          </p:nvSpPr>
          <p:spPr bwMode="auto">
            <a:xfrm>
              <a:off x="9987107" y="3603626"/>
              <a:ext cx="184150" cy="34925"/>
            </a:xfrm>
            <a:custGeom>
              <a:avLst/>
              <a:gdLst>
                <a:gd name="T0" fmla="*/ 4 w 49"/>
                <a:gd name="T1" fmla="*/ 6 h 9"/>
                <a:gd name="T2" fmla="*/ 3 w 49"/>
                <a:gd name="T3" fmla="*/ 5 h 9"/>
                <a:gd name="T4" fmla="*/ 2 w 49"/>
                <a:gd name="T5" fmla="*/ 6 h 9"/>
                <a:gd name="T6" fmla="*/ 3 w 49"/>
                <a:gd name="T7" fmla="*/ 7 h 9"/>
                <a:gd name="T8" fmla="*/ 1 w 49"/>
                <a:gd name="T9" fmla="*/ 6 h 9"/>
                <a:gd name="T10" fmla="*/ 1 w 49"/>
                <a:gd name="T11" fmla="*/ 5 h 9"/>
                <a:gd name="T12" fmla="*/ 3 w 49"/>
                <a:gd name="T13" fmla="*/ 5 h 9"/>
                <a:gd name="T14" fmla="*/ 7 w 49"/>
                <a:gd name="T15" fmla="*/ 3 h 9"/>
                <a:gd name="T16" fmla="*/ 16 w 49"/>
                <a:gd name="T17" fmla="*/ 3 h 9"/>
                <a:gd name="T18" fmla="*/ 21 w 49"/>
                <a:gd name="T19" fmla="*/ 3 h 9"/>
                <a:gd name="T20" fmla="*/ 25 w 49"/>
                <a:gd name="T21" fmla="*/ 9 h 9"/>
                <a:gd name="T22" fmla="*/ 24 w 49"/>
                <a:gd name="T23" fmla="*/ 7 h 9"/>
                <a:gd name="T24" fmla="*/ 22 w 49"/>
                <a:gd name="T25" fmla="*/ 6 h 9"/>
                <a:gd name="T26" fmla="*/ 24 w 49"/>
                <a:gd name="T27" fmla="*/ 4 h 9"/>
                <a:gd name="T28" fmla="*/ 24 w 49"/>
                <a:gd name="T29" fmla="*/ 5 h 9"/>
                <a:gd name="T30" fmla="*/ 23 w 49"/>
                <a:gd name="T31" fmla="*/ 7 h 9"/>
                <a:gd name="T32" fmla="*/ 25 w 49"/>
                <a:gd name="T33" fmla="*/ 6 h 9"/>
                <a:gd name="T34" fmla="*/ 20 w 49"/>
                <a:gd name="T35" fmla="*/ 9 h 9"/>
                <a:gd name="T36" fmla="*/ 18 w 49"/>
                <a:gd name="T37" fmla="*/ 7 h 9"/>
                <a:gd name="T38" fmla="*/ 16 w 49"/>
                <a:gd name="T39" fmla="*/ 6 h 9"/>
                <a:gd name="T40" fmla="*/ 17 w 49"/>
                <a:gd name="T41" fmla="*/ 5 h 9"/>
                <a:gd name="T42" fmla="*/ 15 w 49"/>
                <a:gd name="T43" fmla="*/ 3 h 9"/>
                <a:gd name="T44" fmla="*/ 11 w 49"/>
                <a:gd name="T45" fmla="*/ 7 h 9"/>
                <a:gd name="T46" fmla="*/ 11 w 49"/>
                <a:gd name="T47" fmla="*/ 5 h 9"/>
                <a:gd name="T48" fmla="*/ 10 w 49"/>
                <a:gd name="T49" fmla="*/ 3 h 9"/>
                <a:gd name="T50" fmla="*/ 48 w 49"/>
                <a:gd name="T51" fmla="*/ 3 h 9"/>
                <a:gd name="T52" fmla="*/ 49 w 49"/>
                <a:gd name="T53" fmla="*/ 3 h 9"/>
                <a:gd name="T54" fmla="*/ 45 w 49"/>
                <a:gd name="T55" fmla="*/ 5 h 9"/>
                <a:gd name="T56" fmla="*/ 46 w 49"/>
                <a:gd name="T57" fmla="*/ 8 h 9"/>
                <a:gd name="T58" fmla="*/ 45 w 49"/>
                <a:gd name="T59" fmla="*/ 8 h 9"/>
                <a:gd name="T60" fmla="*/ 44 w 49"/>
                <a:gd name="T61" fmla="*/ 6 h 9"/>
                <a:gd name="T62" fmla="*/ 48 w 49"/>
                <a:gd name="T63" fmla="*/ 3 h 9"/>
                <a:gd name="T64" fmla="*/ 42 w 49"/>
                <a:gd name="T65" fmla="*/ 9 h 9"/>
                <a:gd name="T66" fmla="*/ 39 w 49"/>
                <a:gd name="T67" fmla="*/ 5 h 9"/>
                <a:gd name="T68" fmla="*/ 40 w 49"/>
                <a:gd name="T69" fmla="*/ 5 h 9"/>
                <a:gd name="T70" fmla="*/ 37 w 49"/>
                <a:gd name="T71" fmla="*/ 3 h 9"/>
                <a:gd name="T72" fmla="*/ 35 w 49"/>
                <a:gd name="T73" fmla="*/ 5 h 9"/>
                <a:gd name="T74" fmla="*/ 35 w 49"/>
                <a:gd name="T75" fmla="*/ 7 h 9"/>
                <a:gd name="T76" fmla="*/ 31 w 49"/>
                <a:gd name="T77" fmla="*/ 5 h 9"/>
                <a:gd name="T78" fmla="*/ 32 w 49"/>
                <a:gd name="T79" fmla="*/ 5 h 9"/>
                <a:gd name="T80" fmla="*/ 34 w 49"/>
                <a:gd name="T81" fmla="*/ 6 h 9"/>
                <a:gd name="T82" fmla="*/ 36 w 49"/>
                <a:gd name="T83" fmla="*/ 3 h 9"/>
                <a:gd name="T84" fmla="*/ 43 w 49"/>
                <a:gd name="T85" fmla="*/ 3 h 9"/>
                <a:gd name="T86" fmla="*/ 40 w 49"/>
                <a:gd name="T87" fmla="*/ 4 h 9"/>
                <a:gd name="T88" fmla="*/ 40 w 49"/>
                <a:gd name="T89" fmla="*/ 6 h 9"/>
                <a:gd name="T90" fmla="*/ 39 w 49"/>
                <a:gd name="T91" fmla="*/ 6 h 9"/>
                <a:gd name="T92" fmla="*/ 42 w 49"/>
                <a:gd name="T93" fmla="*/ 3 h 9"/>
                <a:gd name="T94" fmla="*/ 20 w 49"/>
                <a:gd name="T95" fmla="*/ 3 h 9"/>
                <a:gd name="T96" fmla="*/ 13 w 49"/>
                <a:gd name="T97" fmla="*/ 4 h 9"/>
                <a:gd name="T98" fmla="*/ 11 w 49"/>
                <a:gd name="T99" fmla="*/ 6 h 9"/>
                <a:gd name="T100" fmla="*/ 14 w 49"/>
                <a:gd name="T101" fmla="*/ 7 h 9"/>
                <a:gd name="T102" fmla="*/ 8 w 49"/>
                <a:gd name="T103" fmla="*/ 5 h 9"/>
                <a:gd name="T104" fmla="*/ 9 w 49"/>
                <a:gd name="T105" fmla="*/ 8 h 9"/>
                <a:gd name="T106" fmla="*/ 7 w 49"/>
                <a:gd name="T107" fmla="*/ 6 h 9"/>
                <a:gd name="T108" fmla="*/ 9 w 49"/>
                <a:gd name="T10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" h="9">
                  <a:moveTo>
                    <a:pt x="6" y="3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5"/>
                    <a:pt x="22" y="5"/>
                  </a:cubicBezTo>
                  <a:cubicBezTo>
                    <a:pt x="22" y="5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3" y="7"/>
                    <a:pt x="13" y="7"/>
                  </a:cubicBezTo>
                  <a:cubicBezTo>
                    <a:pt x="12" y="7"/>
                    <a:pt x="12" y="7"/>
                    <a:pt x="11" y="7"/>
                  </a:cubicBezTo>
                  <a:cubicBezTo>
                    <a:pt x="11" y="7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lnTo>
                    <a:pt x="6" y="3"/>
                  </a:lnTo>
                  <a:close/>
                  <a:moveTo>
                    <a:pt x="48" y="3"/>
                  </a:moveTo>
                  <a:cubicBezTo>
                    <a:pt x="45" y="1"/>
                    <a:pt x="45" y="1"/>
                    <a:pt x="45" y="1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7"/>
                    <a:pt x="45" y="7"/>
                  </a:cubicBezTo>
                  <a:cubicBezTo>
                    <a:pt x="45" y="8"/>
                    <a:pt x="46" y="8"/>
                    <a:pt x="46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1" y="7"/>
                    <a:pt x="41" y="7"/>
                  </a:cubicBezTo>
                  <a:cubicBezTo>
                    <a:pt x="40" y="7"/>
                    <a:pt x="40" y="7"/>
                    <a:pt x="39" y="7"/>
                  </a:cubicBezTo>
                  <a:cubicBezTo>
                    <a:pt x="39" y="7"/>
                    <a:pt x="38" y="6"/>
                    <a:pt x="38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8"/>
                    <a:pt x="33" y="8"/>
                    <a:pt x="32" y="7"/>
                  </a:cubicBezTo>
                  <a:cubicBezTo>
                    <a:pt x="32" y="7"/>
                    <a:pt x="32" y="6"/>
                    <a:pt x="31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6"/>
                    <a:pt x="32" y="6"/>
                    <a:pt x="32" y="7"/>
                  </a:cubicBezTo>
                  <a:cubicBezTo>
                    <a:pt x="33" y="7"/>
                    <a:pt x="33" y="8"/>
                    <a:pt x="34" y="8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3" y="3"/>
                    <a:pt x="43" y="3"/>
                    <a:pt x="43" y="3"/>
                  </a:cubicBezTo>
                  <a:lnTo>
                    <a:pt x="48" y="3"/>
                  </a:lnTo>
                  <a:close/>
                  <a:moveTo>
                    <a:pt x="42" y="3"/>
                  </a:moveTo>
                  <a:cubicBezTo>
                    <a:pt x="40" y="3"/>
                    <a:pt x="40" y="3"/>
                    <a:pt x="40" y="3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5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40" y="7"/>
                    <a:pt x="40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6"/>
                    <a:pt x="42" y="6"/>
                    <a:pt x="42" y="6"/>
                  </a:cubicBezTo>
                  <a:lnTo>
                    <a:pt x="42" y="3"/>
                  </a:lnTo>
                  <a:close/>
                  <a:moveTo>
                    <a:pt x="20" y="3"/>
                  </a:moveTo>
                  <a:cubicBezTo>
                    <a:pt x="18" y="3"/>
                    <a:pt x="18" y="3"/>
                    <a:pt x="18" y="3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20" y="3"/>
                  </a:lnTo>
                  <a:close/>
                  <a:moveTo>
                    <a:pt x="14" y="3"/>
                  </a:move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2" y="5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2" y="7"/>
                    <a:pt x="12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6"/>
                    <a:pt x="14" y="6"/>
                  </a:cubicBezTo>
                  <a:lnTo>
                    <a:pt x="14" y="3"/>
                  </a:lnTo>
                  <a:close/>
                  <a:moveTo>
                    <a:pt x="9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09" name="Freeform 10682"/>
            <p:cNvSpPr>
              <a:spLocks noEditPoints="1"/>
            </p:cNvSpPr>
            <p:nvPr/>
          </p:nvSpPr>
          <p:spPr bwMode="auto">
            <a:xfrm>
              <a:off x="9987107" y="3603626"/>
              <a:ext cx="184150" cy="34925"/>
            </a:xfrm>
            <a:custGeom>
              <a:avLst/>
              <a:gdLst>
                <a:gd name="T0" fmla="*/ 7 w 116"/>
                <a:gd name="T1" fmla="*/ 15 h 22"/>
                <a:gd name="T2" fmla="*/ 4 w 116"/>
                <a:gd name="T3" fmla="*/ 15 h 22"/>
                <a:gd name="T4" fmla="*/ 7 w 116"/>
                <a:gd name="T5" fmla="*/ 19 h 22"/>
                <a:gd name="T6" fmla="*/ 2 w 116"/>
                <a:gd name="T7" fmla="*/ 15 h 22"/>
                <a:gd name="T8" fmla="*/ 4 w 116"/>
                <a:gd name="T9" fmla="*/ 15 h 22"/>
                <a:gd name="T10" fmla="*/ 0 w 116"/>
                <a:gd name="T11" fmla="*/ 7 h 22"/>
                <a:gd name="T12" fmla="*/ 61 w 116"/>
                <a:gd name="T13" fmla="*/ 10 h 22"/>
                <a:gd name="T14" fmla="*/ 54 w 116"/>
                <a:gd name="T15" fmla="*/ 17 h 22"/>
                <a:gd name="T16" fmla="*/ 52 w 116"/>
                <a:gd name="T17" fmla="*/ 15 h 22"/>
                <a:gd name="T18" fmla="*/ 52 w 116"/>
                <a:gd name="T19" fmla="*/ 15 h 22"/>
                <a:gd name="T20" fmla="*/ 52 w 116"/>
                <a:gd name="T21" fmla="*/ 12 h 22"/>
                <a:gd name="T22" fmla="*/ 56 w 116"/>
                <a:gd name="T23" fmla="*/ 10 h 22"/>
                <a:gd name="T24" fmla="*/ 54 w 116"/>
                <a:gd name="T25" fmla="*/ 12 h 22"/>
                <a:gd name="T26" fmla="*/ 52 w 116"/>
                <a:gd name="T27" fmla="*/ 15 h 22"/>
                <a:gd name="T28" fmla="*/ 54 w 116"/>
                <a:gd name="T29" fmla="*/ 17 h 22"/>
                <a:gd name="T30" fmla="*/ 56 w 116"/>
                <a:gd name="T31" fmla="*/ 17 h 22"/>
                <a:gd name="T32" fmla="*/ 56 w 116"/>
                <a:gd name="T33" fmla="*/ 17 h 22"/>
                <a:gd name="T34" fmla="*/ 42 w 116"/>
                <a:gd name="T35" fmla="*/ 17 h 22"/>
                <a:gd name="T36" fmla="*/ 40 w 116"/>
                <a:gd name="T37" fmla="*/ 15 h 22"/>
                <a:gd name="T38" fmla="*/ 37 w 116"/>
                <a:gd name="T39" fmla="*/ 15 h 22"/>
                <a:gd name="T40" fmla="*/ 40 w 116"/>
                <a:gd name="T41" fmla="*/ 15 h 22"/>
                <a:gd name="T42" fmla="*/ 33 w 116"/>
                <a:gd name="T43" fmla="*/ 17 h 22"/>
                <a:gd name="T44" fmla="*/ 26 w 116"/>
                <a:gd name="T45" fmla="*/ 15 h 22"/>
                <a:gd name="T46" fmla="*/ 26 w 116"/>
                <a:gd name="T47" fmla="*/ 15 h 22"/>
                <a:gd name="T48" fmla="*/ 28 w 116"/>
                <a:gd name="T49" fmla="*/ 12 h 22"/>
                <a:gd name="T50" fmla="*/ 23 w 116"/>
                <a:gd name="T51" fmla="*/ 7 h 22"/>
                <a:gd name="T52" fmla="*/ 113 w 116"/>
                <a:gd name="T53" fmla="*/ 22 h 22"/>
                <a:gd name="T54" fmla="*/ 106 w 116"/>
                <a:gd name="T55" fmla="*/ 12 h 22"/>
                <a:gd name="T56" fmla="*/ 106 w 116"/>
                <a:gd name="T57" fmla="*/ 17 h 22"/>
                <a:gd name="T58" fmla="*/ 108 w 116"/>
                <a:gd name="T59" fmla="*/ 19 h 22"/>
                <a:gd name="T60" fmla="*/ 108 w 116"/>
                <a:gd name="T61" fmla="*/ 22 h 22"/>
                <a:gd name="T62" fmla="*/ 104 w 116"/>
                <a:gd name="T63" fmla="*/ 17 h 22"/>
                <a:gd name="T64" fmla="*/ 104 w 116"/>
                <a:gd name="T65" fmla="*/ 12 h 22"/>
                <a:gd name="T66" fmla="*/ 104 w 116"/>
                <a:gd name="T67" fmla="*/ 12 h 22"/>
                <a:gd name="T68" fmla="*/ 99 w 116"/>
                <a:gd name="T69" fmla="*/ 7 h 22"/>
                <a:gd name="T70" fmla="*/ 94 w 116"/>
                <a:gd name="T71" fmla="*/ 17 h 22"/>
                <a:gd name="T72" fmla="*/ 90 w 116"/>
                <a:gd name="T73" fmla="*/ 15 h 22"/>
                <a:gd name="T74" fmla="*/ 92 w 116"/>
                <a:gd name="T75" fmla="*/ 15 h 22"/>
                <a:gd name="T76" fmla="*/ 94 w 116"/>
                <a:gd name="T77" fmla="*/ 10 h 22"/>
                <a:gd name="T78" fmla="*/ 87 w 116"/>
                <a:gd name="T79" fmla="*/ 22 h 22"/>
                <a:gd name="T80" fmla="*/ 82 w 116"/>
                <a:gd name="T81" fmla="*/ 15 h 22"/>
                <a:gd name="T82" fmla="*/ 82 w 116"/>
                <a:gd name="T83" fmla="*/ 17 h 22"/>
                <a:gd name="T84" fmla="*/ 80 w 116"/>
                <a:gd name="T85" fmla="*/ 19 h 22"/>
                <a:gd name="T86" fmla="*/ 75 w 116"/>
                <a:gd name="T87" fmla="*/ 19 h 22"/>
                <a:gd name="T88" fmla="*/ 73 w 116"/>
                <a:gd name="T89" fmla="*/ 10 h 22"/>
                <a:gd name="T90" fmla="*/ 78 w 116"/>
                <a:gd name="T91" fmla="*/ 19 h 22"/>
                <a:gd name="T92" fmla="*/ 80 w 116"/>
                <a:gd name="T93" fmla="*/ 17 h 22"/>
                <a:gd name="T94" fmla="*/ 80 w 116"/>
                <a:gd name="T95" fmla="*/ 17 h 22"/>
                <a:gd name="T96" fmla="*/ 80 w 116"/>
                <a:gd name="T97" fmla="*/ 12 h 22"/>
                <a:gd name="T98" fmla="*/ 71 w 116"/>
                <a:gd name="T99" fmla="*/ 7 h 22"/>
                <a:gd name="T100" fmla="*/ 94 w 116"/>
                <a:gd name="T101" fmla="*/ 12 h 22"/>
                <a:gd name="T102" fmla="*/ 94 w 116"/>
                <a:gd name="T103" fmla="*/ 17 h 22"/>
                <a:gd name="T104" fmla="*/ 97 w 116"/>
                <a:gd name="T105" fmla="*/ 17 h 22"/>
                <a:gd name="T106" fmla="*/ 40 w 116"/>
                <a:gd name="T107" fmla="*/ 7 h 22"/>
                <a:gd name="T108" fmla="*/ 28 w 116"/>
                <a:gd name="T109" fmla="*/ 12 h 22"/>
                <a:gd name="T110" fmla="*/ 28 w 116"/>
                <a:gd name="T111" fmla="*/ 17 h 22"/>
                <a:gd name="T112" fmla="*/ 30 w 116"/>
                <a:gd name="T113" fmla="*/ 17 h 22"/>
                <a:gd name="T114" fmla="*/ 19 w 116"/>
                <a:gd name="T115" fmla="*/ 12 h 22"/>
                <a:gd name="T116" fmla="*/ 19 w 116"/>
                <a:gd name="T117" fmla="*/ 12 h 22"/>
                <a:gd name="T118" fmla="*/ 19 w 116"/>
                <a:gd name="T119" fmla="*/ 17 h 22"/>
                <a:gd name="T120" fmla="*/ 21 w 116"/>
                <a:gd name="T121" fmla="*/ 19 h 22"/>
                <a:gd name="T122" fmla="*/ 16 w 116"/>
                <a:gd name="T123" fmla="*/ 15 h 22"/>
                <a:gd name="T124" fmla="*/ 19 w 116"/>
                <a:gd name="T125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" h="22">
                  <a:moveTo>
                    <a:pt x="14" y="22"/>
                  </a:moveTo>
                  <a:lnTo>
                    <a:pt x="14" y="22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22"/>
                  </a:lnTo>
                  <a:lnTo>
                    <a:pt x="14" y="22"/>
                  </a:lnTo>
                  <a:close/>
                  <a:moveTo>
                    <a:pt x="14" y="22"/>
                  </a:move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close/>
                  <a:moveTo>
                    <a:pt x="11" y="22"/>
                  </a:moveTo>
                  <a:lnTo>
                    <a:pt x="11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1" y="22"/>
                  </a:lnTo>
                  <a:lnTo>
                    <a:pt x="11" y="22"/>
                  </a:lnTo>
                  <a:close/>
                  <a:moveTo>
                    <a:pt x="11" y="22"/>
                  </a:move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11" y="12"/>
                  </a:moveTo>
                  <a:lnTo>
                    <a:pt x="11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2"/>
                  </a:lnTo>
                  <a:lnTo>
                    <a:pt x="11" y="12"/>
                  </a:lnTo>
                  <a:close/>
                  <a:moveTo>
                    <a:pt x="11" y="12"/>
                  </a:move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11" y="7"/>
                  </a:lnTo>
                  <a:lnTo>
                    <a:pt x="11" y="10"/>
                  </a:lnTo>
                  <a:lnTo>
                    <a:pt x="7" y="10"/>
                  </a:lnTo>
                  <a:lnTo>
                    <a:pt x="7" y="7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2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7"/>
                  </a:moveTo>
                  <a:lnTo>
                    <a:pt x="4" y="17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7" y="17"/>
                  </a:lnTo>
                  <a:lnTo>
                    <a:pt x="4" y="17"/>
                  </a:lnTo>
                  <a:close/>
                  <a:moveTo>
                    <a:pt x="4" y="17"/>
                  </a:move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close/>
                  <a:moveTo>
                    <a:pt x="7" y="22"/>
                  </a:moveTo>
                  <a:lnTo>
                    <a:pt x="7" y="22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7" y="22"/>
                  </a:lnTo>
                  <a:lnTo>
                    <a:pt x="7" y="22"/>
                  </a:lnTo>
                  <a:close/>
                  <a:moveTo>
                    <a:pt x="7" y="22"/>
                  </a:move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2" y="12"/>
                  </a:moveTo>
                  <a:lnTo>
                    <a:pt x="2" y="12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2"/>
                  </a:lnTo>
                  <a:close/>
                  <a:moveTo>
                    <a:pt x="2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0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2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2" y="12"/>
                  </a:move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2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close/>
                  <a:moveTo>
                    <a:pt x="4" y="12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4" y="7"/>
                  </a:lnTo>
                  <a:lnTo>
                    <a:pt x="7" y="7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7" y="7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7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7"/>
                  </a:lnTo>
                  <a:lnTo>
                    <a:pt x="0" y="10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16" y="7"/>
                  </a:moveTo>
                  <a:lnTo>
                    <a:pt x="16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6" y="7"/>
                  </a:lnTo>
                  <a:lnTo>
                    <a:pt x="16" y="7"/>
                  </a:lnTo>
                  <a:close/>
                  <a:moveTo>
                    <a:pt x="16" y="7"/>
                  </a:move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close/>
                  <a:moveTo>
                    <a:pt x="23" y="7"/>
                  </a:moveTo>
                  <a:lnTo>
                    <a:pt x="23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3" y="7"/>
                  </a:lnTo>
                  <a:close/>
                  <a:moveTo>
                    <a:pt x="23" y="7"/>
                  </a:move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37" y="7"/>
                  </a:lnTo>
                  <a:lnTo>
                    <a:pt x="37" y="7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47" y="7"/>
                  </a:lnTo>
                  <a:lnTo>
                    <a:pt x="47" y="7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close/>
                  <a:moveTo>
                    <a:pt x="40" y="3"/>
                  </a:moveTo>
                  <a:lnTo>
                    <a:pt x="40" y="3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0" y="3"/>
                  </a:lnTo>
                  <a:lnTo>
                    <a:pt x="40" y="3"/>
                  </a:lnTo>
                  <a:close/>
                  <a:moveTo>
                    <a:pt x="40" y="3"/>
                  </a:move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close/>
                  <a:moveTo>
                    <a:pt x="42" y="0"/>
                  </a:moveTo>
                  <a:lnTo>
                    <a:pt x="42" y="0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2" y="0"/>
                  </a:lnTo>
                  <a:lnTo>
                    <a:pt x="42" y="0"/>
                  </a:lnTo>
                  <a:close/>
                  <a:moveTo>
                    <a:pt x="42" y="0"/>
                  </a:move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7" y="7"/>
                  </a:lnTo>
                  <a:lnTo>
                    <a:pt x="47" y="7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close/>
                  <a:moveTo>
                    <a:pt x="49" y="7"/>
                  </a:moveTo>
                  <a:lnTo>
                    <a:pt x="49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9" y="7"/>
                  </a:lnTo>
                  <a:lnTo>
                    <a:pt x="49" y="7"/>
                  </a:lnTo>
                  <a:close/>
                  <a:moveTo>
                    <a:pt x="49" y="7"/>
                  </a:move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close/>
                  <a:moveTo>
                    <a:pt x="61" y="7"/>
                  </a:moveTo>
                  <a:lnTo>
                    <a:pt x="61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61" y="7"/>
                  </a:lnTo>
                  <a:lnTo>
                    <a:pt x="61" y="7"/>
                  </a:lnTo>
                  <a:close/>
                  <a:moveTo>
                    <a:pt x="61" y="7"/>
                  </a:move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close/>
                  <a:moveTo>
                    <a:pt x="61" y="10"/>
                  </a:move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10"/>
                  </a:lnTo>
                  <a:close/>
                  <a:moveTo>
                    <a:pt x="61" y="7"/>
                  </a:moveTo>
                  <a:lnTo>
                    <a:pt x="61" y="10"/>
                  </a:lnTo>
                  <a:lnTo>
                    <a:pt x="61" y="10"/>
                  </a:lnTo>
                  <a:lnTo>
                    <a:pt x="61" y="7"/>
                  </a:lnTo>
                  <a:close/>
                  <a:moveTo>
                    <a:pt x="59" y="7"/>
                  </a:moveTo>
                  <a:lnTo>
                    <a:pt x="59" y="7"/>
                  </a:lnTo>
                  <a:lnTo>
                    <a:pt x="61" y="7"/>
                  </a:lnTo>
                  <a:lnTo>
                    <a:pt x="61" y="10"/>
                  </a:lnTo>
                  <a:lnTo>
                    <a:pt x="59" y="10"/>
                  </a:lnTo>
                  <a:lnTo>
                    <a:pt x="59" y="7"/>
                  </a:lnTo>
                  <a:close/>
                  <a:moveTo>
                    <a:pt x="59" y="7"/>
                  </a:move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close/>
                  <a:moveTo>
                    <a:pt x="59" y="22"/>
                  </a:moveTo>
                  <a:lnTo>
                    <a:pt x="59" y="22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22"/>
                  </a:lnTo>
                  <a:lnTo>
                    <a:pt x="59" y="22"/>
                  </a:lnTo>
                  <a:close/>
                  <a:moveTo>
                    <a:pt x="59" y="22"/>
                  </a:move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close/>
                  <a:moveTo>
                    <a:pt x="59" y="22"/>
                  </a:move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close/>
                  <a:moveTo>
                    <a:pt x="59" y="22"/>
                  </a:move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close/>
                  <a:moveTo>
                    <a:pt x="59" y="17"/>
                  </a:moveTo>
                  <a:lnTo>
                    <a:pt x="59" y="17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17"/>
                  </a:lnTo>
                  <a:lnTo>
                    <a:pt x="59" y="17"/>
                  </a:lnTo>
                  <a:close/>
                  <a:moveTo>
                    <a:pt x="59" y="17"/>
                  </a:move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9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6" y="19"/>
                  </a:lnTo>
                  <a:close/>
                  <a:moveTo>
                    <a:pt x="56" y="19"/>
                  </a:move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close/>
                  <a:moveTo>
                    <a:pt x="54" y="19"/>
                  </a:moveTo>
                  <a:lnTo>
                    <a:pt x="54" y="17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4" y="19"/>
                  </a:lnTo>
                  <a:lnTo>
                    <a:pt x="54" y="19"/>
                  </a:lnTo>
                  <a:close/>
                  <a:moveTo>
                    <a:pt x="54" y="19"/>
                  </a:moveTo>
                  <a:lnTo>
                    <a:pt x="54" y="19"/>
                  </a:lnTo>
                  <a:lnTo>
                    <a:pt x="54" y="19"/>
                  </a:lnTo>
                  <a:close/>
                  <a:moveTo>
                    <a:pt x="52" y="17"/>
                  </a:move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52" y="17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52" y="17"/>
                  </a:move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close/>
                  <a:moveTo>
                    <a:pt x="52" y="12"/>
                  </a:move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close/>
                  <a:moveTo>
                    <a:pt x="54" y="10"/>
                  </a:move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close/>
                  <a:moveTo>
                    <a:pt x="54" y="10"/>
                  </a:move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close/>
                  <a:moveTo>
                    <a:pt x="54" y="10"/>
                  </a:move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close/>
                  <a:moveTo>
                    <a:pt x="56" y="10"/>
                  </a:moveTo>
                  <a:lnTo>
                    <a:pt x="56" y="12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6" y="10"/>
                  </a:lnTo>
                  <a:close/>
                  <a:moveTo>
                    <a:pt x="56" y="10"/>
                  </a:move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0"/>
                  </a:moveTo>
                  <a:lnTo>
                    <a:pt x="56" y="10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close/>
                  <a:moveTo>
                    <a:pt x="56" y="10"/>
                  </a:move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close/>
                  <a:moveTo>
                    <a:pt x="54" y="12"/>
                  </a:moveTo>
                  <a:lnTo>
                    <a:pt x="54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4" y="12"/>
                  </a:lnTo>
                  <a:close/>
                  <a:moveTo>
                    <a:pt x="54" y="12"/>
                  </a:move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close/>
                  <a:moveTo>
                    <a:pt x="54" y="12"/>
                  </a:move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close/>
                  <a:moveTo>
                    <a:pt x="54" y="12"/>
                  </a:move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close/>
                  <a:moveTo>
                    <a:pt x="54" y="12"/>
                  </a:move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close/>
                  <a:moveTo>
                    <a:pt x="52" y="12"/>
                  </a:move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close/>
                  <a:moveTo>
                    <a:pt x="54" y="17"/>
                  </a:move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  <a:moveTo>
                    <a:pt x="54" y="17"/>
                  </a:move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  <a:moveTo>
                    <a:pt x="54" y="17"/>
                  </a:move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close/>
                  <a:moveTo>
                    <a:pt x="59" y="15"/>
                  </a:move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close/>
                  <a:moveTo>
                    <a:pt x="59" y="15"/>
                  </a:move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close/>
                  <a:moveTo>
                    <a:pt x="59" y="7"/>
                  </a:moveTo>
                  <a:lnTo>
                    <a:pt x="59" y="7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7"/>
                  </a:lnTo>
                  <a:lnTo>
                    <a:pt x="59" y="7"/>
                  </a:lnTo>
                  <a:close/>
                  <a:moveTo>
                    <a:pt x="59" y="7"/>
                  </a:move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close/>
                  <a:moveTo>
                    <a:pt x="49" y="7"/>
                  </a:moveTo>
                  <a:lnTo>
                    <a:pt x="49" y="7"/>
                  </a:lnTo>
                  <a:lnTo>
                    <a:pt x="59" y="7"/>
                  </a:lnTo>
                  <a:lnTo>
                    <a:pt x="59" y="10"/>
                  </a:lnTo>
                  <a:lnTo>
                    <a:pt x="49" y="10"/>
                  </a:lnTo>
                  <a:lnTo>
                    <a:pt x="49" y="7"/>
                  </a:lnTo>
                  <a:close/>
                  <a:moveTo>
                    <a:pt x="49" y="7"/>
                  </a:moveTo>
                  <a:lnTo>
                    <a:pt x="49" y="7"/>
                  </a:lnTo>
                  <a:lnTo>
                    <a:pt x="49" y="7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7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9" y="7"/>
                  </a:lnTo>
                  <a:lnTo>
                    <a:pt x="49" y="10"/>
                  </a:lnTo>
                  <a:lnTo>
                    <a:pt x="47" y="10"/>
                  </a:lnTo>
                  <a:lnTo>
                    <a:pt x="47" y="7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7" y="15"/>
                  </a:moveTo>
                  <a:lnTo>
                    <a:pt x="47" y="15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15"/>
                  </a:lnTo>
                  <a:lnTo>
                    <a:pt x="47" y="15"/>
                  </a:lnTo>
                  <a:close/>
                  <a:moveTo>
                    <a:pt x="47" y="15"/>
                  </a:move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close/>
                  <a:moveTo>
                    <a:pt x="40" y="15"/>
                  </a:moveTo>
                  <a:lnTo>
                    <a:pt x="42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2" y="15"/>
                  </a:lnTo>
                  <a:lnTo>
                    <a:pt x="40" y="15"/>
                  </a:lnTo>
                  <a:close/>
                  <a:moveTo>
                    <a:pt x="40" y="15"/>
                  </a:moveTo>
                  <a:lnTo>
                    <a:pt x="40" y="15"/>
                  </a:lnTo>
                  <a:lnTo>
                    <a:pt x="42" y="15"/>
                  </a:lnTo>
                  <a:lnTo>
                    <a:pt x="40" y="15"/>
                  </a:lnTo>
                  <a:close/>
                  <a:moveTo>
                    <a:pt x="40" y="17"/>
                  </a:moveTo>
                  <a:lnTo>
                    <a:pt x="40" y="17"/>
                  </a:lnTo>
                  <a:lnTo>
                    <a:pt x="40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0" y="17"/>
                  </a:lnTo>
                  <a:close/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17"/>
                  </a:lnTo>
                  <a:close/>
                  <a:moveTo>
                    <a:pt x="42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42" y="17"/>
                  </a:move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close/>
                  <a:moveTo>
                    <a:pt x="40" y="17"/>
                  </a:moveTo>
                  <a:lnTo>
                    <a:pt x="4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17"/>
                  </a:lnTo>
                  <a:close/>
                  <a:moveTo>
                    <a:pt x="42" y="17"/>
                  </a:moveTo>
                  <a:lnTo>
                    <a:pt x="42" y="17"/>
                  </a:lnTo>
                  <a:lnTo>
                    <a:pt x="40" y="17"/>
                  </a:lnTo>
                  <a:lnTo>
                    <a:pt x="42" y="17"/>
                  </a:lnTo>
                  <a:close/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close/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close/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close/>
                  <a:moveTo>
                    <a:pt x="40" y="17"/>
                  </a:moveTo>
                  <a:lnTo>
                    <a:pt x="40" y="17"/>
                  </a:lnTo>
                  <a:close/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close/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close/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close/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close/>
                  <a:moveTo>
                    <a:pt x="37" y="12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2"/>
                  </a:lnTo>
                  <a:close/>
                  <a:moveTo>
                    <a:pt x="37" y="15"/>
                  </a:moveTo>
                  <a:lnTo>
                    <a:pt x="37" y="15"/>
                  </a:lnTo>
                  <a:lnTo>
                    <a:pt x="37" y="12"/>
                  </a:lnTo>
                  <a:lnTo>
                    <a:pt x="37" y="15"/>
                  </a:lnTo>
                  <a:close/>
                  <a:moveTo>
                    <a:pt x="37" y="12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37" y="12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40" y="12"/>
                  </a:moveTo>
                  <a:lnTo>
                    <a:pt x="40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40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40" y="12"/>
                  </a:lnTo>
                  <a:lnTo>
                    <a:pt x="37" y="12"/>
                  </a:lnTo>
                  <a:close/>
                  <a:moveTo>
                    <a:pt x="40" y="12"/>
                  </a:moveTo>
                  <a:lnTo>
                    <a:pt x="40" y="15"/>
                  </a:lnTo>
                  <a:lnTo>
                    <a:pt x="40" y="15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40" y="12"/>
                  </a:moveTo>
                  <a:lnTo>
                    <a:pt x="40" y="15"/>
                  </a:lnTo>
                  <a:lnTo>
                    <a:pt x="40" y="15"/>
                  </a:lnTo>
                  <a:lnTo>
                    <a:pt x="40" y="12"/>
                  </a:lnTo>
                  <a:close/>
                  <a:moveTo>
                    <a:pt x="40" y="7"/>
                  </a:moveTo>
                  <a:lnTo>
                    <a:pt x="40" y="7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7"/>
                  </a:lnTo>
                  <a:lnTo>
                    <a:pt x="40" y="7"/>
                  </a:lnTo>
                  <a:close/>
                  <a:moveTo>
                    <a:pt x="40" y="7"/>
                  </a:move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40" y="7"/>
                  </a:lnTo>
                  <a:lnTo>
                    <a:pt x="40" y="10"/>
                  </a:lnTo>
                  <a:lnTo>
                    <a:pt x="37" y="10"/>
                  </a:lnTo>
                  <a:lnTo>
                    <a:pt x="37" y="7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37" y="7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7"/>
                  </a:lnTo>
                  <a:close/>
                  <a:moveTo>
                    <a:pt x="35" y="7"/>
                  </a:moveTo>
                  <a:lnTo>
                    <a:pt x="35" y="7"/>
                  </a:lnTo>
                  <a:lnTo>
                    <a:pt x="37" y="7"/>
                  </a:lnTo>
                  <a:lnTo>
                    <a:pt x="37" y="10"/>
                  </a:lnTo>
                  <a:lnTo>
                    <a:pt x="35" y="10"/>
                  </a:lnTo>
                  <a:lnTo>
                    <a:pt x="35" y="7"/>
                  </a:lnTo>
                  <a:close/>
                  <a:moveTo>
                    <a:pt x="35" y="7"/>
                  </a:move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close/>
                  <a:moveTo>
                    <a:pt x="35" y="22"/>
                  </a:moveTo>
                  <a:lnTo>
                    <a:pt x="35" y="22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22"/>
                  </a:lnTo>
                  <a:lnTo>
                    <a:pt x="35" y="22"/>
                  </a:lnTo>
                  <a:close/>
                  <a:moveTo>
                    <a:pt x="35" y="22"/>
                  </a:move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close/>
                  <a:moveTo>
                    <a:pt x="33" y="22"/>
                  </a:moveTo>
                  <a:lnTo>
                    <a:pt x="33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3" y="22"/>
                  </a:lnTo>
                  <a:lnTo>
                    <a:pt x="33" y="22"/>
                  </a:lnTo>
                  <a:close/>
                  <a:moveTo>
                    <a:pt x="33" y="22"/>
                  </a:move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17"/>
                  </a:lnTo>
                  <a:lnTo>
                    <a:pt x="33" y="17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close/>
                  <a:moveTo>
                    <a:pt x="30" y="19"/>
                  </a:move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26" y="17"/>
                  </a:move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close/>
                  <a:moveTo>
                    <a:pt x="26" y="12"/>
                  </a:move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6" y="12"/>
                  </a:lnTo>
                  <a:close/>
                  <a:moveTo>
                    <a:pt x="23" y="12"/>
                  </a:moveTo>
                  <a:lnTo>
                    <a:pt x="23" y="12"/>
                  </a:lnTo>
                  <a:lnTo>
                    <a:pt x="26" y="12"/>
                  </a:lnTo>
                  <a:lnTo>
                    <a:pt x="23" y="12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2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close/>
                  <a:moveTo>
                    <a:pt x="28" y="12"/>
                  </a:move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close/>
                  <a:moveTo>
                    <a:pt x="28" y="12"/>
                  </a:moveTo>
                  <a:lnTo>
                    <a:pt x="28" y="12"/>
                  </a:lnTo>
                  <a:lnTo>
                    <a:pt x="28" y="12"/>
                  </a:lnTo>
                  <a:close/>
                  <a:moveTo>
                    <a:pt x="28" y="12"/>
                  </a:move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close/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close/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close/>
                  <a:moveTo>
                    <a:pt x="26" y="7"/>
                  </a:moveTo>
                  <a:lnTo>
                    <a:pt x="26" y="7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6" y="7"/>
                  </a:lnTo>
                  <a:close/>
                  <a:moveTo>
                    <a:pt x="26" y="7"/>
                  </a:move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close/>
                  <a:moveTo>
                    <a:pt x="23" y="7"/>
                  </a:moveTo>
                  <a:lnTo>
                    <a:pt x="23" y="7"/>
                  </a:lnTo>
                  <a:lnTo>
                    <a:pt x="26" y="7"/>
                  </a:lnTo>
                  <a:lnTo>
                    <a:pt x="26" y="10"/>
                  </a:lnTo>
                  <a:lnTo>
                    <a:pt x="23" y="10"/>
                  </a:lnTo>
                  <a:lnTo>
                    <a:pt x="23" y="7"/>
                  </a:lnTo>
                  <a:close/>
                  <a:moveTo>
                    <a:pt x="23" y="7"/>
                  </a:moveTo>
                  <a:lnTo>
                    <a:pt x="23" y="7"/>
                  </a:lnTo>
                  <a:lnTo>
                    <a:pt x="23" y="7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7"/>
                  </a:lnTo>
                  <a:close/>
                  <a:moveTo>
                    <a:pt x="16" y="7"/>
                  </a:moveTo>
                  <a:lnTo>
                    <a:pt x="16" y="7"/>
                  </a:lnTo>
                  <a:lnTo>
                    <a:pt x="23" y="7"/>
                  </a:lnTo>
                  <a:lnTo>
                    <a:pt x="23" y="10"/>
                  </a:lnTo>
                  <a:lnTo>
                    <a:pt x="16" y="10"/>
                  </a:lnTo>
                  <a:lnTo>
                    <a:pt x="16" y="7"/>
                  </a:lnTo>
                  <a:close/>
                  <a:moveTo>
                    <a:pt x="16" y="7"/>
                  </a:moveTo>
                  <a:lnTo>
                    <a:pt x="16" y="7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7"/>
                  </a:lnTo>
                  <a:close/>
                  <a:moveTo>
                    <a:pt x="14" y="7"/>
                  </a:moveTo>
                  <a:lnTo>
                    <a:pt x="14" y="7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7"/>
                  </a:lnTo>
                  <a:close/>
                  <a:moveTo>
                    <a:pt x="14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close/>
                  <a:moveTo>
                    <a:pt x="106" y="3"/>
                  </a:moveTo>
                  <a:lnTo>
                    <a:pt x="106" y="3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06" y="3"/>
                  </a:lnTo>
                  <a:lnTo>
                    <a:pt x="106" y="3"/>
                  </a:lnTo>
                  <a:close/>
                  <a:moveTo>
                    <a:pt x="106" y="3"/>
                  </a:move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close/>
                  <a:moveTo>
                    <a:pt x="108" y="0"/>
                  </a:moveTo>
                  <a:lnTo>
                    <a:pt x="108" y="0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8" y="0"/>
                  </a:lnTo>
                  <a:lnTo>
                    <a:pt x="108" y="0"/>
                  </a:lnTo>
                  <a:close/>
                  <a:moveTo>
                    <a:pt x="108" y="0"/>
                  </a:move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6" y="7"/>
                  </a:moveTo>
                  <a:lnTo>
                    <a:pt x="116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6" y="7"/>
                  </a:lnTo>
                  <a:lnTo>
                    <a:pt x="116" y="7"/>
                  </a:lnTo>
                  <a:close/>
                  <a:moveTo>
                    <a:pt x="116" y="7"/>
                  </a:move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close/>
                  <a:moveTo>
                    <a:pt x="116" y="10"/>
                  </a:move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10"/>
                  </a:lnTo>
                  <a:close/>
                  <a:moveTo>
                    <a:pt x="116" y="7"/>
                  </a:moveTo>
                  <a:lnTo>
                    <a:pt x="116" y="10"/>
                  </a:lnTo>
                  <a:lnTo>
                    <a:pt x="116" y="10"/>
                  </a:lnTo>
                  <a:lnTo>
                    <a:pt x="116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6" y="7"/>
                  </a:lnTo>
                  <a:lnTo>
                    <a:pt x="116" y="10"/>
                  </a:lnTo>
                  <a:lnTo>
                    <a:pt x="113" y="10"/>
                  </a:lnTo>
                  <a:lnTo>
                    <a:pt x="113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3" y="22"/>
                  </a:moveTo>
                  <a:lnTo>
                    <a:pt x="113" y="22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22"/>
                  </a:lnTo>
                  <a:lnTo>
                    <a:pt x="113" y="22"/>
                  </a:lnTo>
                  <a:close/>
                  <a:moveTo>
                    <a:pt x="113" y="22"/>
                  </a:move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close/>
                  <a:moveTo>
                    <a:pt x="111" y="22"/>
                  </a:move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1" y="22"/>
                  </a:lnTo>
                  <a:close/>
                  <a:moveTo>
                    <a:pt x="113" y="22"/>
                  </a:moveTo>
                  <a:lnTo>
                    <a:pt x="111" y="22"/>
                  </a:lnTo>
                  <a:lnTo>
                    <a:pt x="111" y="22"/>
                  </a:lnTo>
                  <a:lnTo>
                    <a:pt x="113" y="22"/>
                  </a:lnTo>
                  <a:close/>
                  <a:moveTo>
                    <a:pt x="113" y="12"/>
                  </a:moveTo>
                  <a:lnTo>
                    <a:pt x="113" y="12"/>
                  </a:lnTo>
                  <a:lnTo>
                    <a:pt x="113" y="22"/>
                  </a:lnTo>
                  <a:lnTo>
                    <a:pt x="111" y="22"/>
                  </a:lnTo>
                  <a:lnTo>
                    <a:pt x="111" y="12"/>
                  </a:lnTo>
                  <a:lnTo>
                    <a:pt x="113" y="12"/>
                  </a:lnTo>
                  <a:close/>
                  <a:moveTo>
                    <a:pt x="113" y="12"/>
                  </a:move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close/>
                  <a:moveTo>
                    <a:pt x="106" y="12"/>
                  </a:moveTo>
                  <a:lnTo>
                    <a:pt x="106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06" y="12"/>
                  </a:lnTo>
                  <a:lnTo>
                    <a:pt x="106" y="12"/>
                  </a:lnTo>
                  <a:close/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close/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close/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5"/>
                  </a:lnTo>
                  <a:lnTo>
                    <a:pt x="106" y="12"/>
                  </a:lnTo>
                  <a:close/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close/>
                  <a:moveTo>
                    <a:pt x="106" y="15"/>
                  </a:moveTo>
                  <a:lnTo>
                    <a:pt x="106" y="15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5"/>
                  </a:lnTo>
                  <a:lnTo>
                    <a:pt x="106" y="15"/>
                  </a:lnTo>
                  <a:close/>
                  <a:moveTo>
                    <a:pt x="106" y="15"/>
                  </a:move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close/>
                  <a:moveTo>
                    <a:pt x="106" y="17"/>
                  </a:move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close/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close/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close/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close/>
                  <a:moveTo>
                    <a:pt x="108" y="19"/>
                  </a:moveTo>
                  <a:lnTo>
                    <a:pt x="111" y="19"/>
                  </a:lnTo>
                  <a:lnTo>
                    <a:pt x="108" y="19"/>
                  </a:lnTo>
                  <a:lnTo>
                    <a:pt x="108" y="19"/>
                  </a:lnTo>
                  <a:close/>
                  <a:moveTo>
                    <a:pt x="108" y="22"/>
                  </a:moveTo>
                  <a:lnTo>
                    <a:pt x="108" y="22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22"/>
                  </a:lnTo>
                  <a:lnTo>
                    <a:pt x="108" y="22"/>
                  </a:lnTo>
                  <a:close/>
                  <a:moveTo>
                    <a:pt x="108" y="22"/>
                  </a:move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close/>
                  <a:moveTo>
                    <a:pt x="108" y="22"/>
                  </a:move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close/>
                  <a:moveTo>
                    <a:pt x="108" y="22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close/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close/>
                  <a:moveTo>
                    <a:pt x="106" y="19"/>
                  </a:moveTo>
                  <a:lnTo>
                    <a:pt x="106" y="19"/>
                  </a:lnTo>
                  <a:lnTo>
                    <a:pt x="108" y="19"/>
                  </a:lnTo>
                  <a:lnTo>
                    <a:pt x="108" y="22"/>
                  </a:lnTo>
                  <a:lnTo>
                    <a:pt x="106" y="19"/>
                  </a:lnTo>
                  <a:lnTo>
                    <a:pt x="106" y="19"/>
                  </a:lnTo>
                  <a:close/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close/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close/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close/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close/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close/>
                  <a:moveTo>
                    <a:pt x="104" y="17"/>
                  </a:moveTo>
                  <a:lnTo>
                    <a:pt x="106" y="17"/>
                  </a:lnTo>
                  <a:lnTo>
                    <a:pt x="106" y="17"/>
                  </a:lnTo>
                  <a:lnTo>
                    <a:pt x="106" y="19"/>
                  </a:lnTo>
                  <a:lnTo>
                    <a:pt x="104" y="17"/>
                  </a:lnTo>
                  <a:lnTo>
                    <a:pt x="104" y="17"/>
                  </a:lnTo>
                  <a:close/>
                  <a:moveTo>
                    <a:pt x="104" y="17"/>
                  </a:move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close/>
                  <a:moveTo>
                    <a:pt x="104" y="17"/>
                  </a:move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close/>
                  <a:moveTo>
                    <a:pt x="104" y="15"/>
                  </a:move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close/>
                  <a:moveTo>
                    <a:pt x="104" y="12"/>
                  </a:move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close/>
                  <a:moveTo>
                    <a:pt x="104" y="12"/>
                  </a:move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close/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close/>
                  <a:moveTo>
                    <a:pt x="106" y="10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close/>
                  <a:moveTo>
                    <a:pt x="113" y="12"/>
                  </a:moveTo>
                  <a:lnTo>
                    <a:pt x="113" y="12"/>
                  </a:lnTo>
                  <a:lnTo>
                    <a:pt x="106" y="12"/>
                  </a:lnTo>
                  <a:lnTo>
                    <a:pt x="106" y="10"/>
                  </a:lnTo>
                  <a:lnTo>
                    <a:pt x="113" y="10"/>
                  </a:lnTo>
                  <a:lnTo>
                    <a:pt x="113" y="12"/>
                  </a:lnTo>
                  <a:close/>
                  <a:moveTo>
                    <a:pt x="113" y="12"/>
                  </a:move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12"/>
                  </a:lnTo>
                  <a:lnTo>
                    <a:pt x="111" y="12"/>
                  </a:lnTo>
                  <a:lnTo>
                    <a:pt x="111" y="7"/>
                  </a:lnTo>
                  <a:lnTo>
                    <a:pt x="113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01" y="7"/>
                  </a:moveTo>
                  <a:lnTo>
                    <a:pt x="101" y="7"/>
                  </a:lnTo>
                  <a:lnTo>
                    <a:pt x="113" y="7"/>
                  </a:lnTo>
                  <a:lnTo>
                    <a:pt x="113" y="10"/>
                  </a:lnTo>
                  <a:lnTo>
                    <a:pt x="101" y="10"/>
                  </a:lnTo>
                  <a:lnTo>
                    <a:pt x="101" y="7"/>
                  </a:lnTo>
                  <a:close/>
                  <a:moveTo>
                    <a:pt x="101" y="7"/>
                  </a:moveTo>
                  <a:lnTo>
                    <a:pt x="101" y="7"/>
                  </a:lnTo>
                  <a:lnTo>
                    <a:pt x="101" y="7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7"/>
                  </a:lnTo>
                  <a:close/>
                  <a:moveTo>
                    <a:pt x="99" y="7"/>
                  </a:moveTo>
                  <a:lnTo>
                    <a:pt x="101" y="7"/>
                  </a:lnTo>
                  <a:lnTo>
                    <a:pt x="101" y="7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99" y="7"/>
                  </a:lnTo>
                  <a:close/>
                  <a:moveTo>
                    <a:pt x="99" y="7"/>
                  </a:moveTo>
                  <a:lnTo>
                    <a:pt x="99" y="7"/>
                  </a:lnTo>
                  <a:lnTo>
                    <a:pt x="101" y="7"/>
                  </a:lnTo>
                  <a:lnTo>
                    <a:pt x="99" y="7"/>
                  </a:lnTo>
                  <a:close/>
                  <a:moveTo>
                    <a:pt x="101" y="22"/>
                  </a:moveTo>
                  <a:lnTo>
                    <a:pt x="99" y="22"/>
                  </a:lnTo>
                  <a:lnTo>
                    <a:pt x="99" y="7"/>
                  </a:lnTo>
                  <a:lnTo>
                    <a:pt x="101" y="7"/>
                  </a:lnTo>
                  <a:lnTo>
                    <a:pt x="101" y="22"/>
                  </a:lnTo>
                  <a:lnTo>
                    <a:pt x="101" y="22"/>
                  </a:lnTo>
                  <a:close/>
                  <a:moveTo>
                    <a:pt x="101" y="22"/>
                  </a:move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close/>
                  <a:moveTo>
                    <a:pt x="99" y="22"/>
                  </a:moveTo>
                  <a:lnTo>
                    <a:pt x="99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99" y="22"/>
                  </a:lnTo>
                  <a:lnTo>
                    <a:pt x="99" y="22"/>
                  </a:lnTo>
                  <a:close/>
                  <a:moveTo>
                    <a:pt x="99" y="22"/>
                  </a:move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close/>
                  <a:moveTo>
                    <a:pt x="99" y="17"/>
                  </a:moveTo>
                  <a:lnTo>
                    <a:pt x="99" y="17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17"/>
                  </a:lnTo>
                  <a:lnTo>
                    <a:pt x="99" y="17"/>
                  </a:lnTo>
                  <a:close/>
                  <a:moveTo>
                    <a:pt x="99" y="17"/>
                  </a:move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close/>
                  <a:moveTo>
                    <a:pt x="97" y="19"/>
                  </a:move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close/>
                  <a:moveTo>
                    <a:pt x="92" y="17"/>
                  </a:move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close/>
                  <a:moveTo>
                    <a:pt x="90" y="12"/>
                  </a:moveTo>
                  <a:lnTo>
                    <a:pt x="90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close/>
                  <a:moveTo>
                    <a:pt x="90" y="12"/>
                  </a:move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close/>
                  <a:moveTo>
                    <a:pt x="90" y="15"/>
                  </a:moveTo>
                  <a:lnTo>
                    <a:pt x="90" y="15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0" y="15"/>
                  </a:lnTo>
                  <a:close/>
                  <a:moveTo>
                    <a:pt x="90" y="15"/>
                  </a:move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0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2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close/>
                  <a:moveTo>
                    <a:pt x="92" y="12"/>
                  </a:move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close/>
                  <a:moveTo>
                    <a:pt x="94" y="12"/>
                  </a:moveTo>
                  <a:lnTo>
                    <a:pt x="94" y="12"/>
                  </a:lnTo>
                  <a:lnTo>
                    <a:pt x="94" y="12"/>
                  </a:lnTo>
                  <a:close/>
                  <a:moveTo>
                    <a:pt x="94" y="12"/>
                  </a:move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close/>
                  <a:moveTo>
                    <a:pt x="92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close/>
                  <a:moveTo>
                    <a:pt x="92" y="7"/>
                  </a:moveTo>
                  <a:lnTo>
                    <a:pt x="92" y="7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7"/>
                  </a:lnTo>
                  <a:close/>
                  <a:moveTo>
                    <a:pt x="92" y="7"/>
                  </a:move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2" y="7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0" y="7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7"/>
                  </a:lnTo>
                  <a:close/>
                  <a:moveTo>
                    <a:pt x="87" y="7"/>
                  </a:moveTo>
                  <a:lnTo>
                    <a:pt x="87" y="7"/>
                  </a:lnTo>
                  <a:lnTo>
                    <a:pt x="90" y="7"/>
                  </a:lnTo>
                  <a:lnTo>
                    <a:pt x="90" y="10"/>
                  </a:lnTo>
                  <a:lnTo>
                    <a:pt x="87" y="10"/>
                  </a:lnTo>
                  <a:lnTo>
                    <a:pt x="87" y="7"/>
                  </a:lnTo>
                  <a:close/>
                  <a:moveTo>
                    <a:pt x="87" y="7"/>
                  </a:move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close/>
                  <a:moveTo>
                    <a:pt x="87" y="22"/>
                  </a:moveTo>
                  <a:lnTo>
                    <a:pt x="87" y="22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22"/>
                  </a:lnTo>
                  <a:lnTo>
                    <a:pt x="87" y="22"/>
                  </a:lnTo>
                  <a:close/>
                  <a:moveTo>
                    <a:pt x="87" y="22"/>
                  </a:move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close/>
                  <a:moveTo>
                    <a:pt x="85" y="22"/>
                  </a:moveTo>
                  <a:lnTo>
                    <a:pt x="85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5" y="22"/>
                  </a:lnTo>
                  <a:lnTo>
                    <a:pt x="85" y="22"/>
                  </a:lnTo>
                  <a:close/>
                  <a:moveTo>
                    <a:pt x="85" y="22"/>
                  </a:move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close/>
                  <a:moveTo>
                    <a:pt x="85" y="12"/>
                  </a:moveTo>
                  <a:lnTo>
                    <a:pt x="85" y="1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12"/>
                  </a:lnTo>
                  <a:lnTo>
                    <a:pt x="85" y="12"/>
                  </a:lnTo>
                  <a:close/>
                  <a:moveTo>
                    <a:pt x="85" y="12"/>
                  </a:move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close/>
                  <a:moveTo>
                    <a:pt x="80" y="12"/>
                  </a:moveTo>
                  <a:lnTo>
                    <a:pt x="80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0" y="12"/>
                  </a:lnTo>
                  <a:lnTo>
                    <a:pt x="80" y="12"/>
                  </a:lnTo>
                  <a:close/>
                  <a:moveTo>
                    <a:pt x="80" y="12"/>
                  </a:move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close/>
                  <a:moveTo>
                    <a:pt x="82" y="12"/>
                  </a:move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close/>
                  <a:moveTo>
                    <a:pt x="82" y="15"/>
                  </a:moveTo>
                  <a:lnTo>
                    <a:pt x="82" y="15"/>
                  </a:lnTo>
                  <a:lnTo>
                    <a:pt x="80" y="15"/>
                  </a:lnTo>
                  <a:lnTo>
                    <a:pt x="82" y="12"/>
                  </a:lnTo>
                  <a:lnTo>
                    <a:pt x="82" y="15"/>
                  </a:lnTo>
                  <a:lnTo>
                    <a:pt x="82" y="15"/>
                  </a:lnTo>
                  <a:close/>
                  <a:moveTo>
                    <a:pt x="82" y="15"/>
                  </a:move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close/>
                  <a:moveTo>
                    <a:pt x="82" y="15"/>
                  </a:move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close/>
                  <a:moveTo>
                    <a:pt x="82" y="15"/>
                  </a:move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close/>
                  <a:moveTo>
                    <a:pt x="82" y="17"/>
                  </a:moveTo>
                  <a:lnTo>
                    <a:pt x="82" y="17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2" y="17"/>
                  </a:lnTo>
                  <a:close/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close/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close/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close/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close/>
                  <a:moveTo>
                    <a:pt x="80" y="19"/>
                  </a:move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close/>
                  <a:moveTo>
                    <a:pt x="80" y="19"/>
                  </a:moveTo>
                  <a:lnTo>
                    <a:pt x="80" y="19"/>
                  </a:lnTo>
                  <a:lnTo>
                    <a:pt x="80" y="19"/>
                  </a:lnTo>
                  <a:close/>
                  <a:moveTo>
                    <a:pt x="80" y="19"/>
                  </a:move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close/>
                  <a:moveTo>
                    <a:pt x="75" y="17"/>
                  </a:move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close/>
                  <a:moveTo>
                    <a:pt x="75" y="17"/>
                  </a:move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close/>
                  <a:moveTo>
                    <a:pt x="73" y="15"/>
                  </a:move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close/>
                  <a:moveTo>
                    <a:pt x="73" y="15"/>
                  </a:move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2"/>
                  </a:lnTo>
                  <a:lnTo>
                    <a:pt x="73" y="12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close/>
                  <a:moveTo>
                    <a:pt x="75" y="12"/>
                  </a:moveTo>
                  <a:lnTo>
                    <a:pt x="75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5" y="12"/>
                  </a:lnTo>
                  <a:close/>
                  <a:moveTo>
                    <a:pt x="73" y="10"/>
                  </a:moveTo>
                  <a:lnTo>
                    <a:pt x="75" y="10"/>
                  </a:lnTo>
                  <a:lnTo>
                    <a:pt x="75" y="12"/>
                  </a:lnTo>
                  <a:lnTo>
                    <a:pt x="73" y="10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3" y="12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3" y="12"/>
                  </a:lnTo>
                  <a:close/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close/>
                  <a:moveTo>
                    <a:pt x="75" y="12"/>
                  </a:move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close/>
                  <a:moveTo>
                    <a:pt x="75" y="12"/>
                  </a:move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close/>
                  <a:moveTo>
                    <a:pt x="78" y="17"/>
                  </a:move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close/>
                  <a:moveTo>
                    <a:pt x="80" y="17"/>
                  </a:move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close/>
                  <a:moveTo>
                    <a:pt x="80" y="17"/>
                  </a:move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close/>
                  <a:moveTo>
                    <a:pt x="80" y="17"/>
                  </a:move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close/>
                  <a:moveTo>
                    <a:pt x="80" y="15"/>
                  </a:move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close/>
                  <a:moveTo>
                    <a:pt x="80" y="15"/>
                  </a:move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close/>
                  <a:moveTo>
                    <a:pt x="80" y="15"/>
                  </a:move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close/>
                  <a:moveTo>
                    <a:pt x="80" y="12"/>
                  </a:moveTo>
                  <a:lnTo>
                    <a:pt x="80" y="12"/>
                  </a:lnTo>
                  <a:lnTo>
                    <a:pt x="80" y="12"/>
                  </a:lnTo>
                  <a:lnTo>
                    <a:pt x="80" y="15"/>
                  </a:lnTo>
                  <a:lnTo>
                    <a:pt x="80" y="12"/>
                  </a:lnTo>
                  <a:lnTo>
                    <a:pt x="80" y="12"/>
                  </a:lnTo>
                  <a:close/>
                  <a:moveTo>
                    <a:pt x="80" y="12"/>
                  </a:moveTo>
                  <a:lnTo>
                    <a:pt x="80" y="12"/>
                  </a:lnTo>
                  <a:lnTo>
                    <a:pt x="80" y="12"/>
                  </a:lnTo>
                  <a:close/>
                  <a:moveTo>
                    <a:pt x="78" y="12"/>
                  </a:moveTo>
                  <a:lnTo>
                    <a:pt x="78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close/>
                  <a:moveTo>
                    <a:pt x="78" y="12"/>
                  </a:move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close/>
                  <a:moveTo>
                    <a:pt x="85" y="12"/>
                  </a:moveTo>
                  <a:lnTo>
                    <a:pt x="85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5" y="12"/>
                  </a:lnTo>
                  <a:lnTo>
                    <a:pt x="85" y="12"/>
                  </a:lnTo>
                  <a:close/>
                  <a:moveTo>
                    <a:pt x="85" y="12"/>
                  </a:move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close/>
                  <a:moveTo>
                    <a:pt x="85" y="7"/>
                  </a:moveTo>
                  <a:lnTo>
                    <a:pt x="85" y="7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7"/>
                  </a:lnTo>
                  <a:lnTo>
                    <a:pt x="85" y="7"/>
                  </a:lnTo>
                  <a:close/>
                  <a:moveTo>
                    <a:pt x="85" y="7"/>
                  </a:move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close/>
                  <a:moveTo>
                    <a:pt x="71" y="7"/>
                  </a:moveTo>
                  <a:lnTo>
                    <a:pt x="71" y="7"/>
                  </a:lnTo>
                  <a:lnTo>
                    <a:pt x="85" y="7"/>
                  </a:lnTo>
                  <a:lnTo>
                    <a:pt x="85" y="10"/>
                  </a:lnTo>
                  <a:lnTo>
                    <a:pt x="71" y="10"/>
                  </a:lnTo>
                  <a:lnTo>
                    <a:pt x="71" y="7"/>
                  </a:lnTo>
                  <a:close/>
                  <a:moveTo>
                    <a:pt x="71" y="10"/>
                  </a:moveTo>
                  <a:lnTo>
                    <a:pt x="71" y="10"/>
                  </a:lnTo>
                  <a:lnTo>
                    <a:pt x="71" y="7"/>
                  </a:lnTo>
                  <a:lnTo>
                    <a:pt x="71" y="10"/>
                  </a:lnTo>
                  <a:close/>
                  <a:moveTo>
                    <a:pt x="71" y="7"/>
                  </a:move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close/>
                  <a:moveTo>
                    <a:pt x="71" y="7"/>
                  </a:move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90" y="7"/>
                  </a:lnTo>
                  <a:lnTo>
                    <a:pt x="90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close/>
                  <a:moveTo>
                    <a:pt x="101" y="7"/>
                  </a:moveTo>
                  <a:lnTo>
                    <a:pt x="10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101" y="7"/>
                  </a:lnTo>
                  <a:lnTo>
                    <a:pt x="101" y="7"/>
                  </a:lnTo>
                  <a:close/>
                  <a:moveTo>
                    <a:pt x="101" y="7"/>
                  </a:move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94" y="10"/>
                  </a:moveTo>
                  <a:lnTo>
                    <a:pt x="94" y="7"/>
                  </a:lnTo>
                  <a:lnTo>
                    <a:pt x="99" y="7"/>
                  </a:lnTo>
                  <a:lnTo>
                    <a:pt x="99" y="10"/>
                  </a:lnTo>
                  <a:lnTo>
                    <a:pt x="94" y="10"/>
                  </a:lnTo>
                  <a:lnTo>
                    <a:pt x="94" y="10"/>
                  </a:lnTo>
                  <a:close/>
                  <a:moveTo>
                    <a:pt x="94" y="10"/>
                  </a:moveTo>
                  <a:lnTo>
                    <a:pt x="94" y="7"/>
                  </a:lnTo>
                  <a:lnTo>
                    <a:pt x="94" y="7"/>
                  </a:lnTo>
                  <a:lnTo>
                    <a:pt x="94" y="10"/>
                  </a:lnTo>
                  <a:close/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7"/>
                  </a:lnTo>
                  <a:lnTo>
                    <a:pt x="94" y="10"/>
                  </a:lnTo>
                  <a:lnTo>
                    <a:pt x="94" y="10"/>
                  </a:lnTo>
                  <a:close/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close/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close/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close/>
                  <a:moveTo>
                    <a:pt x="97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7" y="10"/>
                  </a:lnTo>
                  <a:lnTo>
                    <a:pt x="97" y="10"/>
                  </a:lnTo>
                  <a:close/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lnTo>
                    <a:pt x="97" y="10"/>
                  </a:lnTo>
                  <a:close/>
                  <a:moveTo>
                    <a:pt x="97" y="12"/>
                  </a:moveTo>
                  <a:lnTo>
                    <a:pt x="94" y="12"/>
                  </a:lnTo>
                  <a:lnTo>
                    <a:pt x="94" y="10"/>
                  </a:lnTo>
                  <a:lnTo>
                    <a:pt x="97" y="10"/>
                  </a:lnTo>
                  <a:lnTo>
                    <a:pt x="97" y="12"/>
                  </a:lnTo>
                  <a:lnTo>
                    <a:pt x="97" y="12"/>
                  </a:lnTo>
                  <a:close/>
                  <a:moveTo>
                    <a:pt x="97" y="12"/>
                  </a:move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close/>
                  <a:moveTo>
                    <a:pt x="94" y="15"/>
                  </a:move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close/>
                  <a:moveTo>
                    <a:pt x="94" y="15"/>
                  </a:move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close/>
                  <a:moveTo>
                    <a:pt x="94" y="15"/>
                  </a:moveTo>
                  <a:lnTo>
                    <a:pt x="92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close/>
                  <a:moveTo>
                    <a:pt x="94" y="15"/>
                  </a:move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close/>
                  <a:moveTo>
                    <a:pt x="97" y="17"/>
                  </a:moveTo>
                  <a:lnTo>
                    <a:pt x="97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7" y="17"/>
                  </a:lnTo>
                  <a:close/>
                  <a:moveTo>
                    <a:pt x="97" y="17"/>
                  </a:move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close/>
                  <a:moveTo>
                    <a:pt x="97" y="17"/>
                  </a:moveTo>
                  <a:lnTo>
                    <a:pt x="97" y="17"/>
                  </a:lnTo>
                  <a:close/>
                  <a:moveTo>
                    <a:pt x="99" y="15"/>
                  </a:move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close/>
                  <a:moveTo>
                    <a:pt x="99" y="17"/>
                  </a:move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close/>
                  <a:moveTo>
                    <a:pt x="99" y="15"/>
                  </a:moveTo>
                  <a:lnTo>
                    <a:pt x="99" y="15"/>
                  </a:lnTo>
                  <a:lnTo>
                    <a:pt x="99" y="17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close/>
                  <a:moveTo>
                    <a:pt x="99" y="15"/>
                  </a:move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close/>
                  <a:moveTo>
                    <a:pt x="99" y="7"/>
                  </a:moveTo>
                  <a:lnTo>
                    <a:pt x="99" y="7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7"/>
                  </a:lnTo>
                  <a:lnTo>
                    <a:pt x="99" y="7"/>
                  </a:lnTo>
                  <a:close/>
                  <a:moveTo>
                    <a:pt x="99" y="7"/>
                  </a:move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close/>
                  <a:moveTo>
                    <a:pt x="40" y="7"/>
                  </a:moveTo>
                  <a:lnTo>
                    <a:pt x="42" y="7"/>
                  </a:lnTo>
                  <a:lnTo>
                    <a:pt x="47" y="7"/>
                  </a:lnTo>
                  <a:lnTo>
                    <a:pt x="47" y="10"/>
                  </a:lnTo>
                  <a:lnTo>
                    <a:pt x="42" y="10"/>
                  </a:lnTo>
                  <a:lnTo>
                    <a:pt x="40" y="7"/>
                  </a:lnTo>
                  <a:close/>
                  <a:moveTo>
                    <a:pt x="40" y="7"/>
                  </a:moveTo>
                  <a:lnTo>
                    <a:pt x="40" y="7"/>
                  </a:lnTo>
                  <a:lnTo>
                    <a:pt x="42" y="7"/>
                  </a:lnTo>
                  <a:lnTo>
                    <a:pt x="40" y="7"/>
                  </a:lnTo>
                  <a:close/>
                  <a:moveTo>
                    <a:pt x="42" y="15"/>
                  </a:moveTo>
                  <a:lnTo>
                    <a:pt x="40" y="12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2" y="12"/>
                  </a:lnTo>
                  <a:lnTo>
                    <a:pt x="42" y="15"/>
                  </a:lnTo>
                  <a:close/>
                  <a:moveTo>
                    <a:pt x="42" y="15"/>
                  </a:moveTo>
                  <a:lnTo>
                    <a:pt x="40" y="15"/>
                  </a:lnTo>
                  <a:lnTo>
                    <a:pt x="40" y="12"/>
                  </a:lnTo>
                  <a:lnTo>
                    <a:pt x="42" y="15"/>
                  </a:lnTo>
                  <a:close/>
                  <a:moveTo>
                    <a:pt x="47" y="12"/>
                  </a:moveTo>
                  <a:lnTo>
                    <a:pt x="47" y="15"/>
                  </a:lnTo>
                  <a:lnTo>
                    <a:pt x="42" y="15"/>
                  </a:lnTo>
                  <a:lnTo>
                    <a:pt x="42" y="12"/>
                  </a:lnTo>
                  <a:lnTo>
                    <a:pt x="47" y="12"/>
                  </a:lnTo>
                  <a:lnTo>
                    <a:pt x="47" y="12"/>
                  </a:lnTo>
                  <a:close/>
                  <a:moveTo>
                    <a:pt x="47" y="12"/>
                  </a:moveTo>
                  <a:lnTo>
                    <a:pt x="47" y="15"/>
                  </a:lnTo>
                  <a:lnTo>
                    <a:pt x="47" y="15"/>
                  </a:lnTo>
                  <a:lnTo>
                    <a:pt x="47" y="12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7"/>
                  </a:lnTo>
                  <a:lnTo>
                    <a:pt x="47" y="7"/>
                  </a:lnTo>
                  <a:close/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close/>
                  <a:moveTo>
                    <a:pt x="28" y="10"/>
                  </a:moveTo>
                  <a:lnTo>
                    <a:pt x="28" y="7"/>
                  </a:lnTo>
                  <a:lnTo>
                    <a:pt x="33" y="7"/>
                  </a:lnTo>
                  <a:lnTo>
                    <a:pt x="33" y="10"/>
                  </a:lnTo>
                  <a:lnTo>
                    <a:pt x="28" y="10"/>
                  </a:lnTo>
                  <a:lnTo>
                    <a:pt x="28" y="10"/>
                  </a:lnTo>
                  <a:close/>
                  <a:moveTo>
                    <a:pt x="28" y="10"/>
                  </a:moveTo>
                  <a:lnTo>
                    <a:pt x="28" y="7"/>
                  </a:lnTo>
                  <a:lnTo>
                    <a:pt x="28" y="7"/>
                  </a:lnTo>
                  <a:lnTo>
                    <a:pt x="28" y="10"/>
                  </a:lnTo>
                  <a:close/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7"/>
                  </a:lnTo>
                  <a:lnTo>
                    <a:pt x="28" y="10"/>
                  </a:lnTo>
                  <a:lnTo>
                    <a:pt x="28" y="10"/>
                  </a:lnTo>
                  <a:close/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close/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close/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close/>
                  <a:moveTo>
                    <a:pt x="30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0"/>
                  </a:lnTo>
                  <a:lnTo>
                    <a:pt x="30" y="10"/>
                  </a:lnTo>
                  <a:close/>
                  <a:moveTo>
                    <a:pt x="30" y="10"/>
                  </a:move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close/>
                  <a:moveTo>
                    <a:pt x="30" y="12"/>
                  </a:moveTo>
                  <a:lnTo>
                    <a:pt x="28" y="12"/>
                  </a:lnTo>
                  <a:lnTo>
                    <a:pt x="28" y="10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30" y="12"/>
                  </a:lnTo>
                  <a:close/>
                  <a:moveTo>
                    <a:pt x="30" y="12"/>
                  </a:move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close/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close/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close/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close/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close/>
                  <a:moveTo>
                    <a:pt x="28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8" y="15"/>
                  </a:lnTo>
                  <a:close/>
                  <a:moveTo>
                    <a:pt x="30" y="17"/>
                  </a:move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close/>
                  <a:moveTo>
                    <a:pt x="30" y="17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close/>
                  <a:moveTo>
                    <a:pt x="30" y="17"/>
                  </a:move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close/>
                  <a:moveTo>
                    <a:pt x="33" y="15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close/>
                  <a:moveTo>
                    <a:pt x="33" y="15"/>
                  </a:moveTo>
                  <a:lnTo>
                    <a:pt x="33" y="15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close/>
                  <a:moveTo>
                    <a:pt x="33" y="15"/>
                  </a:move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close/>
                  <a:moveTo>
                    <a:pt x="33" y="7"/>
                  </a:moveTo>
                  <a:lnTo>
                    <a:pt x="33" y="7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7"/>
                  </a:lnTo>
                  <a:lnTo>
                    <a:pt x="33" y="7"/>
                  </a:lnTo>
                  <a:close/>
                  <a:moveTo>
                    <a:pt x="33" y="7"/>
                  </a:move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close/>
                  <a:moveTo>
                    <a:pt x="19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close/>
                  <a:moveTo>
                    <a:pt x="19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close/>
                  <a:moveTo>
                    <a:pt x="19" y="15"/>
                  </a:move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close/>
                  <a:moveTo>
                    <a:pt x="19" y="17"/>
                  </a:move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9" y="17"/>
                  </a:lnTo>
                  <a:close/>
                  <a:moveTo>
                    <a:pt x="21" y="17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close/>
                  <a:moveTo>
                    <a:pt x="21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close/>
                  <a:moveTo>
                    <a:pt x="21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1" y="19"/>
                  </a:lnTo>
                  <a:close/>
                  <a:moveTo>
                    <a:pt x="21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close/>
                  <a:moveTo>
                    <a:pt x="23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close/>
                  <a:moveTo>
                    <a:pt x="23" y="19"/>
                  </a:move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close/>
                  <a:moveTo>
                    <a:pt x="21" y="22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1" y="22"/>
                  </a:lnTo>
                  <a:lnTo>
                    <a:pt x="21" y="22"/>
                  </a:lnTo>
                  <a:close/>
                  <a:moveTo>
                    <a:pt x="21" y="22"/>
                  </a:move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close/>
                  <a:moveTo>
                    <a:pt x="19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22"/>
                  </a:lnTo>
                  <a:lnTo>
                    <a:pt x="19" y="19"/>
                  </a:lnTo>
                  <a:lnTo>
                    <a:pt x="19" y="19"/>
                  </a:lnTo>
                  <a:close/>
                  <a:moveTo>
                    <a:pt x="19" y="19"/>
                  </a:move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close/>
                  <a:moveTo>
                    <a:pt x="19" y="19"/>
                  </a:moveTo>
                  <a:lnTo>
                    <a:pt x="19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close/>
                  <a:moveTo>
                    <a:pt x="19" y="19"/>
                  </a:move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close/>
                  <a:moveTo>
                    <a:pt x="19" y="17"/>
                  </a:moveTo>
                  <a:lnTo>
                    <a:pt x="19" y="17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7"/>
                  </a:lnTo>
                  <a:lnTo>
                    <a:pt x="19" y="17"/>
                  </a:lnTo>
                  <a:close/>
                  <a:moveTo>
                    <a:pt x="19" y="17"/>
                  </a:move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close/>
                  <a:moveTo>
                    <a:pt x="16" y="15"/>
                  </a:move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close/>
                  <a:moveTo>
                    <a:pt x="16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19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close/>
                  <a:moveTo>
                    <a:pt x="26" y="12"/>
                  </a:moveTo>
                  <a:lnTo>
                    <a:pt x="26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6" y="12"/>
                  </a:lnTo>
                  <a:lnTo>
                    <a:pt x="26" y="12"/>
                  </a:lnTo>
                  <a:close/>
                  <a:moveTo>
                    <a:pt x="26" y="12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close/>
                  <a:moveTo>
                    <a:pt x="26" y="12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close/>
                  <a:moveTo>
                    <a:pt x="26" y="12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close/>
                  <a:moveTo>
                    <a:pt x="21" y="12"/>
                  </a:moveTo>
                  <a:lnTo>
                    <a:pt x="21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1" y="12"/>
                  </a:lnTo>
                  <a:lnTo>
                    <a:pt x="2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10" name="Freeform 10683"/>
            <p:cNvSpPr>
              <a:spLocks noEditPoints="1"/>
            </p:cNvSpPr>
            <p:nvPr/>
          </p:nvSpPr>
          <p:spPr bwMode="auto">
            <a:xfrm>
              <a:off x="9987107" y="3603626"/>
              <a:ext cx="184150" cy="34925"/>
            </a:xfrm>
            <a:custGeom>
              <a:avLst/>
              <a:gdLst>
                <a:gd name="T0" fmla="*/ 7 w 116"/>
                <a:gd name="T1" fmla="*/ 15 h 22"/>
                <a:gd name="T2" fmla="*/ 4 w 116"/>
                <a:gd name="T3" fmla="*/ 15 h 22"/>
                <a:gd name="T4" fmla="*/ 7 w 116"/>
                <a:gd name="T5" fmla="*/ 19 h 22"/>
                <a:gd name="T6" fmla="*/ 2 w 116"/>
                <a:gd name="T7" fmla="*/ 15 h 22"/>
                <a:gd name="T8" fmla="*/ 4 w 116"/>
                <a:gd name="T9" fmla="*/ 15 h 22"/>
                <a:gd name="T10" fmla="*/ 0 w 116"/>
                <a:gd name="T11" fmla="*/ 7 h 22"/>
                <a:gd name="T12" fmla="*/ 61 w 116"/>
                <a:gd name="T13" fmla="*/ 10 h 22"/>
                <a:gd name="T14" fmla="*/ 54 w 116"/>
                <a:gd name="T15" fmla="*/ 17 h 22"/>
                <a:gd name="T16" fmla="*/ 52 w 116"/>
                <a:gd name="T17" fmla="*/ 15 h 22"/>
                <a:gd name="T18" fmla="*/ 52 w 116"/>
                <a:gd name="T19" fmla="*/ 15 h 22"/>
                <a:gd name="T20" fmla="*/ 52 w 116"/>
                <a:gd name="T21" fmla="*/ 12 h 22"/>
                <a:gd name="T22" fmla="*/ 56 w 116"/>
                <a:gd name="T23" fmla="*/ 10 h 22"/>
                <a:gd name="T24" fmla="*/ 54 w 116"/>
                <a:gd name="T25" fmla="*/ 12 h 22"/>
                <a:gd name="T26" fmla="*/ 52 w 116"/>
                <a:gd name="T27" fmla="*/ 15 h 22"/>
                <a:gd name="T28" fmla="*/ 54 w 116"/>
                <a:gd name="T29" fmla="*/ 17 h 22"/>
                <a:gd name="T30" fmla="*/ 56 w 116"/>
                <a:gd name="T31" fmla="*/ 17 h 22"/>
                <a:gd name="T32" fmla="*/ 56 w 116"/>
                <a:gd name="T33" fmla="*/ 17 h 22"/>
                <a:gd name="T34" fmla="*/ 42 w 116"/>
                <a:gd name="T35" fmla="*/ 17 h 22"/>
                <a:gd name="T36" fmla="*/ 40 w 116"/>
                <a:gd name="T37" fmla="*/ 15 h 22"/>
                <a:gd name="T38" fmla="*/ 37 w 116"/>
                <a:gd name="T39" fmla="*/ 15 h 22"/>
                <a:gd name="T40" fmla="*/ 40 w 116"/>
                <a:gd name="T41" fmla="*/ 15 h 22"/>
                <a:gd name="T42" fmla="*/ 33 w 116"/>
                <a:gd name="T43" fmla="*/ 17 h 22"/>
                <a:gd name="T44" fmla="*/ 26 w 116"/>
                <a:gd name="T45" fmla="*/ 15 h 22"/>
                <a:gd name="T46" fmla="*/ 26 w 116"/>
                <a:gd name="T47" fmla="*/ 15 h 22"/>
                <a:gd name="T48" fmla="*/ 28 w 116"/>
                <a:gd name="T49" fmla="*/ 12 h 22"/>
                <a:gd name="T50" fmla="*/ 23 w 116"/>
                <a:gd name="T51" fmla="*/ 7 h 22"/>
                <a:gd name="T52" fmla="*/ 113 w 116"/>
                <a:gd name="T53" fmla="*/ 22 h 22"/>
                <a:gd name="T54" fmla="*/ 106 w 116"/>
                <a:gd name="T55" fmla="*/ 12 h 22"/>
                <a:gd name="T56" fmla="*/ 106 w 116"/>
                <a:gd name="T57" fmla="*/ 17 h 22"/>
                <a:gd name="T58" fmla="*/ 108 w 116"/>
                <a:gd name="T59" fmla="*/ 19 h 22"/>
                <a:gd name="T60" fmla="*/ 108 w 116"/>
                <a:gd name="T61" fmla="*/ 22 h 22"/>
                <a:gd name="T62" fmla="*/ 104 w 116"/>
                <a:gd name="T63" fmla="*/ 17 h 22"/>
                <a:gd name="T64" fmla="*/ 104 w 116"/>
                <a:gd name="T65" fmla="*/ 12 h 22"/>
                <a:gd name="T66" fmla="*/ 104 w 116"/>
                <a:gd name="T67" fmla="*/ 12 h 22"/>
                <a:gd name="T68" fmla="*/ 99 w 116"/>
                <a:gd name="T69" fmla="*/ 7 h 22"/>
                <a:gd name="T70" fmla="*/ 94 w 116"/>
                <a:gd name="T71" fmla="*/ 17 h 22"/>
                <a:gd name="T72" fmla="*/ 90 w 116"/>
                <a:gd name="T73" fmla="*/ 15 h 22"/>
                <a:gd name="T74" fmla="*/ 92 w 116"/>
                <a:gd name="T75" fmla="*/ 15 h 22"/>
                <a:gd name="T76" fmla="*/ 94 w 116"/>
                <a:gd name="T77" fmla="*/ 10 h 22"/>
                <a:gd name="T78" fmla="*/ 87 w 116"/>
                <a:gd name="T79" fmla="*/ 22 h 22"/>
                <a:gd name="T80" fmla="*/ 82 w 116"/>
                <a:gd name="T81" fmla="*/ 15 h 22"/>
                <a:gd name="T82" fmla="*/ 82 w 116"/>
                <a:gd name="T83" fmla="*/ 17 h 22"/>
                <a:gd name="T84" fmla="*/ 80 w 116"/>
                <a:gd name="T85" fmla="*/ 19 h 22"/>
                <a:gd name="T86" fmla="*/ 75 w 116"/>
                <a:gd name="T87" fmla="*/ 19 h 22"/>
                <a:gd name="T88" fmla="*/ 73 w 116"/>
                <a:gd name="T89" fmla="*/ 10 h 22"/>
                <a:gd name="T90" fmla="*/ 78 w 116"/>
                <a:gd name="T91" fmla="*/ 19 h 22"/>
                <a:gd name="T92" fmla="*/ 80 w 116"/>
                <a:gd name="T93" fmla="*/ 17 h 22"/>
                <a:gd name="T94" fmla="*/ 80 w 116"/>
                <a:gd name="T95" fmla="*/ 17 h 22"/>
                <a:gd name="T96" fmla="*/ 80 w 116"/>
                <a:gd name="T97" fmla="*/ 12 h 22"/>
                <a:gd name="T98" fmla="*/ 71 w 116"/>
                <a:gd name="T99" fmla="*/ 7 h 22"/>
                <a:gd name="T100" fmla="*/ 94 w 116"/>
                <a:gd name="T101" fmla="*/ 12 h 22"/>
                <a:gd name="T102" fmla="*/ 94 w 116"/>
                <a:gd name="T103" fmla="*/ 17 h 22"/>
                <a:gd name="T104" fmla="*/ 97 w 116"/>
                <a:gd name="T105" fmla="*/ 17 h 22"/>
                <a:gd name="T106" fmla="*/ 40 w 116"/>
                <a:gd name="T107" fmla="*/ 7 h 22"/>
                <a:gd name="T108" fmla="*/ 28 w 116"/>
                <a:gd name="T109" fmla="*/ 12 h 22"/>
                <a:gd name="T110" fmla="*/ 28 w 116"/>
                <a:gd name="T111" fmla="*/ 17 h 22"/>
                <a:gd name="T112" fmla="*/ 30 w 116"/>
                <a:gd name="T113" fmla="*/ 17 h 22"/>
                <a:gd name="T114" fmla="*/ 19 w 116"/>
                <a:gd name="T115" fmla="*/ 12 h 22"/>
                <a:gd name="T116" fmla="*/ 19 w 116"/>
                <a:gd name="T117" fmla="*/ 12 h 22"/>
                <a:gd name="T118" fmla="*/ 19 w 116"/>
                <a:gd name="T119" fmla="*/ 17 h 22"/>
                <a:gd name="T120" fmla="*/ 21 w 116"/>
                <a:gd name="T121" fmla="*/ 19 h 22"/>
                <a:gd name="T122" fmla="*/ 16 w 116"/>
                <a:gd name="T123" fmla="*/ 15 h 22"/>
                <a:gd name="T124" fmla="*/ 19 w 116"/>
                <a:gd name="T125" fmla="*/ 1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" h="22">
                  <a:moveTo>
                    <a:pt x="14" y="22"/>
                  </a:moveTo>
                  <a:lnTo>
                    <a:pt x="14" y="22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22"/>
                  </a:lnTo>
                  <a:lnTo>
                    <a:pt x="14" y="22"/>
                  </a:lnTo>
                  <a:moveTo>
                    <a:pt x="14" y="22"/>
                  </a:move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moveTo>
                    <a:pt x="11" y="22"/>
                  </a:moveTo>
                  <a:lnTo>
                    <a:pt x="11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1" y="22"/>
                  </a:lnTo>
                  <a:lnTo>
                    <a:pt x="11" y="22"/>
                  </a:lnTo>
                  <a:moveTo>
                    <a:pt x="11" y="22"/>
                  </a:move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moveTo>
                    <a:pt x="11" y="15"/>
                  </a:moveTo>
                  <a:lnTo>
                    <a:pt x="11" y="15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15"/>
                  </a:lnTo>
                  <a:lnTo>
                    <a:pt x="11" y="15"/>
                  </a:lnTo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moveTo>
                    <a:pt x="9" y="15"/>
                  </a:moveTo>
                  <a:lnTo>
                    <a:pt x="9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7" y="12"/>
                  </a:lnTo>
                  <a:lnTo>
                    <a:pt x="7" y="12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moveTo>
                    <a:pt x="11" y="12"/>
                  </a:moveTo>
                  <a:lnTo>
                    <a:pt x="11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11" y="12"/>
                  </a:lnTo>
                  <a:lnTo>
                    <a:pt x="11" y="12"/>
                  </a:lnTo>
                  <a:moveTo>
                    <a:pt x="11" y="12"/>
                  </a:move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moveTo>
                    <a:pt x="11" y="7"/>
                  </a:moveTo>
                  <a:lnTo>
                    <a:pt x="11" y="7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7"/>
                  </a:lnTo>
                  <a:lnTo>
                    <a:pt x="11" y="7"/>
                  </a:lnTo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moveTo>
                    <a:pt x="7" y="7"/>
                  </a:moveTo>
                  <a:lnTo>
                    <a:pt x="7" y="7"/>
                  </a:lnTo>
                  <a:lnTo>
                    <a:pt x="11" y="7"/>
                  </a:lnTo>
                  <a:lnTo>
                    <a:pt x="11" y="10"/>
                  </a:lnTo>
                  <a:lnTo>
                    <a:pt x="7" y="10"/>
                  </a:lnTo>
                  <a:lnTo>
                    <a:pt x="7" y="7"/>
                  </a:lnTo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12"/>
                  </a:lnTo>
                  <a:lnTo>
                    <a:pt x="7" y="12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moveTo>
                    <a:pt x="7" y="15"/>
                  </a:moveTo>
                  <a:lnTo>
                    <a:pt x="7" y="15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5"/>
                  </a:lnTo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2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7"/>
                  </a:moveTo>
                  <a:lnTo>
                    <a:pt x="4" y="17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7" y="17"/>
                  </a:lnTo>
                  <a:lnTo>
                    <a:pt x="4" y="17"/>
                  </a:lnTo>
                  <a:moveTo>
                    <a:pt x="4" y="17"/>
                  </a:move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moveTo>
                    <a:pt x="7" y="19"/>
                  </a:moveTo>
                  <a:lnTo>
                    <a:pt x="7" y="19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9"/>
                  </a:lnTo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9"/>
                  </a:lnTo>
                  <a:lnTo>
                    <a:pt x="7" y="19"/>
                  </a:lnTo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moveTo>
                    <a:pt x="9" y="19"/>
                  </a:moveTo>
                  <a:lnTo>
                    <a:pt x="9" y="19"/>
                  </a:lnTo>
                  <a:lnTo>
                    <a:pt x="7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moveTo>
                    <a:pt x="9" y="19"/>
                  </a:move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moveTo>
                    <a:pt x="7" y="22"/>
                  </a:moveTo>
                  <a:lnTo>
                    <a:pt x="7" y="22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7" y="22"/>
                  </a:lnTo>
                  <a:lnTo>
                    <a:pt x="7" y="22"/>
                  </a:lnTo>
                  <a:moveTo>
                    <a:pt x="7" y="22"/>
                  </a:move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moveTo>
                    <a:pt x="2" y="15"/>
                  </a:moveTo>
                  <a:lnTo>
                    <a:pt x="2" y="15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2" y="15"/>
                  </a:lnTo>
                  <a:lnTo>
                    <a:pt x="2" y="15"/>
                  </a:lnTo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moveTo>
                    <a:pt x="2" y="12"/>
                  </a:moveTo>
                  <a:lnTo>
                    <a:pt x="2" y="12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2"/>
                  </a:lnTo>
                  <a:moveTo>
                    <a:pt x="2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moveTo>
                    <a:pt x="0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2"/>
                  </a:lnTo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moveTo>
                    <a:pt x="2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2"/>
                  </a:lnTo>
                  <a:moveTo>
                    <a:pt x="2" y="12"/>
                  </a:moveTo>
                  <a:lnTo>
                    <a:pt x="2" y="10"/>
                  </a:lnTo>
                  <a:lnTo>
                    <a:pt x="2" y="12"/>
                  </a:lnTo>
                  <a:lnTo>
                    <a:pt x="2" y="12"/>
                  </a:lnTo>
                  <a:moveTo>
                    <a:pt x="2" y="12"/>
                  </a:move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5"/>
                  </a:move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moveTo>
                    <a:pt x="4" y="12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moveTo>
                    <a:pt x="7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7" y="12"/>
                  </a:lnTo>
                  <a:moveTo>
                    <a:pt x="7" y="7"/>
                  </a:moveTo>
                  <a:lnTo>
                    <a:pt x="7" y="7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4" y="7"/>
                  </a:lnTo>
                  <a:lnTo>
                    <a:pt x="7" y="7"/>
                  </a:lnTo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moveTo>
                    <a:pt x="0" y="7"/>
                  </a:moveTo>
                  <a:lnTo>
                    <a:pt x="0" y="7"/>
                  </a:lnTo>
                  <a:lnTo>
                    <a:pt x="7" y="7"/>
                  </a:lnTo>
                  <a:lnTo>
                    <a:pt x="7" y="10"/>
                  </a:lnTo>
                  <a:lnTo>
                    <a:pt x="0" y="10"/>
                  </a:lnTo>
                  <a:lnTo>
                    <a:pt x="0" y="7"/>
                  </a:lnTo>
                  <a:moveTo>
                    <a:pt x="0" y="10"/>
                  </a:moveTo>
                  <a:lnTo>
                    <a:pt x="0" y="10"/>
                  </a:lnTo>
                  <a:lnTo>
                    <a:pt x="0" y="7"/>
                  </a:lnTo>
                  <a:lnTo>
                    <a:pt x="0" y="10"/>
                  </a:lnTo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moveTo>
                    <a:pt x="16" y="7"/>
                  </a:moveTo>
                  <a:lnTo>
                    <a:pt x="16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6" y="7"/>
                  </a:lnTo>
                  <a:lnTo>
                    <a:pt x="16" y="7"/>
                  </a:lnTo>
                  <a:moveTo>
                    <a:pt x="16" y="7"/>
                  </a:move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moveTo>
                    <a:pt x="23" y="7"/>
                  </a:moveTo>
                  <a:lnTo>
                    <a:pt x="23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3" y="7"/>
                  </a:lnTo>
                  <a:moveTo>
                    <a:pt x="23" y="7"/>
                  </a:move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moveTo>
                    <a:pt x="37" y="7"/>
                  </a:moveTo>
                  <a:lnTo>
                    <a:pt x="37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37" y="7"/>
                  </a:lnTo>
                  <a:lnTo>
                    <a:pt x="37" y="7"/>
                  </a:lnTo>
                  <a:moveTo>
                    <a:pt x="37" y="7"/>
                  </a:move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47" y="7"/>
                  </a:lnTo>
                  <a:lnTo>
                    <a:pt x="47" y="7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moveTo>
                    <a:pt x="40" y="3"/>
                  </a:moveTo>
                  <a:lnTo>
                    <a:pt x="40" y="3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0" y="3"/>
                  </a:lnTo>
                  <a:lnTo>
                    <a:pt x="40" y="3"/>
                  </a:lnTo>
                  <a:moveTo>
                    <a:pt x="40" y="3"/>
                  </a:move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moveTo>
                    <a:pt x="42" y="0"/>
                  </a:moveTo>
                  <a:lnTo>
                    <a:pt x="42" y="0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2" y="0"/>
                  </a:lnTo>
                  <a:lnTo>
                    <a:pt x="42" y="0"/>
                  </a:lnTo>
                  <a:moveTo>
                    <a:pt x="42" y="0"/>
                  </a:move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7" y="7"/>
                  </a:lnTo>
                  <a:lnTo>
                    <a:pt x="47" y="7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moveTo>
                    <a:pt x="49" y="7"/>
                  </a:moveTo>
                  <a:lnTo>
                    <a:pt x="49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9" y="7"/>
                  </a:lnTo>
                  <a:lnTo>
                    <a:pt x="49" y="7"/>
                  </a:lnTo>
                  <a:moveTo>
                    <a:pt x="49" y="7"/>
                  </a:move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moveTo>
                    <a:pt x="61" y="7"/>
                  </a:moveTo>
                  <a:lnTo>
                    <a:pt x="61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61" y="7"/>
                  </a:lnTo>
                  <a:lnTo>
                    <a:pt x="61" y="7"/>
                  </a:lnTo>
                  <a:moveTo>
                    <a:pt x="61" y="7"/>
                  </a:move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moveTo>
                    <a:pt x="61" y="10"/>
                  </a:move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10"/>
                  </a:lnTo>
                  <a:moveTo>
                    <a:pt x="61" y="7"/>
                  </a:moveTo>
                  <a:lnTo>
                    <a:pt x="61" y="10"/>
                  </a:lnTo>
                  <a:lnTo>
                    <a:pt x="61" y="10"/>
                  </a:lnTo>
                  <a:lnTo>
                    <a:pt x="61" y="7"/>
                  </a:lnTo>
                  <a:moveTo>
                    <a:pt x="59" y="7"/>
                  </a:moveTo>
                  <a:lnTo>
                    <a:pt x="59" y="7"/>
                  </a:lnTo>
                  <a:lnTo>
                    <a:pt x="61" y="7"/>
                  </a:lnTo>
                  <a:lnTo>
                    <a:pt x="61" y="10"/>
                  </a:lnTo>
                  <a:lnTo>
                    <a:pt x="59" y="10"/>
                  </a:lnTo>
                  <a:lnTo>
                    <a:pt x="59" y="7"/>
                  </a:lnTo>
                  <a:moveTo>
                    <a:pt x="59" y="7"/>
                  </a:move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moveTo>
                    <a:pt x="59" y="22"/>
                  </a:moveTo>
                  <a:lnTo>
                    <a:pt x="59" y="22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22"/>
                  </a:lnTo>
                  <a:lnTo>
                    <a:pt x="59" y="22"/>
                  </a:lnTo>
                  <a:moveTo>
                    <a:pt x="59" y="22"/>
                  </a:move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moveTo>
                    <a:pt x="59" y="22"/>
                  </a:move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moveTo>
                    <a:pt x="59" y="22"/>
                  </a:move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moveTo>
                    <a:pt x="59" y="17"/>
                  </a:moveTo>
                  <a:lnTo>
                    <a:pt x="59" y="17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17"/>
                  </a:lnTo>
                  <a:lnTo>
                    <a:pt x="59" y="17"/>
                  </a:lnTo>
                  <a:moveTo>
                    <a:pt x="59" y="17"/>
                  </a:move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9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6" y="19"/>
                  </a:lnTo>
                  <a:moveTo>
                    <a:pt x="56" y="19"/>
                  </a:move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moveTo>
                    <a:pt x="54" y="19"/>
                  </a:moveTo>
                  <a:lnTo>
                    <a:pt x="54" y="17"/>
                  </a:lnTo>
                  <a:lnTo>
                    <a:pt x="56" y="17"/>
                  </a:lnTo>
                  <a:lnTo>
                    <a:pt x="56" y="19"/>
                  </a:lnTo>
                  <a:lnTo>
                    <a:pt x="54" y="19"/>
                  </a:lnTo>
                  <a:lnTo>
                    <a:pt x="54" y="19"/>
                  </a:lnTo>
                  <a:moveTo>
                    <a:pt x="54" y="19"/>
                  </a:moveTo>
                  <a:lnTo>
                    <a:pt x="54" y="19"/>
                  </a:lnTo>
                  <a:lnTo>
                    <a:pt x="54" y="19"/>
                  </a:lnTo>
                  <a:moveTo>
                    <a:pt x="52" y="17"/>
                  </a:move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moveTo>
                    <a:pt x="52" y="17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moveTo>
                    <a:pt x="52" y="17"/>
                  </a:move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moveTo>
                    <a:pt x="52" y="12"/>
                  </a:move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moveTo>
                    <a:pt x="54" y="10"/>
                  </a:move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moveTo>
                    <a:pt x="54" y="10"/>
                  </a:move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moveTo>
                    <a:pt x="54" y="10"/>
                  </a:move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moveTo>
                    <a:pt x="56" y="10"/>
                  </a:moveTo>
                  <a:lnTo>
                    <a:pt x="56" y="12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6" y="10"/>
                  </a:lnTo>
                  <a:moveTo>
                    <a:pt x="56" y="10"/>
                  </a:move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0"/>
                  </a:moveTo>
                  <a:lnTo>
                    <a:pt x="56" y="10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moveTo>
                    <a:pt x="56" y="10"/>
                  </a:move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6" y="12"/>
                  </a:move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moveTo>
                    <a:pt x="54" y="12"/>
                  </a:moveTo>
                  <a:lnTo>
                    <a:pt x="54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4" y="12"/>
                  </a:lnTo>
                  <a:moveTo>
                    <a:pt x="54" y="12"/>
                  </a:move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moveTo>
                    <a:pt x="54" y="12"/>
                  </a:move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moveTo>
                    <a:pt x="54" y="12"/>
                  </a:move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moveTo>
                    <a:pt x="54" y="12"/>
                  </a:move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moveTo>
                    <a:pt x="52" y="12"/>
                  </a:move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moveTo>
                    <a:pt x="54" y="17"/>
                  </a:move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moveTo>
                    <a:pt x="54" y="17"/>
                  </a:move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moveTo>
                    <a:pt x="54" y="17"/>
                  </a:move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6" y="17"/>
                  </a:move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moveTo>
                    <a:pt x="59" y="15"/>
                  </a:move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moveTo>
                    <a:pt x="59" y="15"/>
                  </a:moveTo>
                  <a:lnTo>
                    <a:pt x="59" y="15"/>
                  </a:lnTo>
                  <a:lnTo>
                    <a:pt x="59" y="15"/>
                  </a:lnTo>
                  <a:lnTo>
                    <a:pt x="59" y="15"/>
                  </a:lnTo>
                  <a:moveTo>
                    <a:pt x="59" y="7"/>
                  </a:moveTo>
                  <a:lnTo>
                    <a:pt x="59" y="7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7"/>
                  </a:lnTo>
                  <a:lnTo>
                    <a:pt x="59" y="7"/>
                  </a:lnTo>
                  <a:moveTo>
                    <a:pt x="59" y="7"/>
                  </a:move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moveTo>
                    <a:pt x="49" y="7"/>
                  </a:moveTo>
                  <a:lnTo>
                    <a:pt x="49" y="7"/>
                  </a:lnTo>
                  <a:lnTo>
                    <a:pt x="59" y="7"/>
                  </a:lnTo>
                  <a:lnTo>
                    <a:pt x="59" y="10"/>
                  </a:lnTo>
                  <a:lnTo>
                    <a:pt x="49" y="10"/>
                  </a:lnTo>
                  <a:lnTo>
                    <a:pt x="49" y="7"/>
                  </a:lnTo>
                  <a:moveTo>
                    <a:pt x="49" y="7"/>
                  </a:moveTo>
                  <a:lnTo>
                    <a:pt x="49" y="7"/>
                  </a:lnTo>
                  <a:lnTo>
                    <a:pt x="49" y="7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7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49" y="7"/>
                  </a:lnTo>
                  <a:lnTo>
                    <a:pt x="49" y="10"/>
                  </a:lnTo>
                  <a:lnTo>
                    <a:pt x="47" y="10"/>
                  </a:lnTo>
                  <a:lnTo>
                    <a:pt x="47" y="7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moveTo>
                    <a:pt x="47" y="22"/>
                  </a:moveTo>
                  <a:lnTo>
                    <a:pt x="47" y="22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22"/>
                  </a:lnTo>
                  <a:lnTo>
                    <a:pt x="47" y="22"/>
                  </a:lnTo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moveTo>
                    <a:pt x="47" y="15"/>
                  </a:moveTo>
                  <a:lnTo>
                    <a:pt x="47" y="15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15"/>
                  </a:lnTo>
                  <a:lnTo>
                    <a:pt x="47" y="15"/>
                  </a:lnTo>
                  <a:moveTo>
                    <a:pt x="47" y="15"/>
                  </a:move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moveTo>
                    <a:pt x="40" y="15"/>
                  </a:moveTo>
                  <a:lnTo>
                    <a:pt x="42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2" y="15"/>
                  </a:lnTo>
                  <a:lnTo>
                    <a:pt x="40" y="15"/>
                  </a:lnTo>
                  <a:moveTo>
                    <a:pt x="40" y="15"/>
                  </a:moveTo>
                  <a:lnTo>
                    <a:pt x="40" y="15"/>
                  </a:lnTo>
                  <a:lnTo>
                    <a:pt x="42" y="15"/>
                  </a:lnTo>
                  <a:lnTo>
                    <a:pt x="40" y="15"/>
                  </a:lnTo>
                  <a:moveTo>
                    <a:pt x="40" y="17"/>
                  </a:moveTo>
                  <a:lnTo>
                    <a:pt x="40" y="17"/>
                  </a:lnTo>
                  <a:lnTo>
                    <a:pt x="40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0" y="17"/>
                  </a:lnTo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17"/>
                  </a:lnTo>
                  <a:moveTo>
                    <a:pt x="42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moveTo>
                    <a:pt x="42" y="17"/>
                  </a:move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moveTo>
                    <a:pt x="40" y="17"/>
                  </a:moveTo>
                  <a:lnTo>
                    <a:pt x="40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0" y="17"/>
                  </a:lnTo>
                  <a:moveTo>
                    <a:pt x="42" y="17"/>
                  </a:moveTo>
                  <a:lnTo>
                    <a:pt x="42" y="17"/>
                  </a:lnTo>
                  <a:lnTo>
                    <a:pt x="40" y="17"/>
                  </a:lnTo>
                  <a:lnTo>
                    <a:pt x="42" y="17"/>
                  </a:lnTo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moveTo>
                    <a:pt x="40" y="17"/>
                  </a:move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moveTo>
                    <a:pt x="40" y="17"/>
                  </a:moveTo>
                  <a:lnTo>
                    <a:pt x="40" y="17"/>
                  </a:lnTo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moveTo>
                    <a:pt x="37" y="15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moveTo>
                    <a:pt x="37" y="12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2"/>
                  </a:lnTo>
                  <a:moveTo>
                    <a:pt x="37" y="15"/>
                  </a:moveTo>
                  <a:lnTo>
                    <a:pt x="37" y="15"/>
                  </a:lnTo>
                  <a:lnTo>
                    <a:pt x="37" y="12"/>
                  </a:lnTo>
                  <a:lnTo>
                    <a:pt x="37" y="15"/>
                  </a:lnTo>
                  <a:moveTo>
                    <a:pt x="37" y="12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moveTo>
                    <a:pt x="37" y="12"/>
                  </a:moveTo>
                  <a:lnTo>
                    <a:pt x="37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moveTo>
                    <a:pt x="40" y="12"/>
                  </a:moveTo>
                  <a:lnTo>
                    <a:pt x="40" y="15"/>
                  </a:lnTo>
                  <a:lnTo>
                    <a:pt x="37" y="15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40" y="12"/>
                  </a:lnTo>
                  <a:moveTo>
                    <a:pt x="37" y="12"/>
                  </a:moveTo>
                  <a:lnTo>
                    <a:pt x="37" y="12"/>
                  </a:lnTo>
                  <a:lnTo>
                    <a:pt x="40" y="12"/>
                  </a:lnTo>
                  <a:lnTo>
                    <a:pt x="37" y="12"/>
                  </a:lnTo>
                  <a:moveTo>
                    <a:pt x="40" y="12"/>
                  </a:moveTo>
                  <a:lnTo>
                    <a:pt x="40" y="15"/>
                  </a:lnTo>
                  <a:lnTo>
                    <a:pt x="40" y="15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moveTo>
                    <a:pt x="40" y="12"/>
                  </a:moveTo>
                  <a:lnTo>
                    <a:pt x="40" y="15"/>
                  </a:lnTo>
                  <a:lnTo>
                    <a:pt x="40" y="15"/>
                  </a:lnTo>
                  <a:lnTo>
                    <a:pt x="40" y="12"/>
                  </a:lnTo>
                  <a:moveTo>
                    <a:pt x="40" y="7"/>
                  </a:moveTo>
                  <a:lnTo>
                    <a:pt x="40" y="7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7"/>
                  </a:lnTo>
                  <a:lnTo>
                    <a:pt x="40" y="7"/>
                  </a:lnTo>
                  <a:moveTo>
                    <a:pt x="40" y="7"/>
                  </a:move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moveTo>
                    <a:pt x="37" y="7"/>
                  </a:moveTo>
                  <a:lnTo>
                    <a:pt x="37" y="7"/>
                  </a:lnTo>
                  <a:lnTo>
                    <a:pt x="40" y="7"/>
                  </a:lnTo>
                  <a:lnTo>
                    <a:pt x="40" y="10"/>
                  </a:lnTo>
                  <a:lnTo>
                    <a:pt x="37" y="10"/>
                  </a:lnTo>
                  <a:lnTo>
                    <a:pt x="37" y="7"/>
                  </a:lnTo>
                  <a:moveTo>
                    <a:pt x="37" y="7"/>
                  </a:moveTo>
                  <a:lnTo>
                    <a:pt x="37" y="7"/>
                  </a:lnTo>
                  <a:lnTo>
                    <a:pt x="37" y="7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7"/>
                  </a:lnTo>
                  <a:moveTo>
                    <a:pt x="35" y="7"/>
                  </a:moveTo>
                  <a:lnTo>
                    <a:pt x="35" y="7"/>
                  </a:lnTo>
                  <a:lnTo>
                    <a:pt x="37" y="7"/>
                  </a:lnTo>
                  <a:lnTo>
                    <a:pt x="37" y="10"/>
                  </a:lnTo>
                  <a:lnTo>
                    <a:pt x="35" y="10"/>
                  </a:lnTo>
                  <a:lnTo>
                    <a:pt x="35" y="7"/>
                  </a:lnTo>
                  <a:moveTo>
                    <a:pt x="35" y="7"/>
                  </a:move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moveTo>
                    <a:pt x="35" y="22"/>
                  </a:moveTo>
                  <a:lnTo>
                    <a:pt x="35" y="22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22"/>
                  </a:lnTo>
                  <a:lnTo>
                    <a:pt x="35" y="22"/>
                  </a:lnTo>
                  <a:moveTo>
                    <a:pt x="35" y="22"/>
                  </a:move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moveTo>
                    <a:pt x="33" y="22"/>
                  </a:moveTo>
                  <a:lnTo>
                    <a:pt x="33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3" y="22"/>
                  </a:lnTo>
                  <a:lnTo>
                    <a:pt x="33" y="22"/>
                  </a:lnTo>
                  <a:moveTo>
                    <a:pt x="33" y="22"/>
                  </a:move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moveTo>
                    <a:pt x="33" y="17"/>
                  </a:moveTo>
                  <a:lnTo>
                    <a:pt x="33" y="17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17"/>
                  </a:lnTo>
                  <a:lnTo>
                    <a:pt x="33" y="17"/>
                  </a:lnTo>
                  <a:moveTo>
                    <a:pt x="33" y="17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moveTo>
                    <a:pt x="30" y="19"/>
                  </a:move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moveTo>
                    <a:pt x="26" y="17"/>
                  </a:move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moveTo>
                    <a:pt x="26" y="12"/>
                  </a:move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6" y="12"/>
                  </a:lnTo>
                  <a:moveTo>
                    <a:pt x="23" y="12"/>
                  </a:moveTo>
                  <a:lnTo>
                    <a:pt x="23" y="12"/>
                  </a:lnTo>
                  <a:lnTo>
                    <a:pt x="26" y="12"/>
                  </a:lnTo>
                  <a:lnTo>
                    <a:pt x="23" y="12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2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5"/>
                  </a:lnTo>
                  <a:moveTo>
                    <a:pt x="28" y="12"/>
                  </a:move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moveTo>
                    <a:pt x="28" y="12"/>
                  </a:moveTo>
                  <a:lnTo>
                    <a:pt x="28" y="12"/>
                  </a:lnTo>
                  <a:lnTo>
                    <a:pt x="28" y="12"/>
                  </a:lnTo>
                  <a:moveTo>
                    <a:pt x="28" y="12"/>
                  </a:move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moveTo>
                    <a:pt x="26" y="7"/>
                  </a:moveTo>
                  <a:lnTo>
                    <a:pt x="26" y="7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6" y="10"/>
                  </a:lnTo>
                  <a:lnTo>
                    <a:pt x="26" y="7"/>
                  </a:lnTo>
                  <a:moveTo>
                    <a:pt x="26" y="7"/>
                  </a:move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moveTo>
                    <a:pt x="23" y="7"/>
                  </a:moveTo>
                  <a:lnTo>
                    <a:pt x="23" y="7"/>
                  </a:lnTo>
                  <a:lnTo>
                    <a:pt x="26" y="7"/>
                  </a:lnTo>
                  <a:lnTo>
                    <a:pt x="26" y="10"/>
                  </a:lnTo>
                  <a:lnTo>
                    <a:pt x="23" y="10"/>
                  </a:lnTo>
                  <a:lnTo>
                    <a:pt x="23" y="7"/>
                  </a:lnTo>
                  <a:moveTo>
                    <a:pt x="23" y="7"/>
                  </a:moveTo>
                  <a:lnTo>
                    <a:pt x="23" y="7"/>
                  </a:lnTo>
                  <a:lnTo>
                    <a:pt x="23" y="7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7"/>
                  </a:lnTo>
                  <a:moveTo>
                    <a:pt x="16" y="7"/>
                  </a:moveTo>
                  <a:lnTo>
                    <a:pt x="16" y="7"/>
                  </a:lnTo>
                  <a:lnTo>
                    <a:pt x="23" y="7"/>
                  </a:lnTo>
                  <a:lnTo>
                    <a:pt x="23" y="10"/>
                  </a:lnTo>
                  <a:lnTo>
                    <a:pt x="16" y="10"/>
                  </a:lnTo>
                  <a:lnTo>
                    <a:pt x="16" y="7"/>
                  </a:lnTo>
                  <a:moveTo>
                    <a:pt x="16" y="7"/>
                  </a:moveTo>
                  <a:lnTo>
                    <a:pt x="16" y="7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7"/>
                  </a:lnTo>
                  <a:moveTo>
                    <a:pt x="14" y="7"/>
                  </a:moveTo>
                  <a:lnTo>
                    <a:pt x="14" y="7"/>
                  </a:lnTo>
                  <a:lnTo>
                    <a:pt x="16" y="7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7"/>
                  </a:lnTo>
                  <a:moveTo>
                    <a:pt x="14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moveTo>
                    <a:pt x="106" y="3"/>
                  </a:moveTo>
                  <a:lnTo>
                    <a:pt x="106" y="3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06" y="3"/>
                  </a:lnTo>
                  <a:lnTo>
                    <a:pt x="106" y="3"/>
                  </a:lnTo>
                  <a:moveTo>
                    <a:pt x="106" y="3"/>
                  </a:move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moveTo>
                    <a:pt x="108" y="0"/>
                  </a:moveTo>
                  <a:lnTo>
                    <a:pt x="108" y="0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8" y="0"/>
                  </a:lnTo>
                  <a:lnTo>
                    <a:pt x="108" y="0"/>
                  </a:lnTo>
                  <a:moveTo>
                    <a:pt x="108" y="0"/>
                  </a:move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3" y="7"/>
                  </a:lnTo>
                  <a:lnTo>
                    <a:pt x="113" y="7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moveTo>
                    <a:pt x="116" y="7"/>
                  </a:moveTo>
                  <a:lnTo>
                    <a:pt x="116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6" y="7"/>
                  </a:lnTo>
                  <a:lnTo>
                    <a:pt x="116" y="7"/>
                  </a:lnTo>
                  <a:moveTo>
                    <a:pt x="116" y="7"/>
                  </a:move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moveTo>
                    <a:pt x="116" y="10"/>
                  </a:move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10"/>
                  </a:lnTo>
                  <a:moveTo>
                    <a:pt x="116" y="7"/>
                  </a:moveTo>
                  <a:lnTo>
                    <a:pt x="116" y="10"/>
                  </a:lnTo>
                  <a:lnTo>
                    <a:pt x="116" y="10"/>
                  </a:lnTo>
                  <a:lnTo>
                    <a:pt x="116" y="7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16" y="7"/>
                  </a:lnTo>
                  <a:lnTo>
                    <a:pt x="116" y="10"/>
                  </a:lnTo>
                  <a:lnTo>
                    <a:pt x="113" y="10"/>
                  </a:lnTo>
                  <a:lnTo>
                    <a:pt x="113" y="7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moveTo>
                    <a:pt x="113" y="22"/>
                  </a:moveTo>
                  <a:lnTo>
                    <a:pt x="113" y="22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22"/>
                  </a:lnTo>
                  <a:lnTo>
                    <a:pt x="113" y="22"/>
                  </a:lnTo>
                  <a:moveTo>
                    <a:pt x="113" y="22"/>
                  </a:move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moveTo>
                    <a:pt x="111" y="22"/>
                  </a:move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1" y="22"/>
                  </a:lnTo>
                  <a:moveTo>
                    <a:pt x="113" y="22"/>
                  </a:moveTo>
                  <a:lnTo>
                    <a:pt x="111" y="22"/>
                  </a:lnTo>
                  <a:lnTo>
                    <a:pt x="111" y="22"/>
                  </a:lnTo>
                  <a:lnTo>
                    <a:pt x="113" y="22"/>
                  </a:lnTo>
                  <a:moveTo>
                    <a:pt x="113" y="12"/>
                  </a:moveTo>
                  <a:lnTo>
                    <a:pt x="113" y="12"/>
                  </a:lnTo>
                  <a:lnTo>
                    <a:pt x="113" y="22"/>
                  </a:lnTo>
                  <a:lnTo>
                    <a:pt x="111" y="22"/>
                  </a:lnTo>
                  <a:lnTo>
                    <a:pt x="111" y="12"/>
                  </a:lnTo>
                  <a:lnTo>
                    <a:pt x="113" y="12"/>
                  </a:lnTo>
                  <a:moveTo>
                    <a:pt x="113" y="12"/>
                  </a:move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moveTo>
                    <a:pt x="106" y="12"/>
                  </a:moveTo>
                  <a:lnTo>
                    <a:pt x="106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06" y="12"/>
                  </a:lnTo>
                  <a:lnTo>
                    <a:pt x="106" y="12"/>
                  </a:lnTo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5"/>
                  </a:lnTo>
                  <a:lnTo>
                    <a:pt x="106" y="12"/>
                  </a:lnTo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moveTo>
                    <a:pt x="106" y="15"/>
                  </a:moveTo>
                  <a:lnTo>
                    <a:pt x="106" y="15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5"/>
                  </a:lnTo>
                  <a:lnTo>
                    <a:pt x="106" y="15"/>
                  </a:lnTo>
                  <a:moveTo>
                    <a:pt x="106" y="15"/>
                  </a:move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moveTo>
                    <a:pt x="106" y="17"/>
                  </a:move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moveTo>
                    <a:pt x="108" y="19"/>
                  </a:moveTo>
                  <a:lnTo>
                    <a:pt x="111" y="19"/>
                  </a:lnTo>
                  <a:lnTo>
                    <a:pt x="108" y="19"/>
                  </a:lnTo>
                  <a:lnTo>
                    <a:pt x="108" y="19"/>
                  </a:lnTo>
                  <a:moveTo>
                    <a:pt x="108" y="22"/>
                  </a:moveTo>
                  <a:lnTo>
                    <a:pt x="108" y="22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22"/>
                  </a:lnTo>
                  <a:lnTo>
                    <a:pt x="108" y="22"/>
                  </a:lnTo>
                  <a:moveTo>
                    <a:pt x="108" y="22"/>
                  </a:move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moveTo>
                    <a:pt x="108" y="22"/>
                  </a:move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moveTo>
                    <a:pt x="108" y="22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moveTo>
                    <a:pt x="108" y="19"/>
                  </a:moveTo>
                  <a:lnTo>
                    <a:pt x="108" y="19"/>
                  </a:lnTo>
                  <a:lnTo>
                    <a:pt x="108" y="19"/>
                  </a:lnTo>
                  <a:lnTo>
                    <a:pt x="108" y="19"/>
                  </a:lnTo>
                  <a:moveTo>
                    <a:pt x="106" y="19"/>
                  </a:moveTo>
                  <a:lnTo>
                    <a:pt x="106" y="19"/>
                  </a:lnTo>
                  <a:lnTo>
                    <a:pt x="108" y="19"/>
                  </a:lnTo>
                  <a:lnTo>
                    <a:pt x="108" y="22"/>
                  </a:lnTo>
                  <a:lnTo>
                    <a:pt x="106" y="19"/>
                  </a:lnTo>
                  <a:lnTo>
                    <a:pt x="106" y="19"/>
                  </a:lnTo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moveTo>
                    <a:pt x="106" y="19"/>
                  </a:move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moveTo>
                    <a:pt x="104" y="17"/>
                  </a:moveTo>
                  <a:lnTo>
                    <a:pt x="106" y="17"/>
                  </a:lnTo>
                  <a:lnTo>
                    <a:pt x="106" y="17"/>
                  </a:lnTo>
                  <a:lnTo>
                    <a:pt x="106" y="19"/>
                  </a:lnTo>
                  <a:lnTo>
                    <a:pt x="104" y="17"/>
                  </a:lnTo>
                  <a:lnTo>
                    <a:pt x="104" y="17"/>
                  </a:lnTo>
                  <a:moveTo>
                    <a:pt x="104" y="17"/>
                  </a:move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moveTo>
                    <a:pt x="104" y="17"/>
                  </a:move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moveTo>
                    <a:pt x="104" y="15"/>
                  </a:move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moveTo>
                    <a:pt x="104" y="12"/>
                  </a:move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moveTo>
                    <a:pt x="104" y="12"/>
                  </a:move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moveTo>
                    <a:pt x="106" y="12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moveTo>
                    <a:pt x="106" y="10"/>
                  </a:move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moveTo>
                    <a:pt x="113" y="12"/>
                  </a:moveTo>
                  <a:lnTo>
                    <a:pt x="113" y="12"/>
                  </a:lnTo>
                  <a:lnTo>
                    <a:pt x="106" y="12"/>
                  </a:lnTo>
                  <a:lnTo>
                    <a:pt x="106" y="10"/>
                  </a:lnTo>
                  <a:lnTo>
                    <a:pt x="113" y="10"/>
                  </a:lnTo>
                  <a:lnTo>
                    <a:pt x="113" y="12"/>
                  </a:lnTo>
                  <a:moveTo>
                    <a:pt x="113" y="12"/>
                  </a:move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13" y="12"/>
                  </a:lnTo>
                  <a:lnTo>
                    <a:pt x="111" y="12"/>
                  </a:lnTo>
                  <a:lnTo>
                    <a:pt x="111" y="7"/>
                  </a:lnTo>
                  <a:lnTo>
                    <a:pt x="113" y="7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moveTo>
                    <a:pt x="101" y="7"/>
                  </a:moveTo>
                  <a:lnTo>
                    <a:pt x="101" y="7"/>
                  </a:lnTo>
                  <a:lnTo>
                    <a:pt x="113" y="7"/>
                  </a:lnTo>
                  <a:lnTo>
                    <a:pt x="113" y="10"/>
                  </a:lnTo>
                  <a:lnTo>
                    <a:pt x="101" y="10"/>
                  </a:lnTo>
                  <a:lnTo>
                    <a:pt x="101" y="7"/>
                  </a:lnTo>
                  <a:moveTo>
                    <a:pt x="101" y="7"/>
                  </a:moveTo>
                  <a:lnTo>
                    <a:pt x="101" y="7"/>
                  </a:lnTo>
                  <a:lnTo>
                    <a:pt x="101" y="7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7"/>
                  </a:lnTo>
                  <a:moveTo>
                    <a:pt x="99" y="7"/>
                  </a:moveTo>
                  <a:lnTo>
                    <a:pt x="101" y="7"/>
                  </a:lnTo>
                  <a:lnTo>
                    <a:pt x="101" y="7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99" y="7"/>
                  </a:lnTo>
                  <a:moveTo>
                    <a:pt x="99" y="7"/>
                  </a:moveTo>
                  <a:lnTo>
                    <a:pt x="99" y="7"/>
                  </a:lnTo>
                  <a:lnTo>
                    <a:pt x="101" y="7"/>
                  </a:lnTo>
                  <a:lnTo>
                    <a:pt x="99" y="7"/>
                  </a:lnTo>
                  <a:moveTo>
                    <a:pt x="101" y="22"/>
                  </a:moveTo>
                  <a:lnTo>
                    <a:pt x="99" y="22"/>
                  </a:lnTo>
                  <a:lnTo>
                    <a:pt x="99" y="7"/>
                  </a:lnTo>
                  <a:lnTo>
                    <a:pt x="101" y="7"/>
                  </a:lnTo>
                  <a:lnTo>
                    <a:pt x="101" y="22"/>
                  </a:lnTo>
                  <a:lnTo>
                    <a:pt x="101" y="22"/>
                  </a:lnTo>
                  <a:moveTo>
                    <a:pt x="101" y="22"/>
                  </a:move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moveTo>
                    <a:pt x="99" y="22"/>
                  </a:moveTo>
                  <a:lnTo>
                    <a:pt x="99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99" y="22"/>
                  </a:lnTo>
                  <a:lnTo>
                    <a:pt x="99" y="22"/>
                  </a:lnTo>
                  <a:moveTo>
                    <a:pt x="99" y="22"/>
                  </a:move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moveTo>
                    <a:pt x="99" y="17"/>
                  </a:moveTo>
                  <a:lnTo>
                    <a:pt x="99" y="17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17"/>
                  </a:lnTo>
                  <a:lnTo>
                    <a:pt x="99" y="17"/>
                  </a:lnTo>
                  <a:moveTo>
                    <a:pt x="99" y="17"/>
                  </a:move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moveTo>
                    <a:pt x="97" y="19"/>
                  </a:move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moveTo>
                    <a:pt x="92" y="17"/>
                  </a:move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moveTo>
                    <a:pt x="90" y="12"/>
                  </a:moveTo>
                  <a:lnTo>
                    <a:pt x="90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moveTo>
                    <a:pt x="90" y="12"/>
                  </a:move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moveTo>
                    <a:pt x="90" y="15"/>
                  </a:moveTo>
                  <a:lnTo>
                    <a:pt x="90" y="15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92" y="12"/>
                  </a:lnTo>
                  <a:lnTo>
                    <a:pt x="90" y="15"/>
                  </a:lnTo>
                  <a:moveTo>
                    <a:pt x="90" y="15"/>
                  </a:move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0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2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moveTo>
                    <a:pt x="92" y="12"/>
                  </a:move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moveTo>
                    <a:pt x="94" y="12"/>
                  </a:moveTo>
                  <a:lnTo>
                    <a:pt x="94" y="12"/>
                  </a:lnTo>
                  <a:lnTo>
                    <a:pt x="94" y="12"/>
                  </a:lnTo>
                  <a:moveTo>
                    <a:pt x="94" y="12"/>
                  </a:move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moveTo>
                    <a:pt x="92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10"/>
                  </a:lnTo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moveTo>
                    <a:pt x="92" y="7"/>
                  </a:moveTo>
                  <a:lnTo>
                    <a:pt x="92" y="7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2" y="7"/>
                  </a:lnTo>
                  <a:moveTo>
                    <a:pt x="92" y="7"/>
                  </a:move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moveTo>
                    <a:pt x="90" y="7"/>
                  </a:moveTo>
                  <a:lnTo>
                    <a:pt x="90" y="7"/>
                  </a:lnTo>
                  <a:lnTo>
                    <a:pt x="92" y="7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7"/>
                  </a:lnTo>
                  <a:moveTo>
                    <a:pt x="90" y="7"/>
                  </a:moveTo>
                  <a:lnTo>
                    <a:pt x="90" y="7"/>
                  </a:lnTo>
                  <a:lnTo>
                    <a:pt x="90" y="7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7"/>
                  </a:lnTo>
                  <a:moveTo>
                    <a:pt x="87" y="7"/>
                  </a:moveTo>
                  <a:lnTo>
                    <a:pt x="87" y="7"/>
                  </a:lnTo>
                  <a:lnTo>
                    <a:pt x="90" y="7"/>
                  </a:lnTo>
                  <a:lnTo>
                    <a:pt x="90" y="10"/>
                  </a:lnTo>
                  <a:lnTo>
                    <a:pt x="87" y="10"/>
                  </a:lnTo>
                  <a:lnTo>
                    <a:pt x="87" y="7"/>
                  </a:lnTo>
                  <a:moveTo>
                    <a:pt x="87" y="7"/>
                  </a:move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moveTo>
                    <a:pt x="87" y="22"/>
                  </a:moveTo>
                  <a:lnTo>
                    <a:pt x="87" y="22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22"/>
                  </a:lnTo>
                  <a:lnTo>
                    <a:pt x="87" y="22"/>
                  </a:lnTo>
                  <a:moveTo>
                    <a:pt x="87" y="22"/>
                  </a:move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moveTo>
                    <a:pt x="85" y="22"/>
                  </a:moveTo>
                  <a:lnTo>
                    <a:pt x="85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5" y="22"/>
                  </a:lnTo>
                  <a:lnTo>
                    <a:pt x="85" y="22"/>
                  </a:lnTo>
                  <a:moveTo>
                    <a:pt x="85" y="22"/>
                  </a:move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moveTo>
                    <a:pt x="85" y="12"/>
                  </a:moveTo>
                  <a:lnTo>
                    <a:pt x="85" y="1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12"/>
                  </a:lnTo>
                  <a:lnTo>
                    <a:pt x="85" y="12"/>
                  </a:lnTo>
                  <a:moveTo>
                    <a:pt x="85" y="12"/>
                  </a:move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moveTo>
                    <a:pt x="80" y="12"/>
                  </a:moveTo>
                  <a:lnTo>
                    <a:pt x="80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0" y="12"/>
                  </a:lnTo>
                  <a:lnTo>
                    <a:pt x="80" y="12"/>
                  </a:lnTo>
                  <a:moveTo>
                    <a:pt x="80" y="12"/>
                  </a:move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moveTo>
                    <a:pt x="82" y="12"/>
                  </a:move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moveTo>
                    <a:pt x="82" y="15"/>
                  </a:moveTo>
                  <a:lnTo>
                    <a:pt x="82" y="15"/>
                  </a:lnTo>
                  <a:lnTo>
                    <a:pt x="80" y="15"/>
                  </a:lnTo>
                  <a:lnTo>
                    <a:pt x="82" y="12"/>
                  </a:lnTo>
                  <a:lnTo>
                    <a:pt x="82" y="15"/>
                  </a:lnTo>
                  <a:lnTo>
                    <a:pt x="82" y="15"/>
                  </a:lnTo>
                  <a:moveTo>
                    <a:pt x="82" y="15"/>
                  </a:move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moveTo>
                    <a:pt x="82" y="15"/>
                  </a:move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moveTo>
                    <a:pt x="82" y="15"/>
                  </a:move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moveTo>
                    <a:pt x="82" y="17"/>
                  </a:moveTo>
                  <a:lnTo>
                    <a:pt x="82" y="17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2" y="17"/>
                  </a:lnTo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moveTo>
                    <a:pt x="82" y="17"/>
                  </a:moveTo>
                  <a:lnTo>
                    <a:pt x="82" y="17"/>
                  </a:lnTo>
                  <a:lnTo>
                    <a:pt x="82" y="17"/>
                  </a:lnTo>
                  <a:moveTo>
                    <a:pt x="80" y="19"/>
                  </a:move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moveTo>
                    <a:pt x="80" y="19"/>
                  </a:moveTo>
                  <a:lnTo>
                    <a:pt x="80" y="19"/>
                  </a:lnTo>
                  <a:lnTo>
                    <a:pt x="80" y="19"/>
                  </a:lnTo>
                  <a:moveTo>
                    <a:pt x="80" y="19"/>
                  </a:move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moveTo>
                    <a:pt x="75" y="17"/>
                  </a:move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moveTo>
                    <a:pt x="75" y="17"/>
                  </a:move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moveTo>
                    <a:pt x="73" y="15"/>
                  </a:move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moveTo>
                    <a:pt x="73" y="15"/>
                  </a:move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2"/>
                  </a:lnTo>
                  <a:lnTo>
                    <a:pt x="73" y="12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moveTo>
                    <a:pt x="75" y="12"/>
                  </a:moveTo>
                  <a:lnTo>
                    <a:pt x="75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5" y="12"/>
                  </a:lnTo>
                  <a:moveTo>
                    <a:pt x="73" y="10"/>
                  </a:moveTo>
                  <a:lnTo>
                    <a:pt x="75" y="10"/>
                  </a:lnTo>
                  <a:lnTo>
                    <a:pt x="75" y="12"/>
                  </a:lnTo>
                  <a:lnTo>
                    <a:pt x="73" y="10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3" y="12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3" y="12"/>
                  </a:lnTo>
                  <a:moveTo>
                    <a:pt x="73" y="12"/>
                  </a:move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moveTo>
                    <a:pt x="75" y="12"/>
                  </a:move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moveTo>
                    <a:pt x="75" y="12"/>
                  </a:move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moveTo>
                    <a:pt x="78" y="17"/>
                  </a:move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moveTo>
                    <a:pt x="80" y="17"/>
                  </a:move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moveTo>
                    <a:pt x="80" y="17"/>
                  </a:move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moveTo>
                    <a:pt x="80" y="17"/>
                  </a:move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moveTo>
                    <a:pt x="80" y="15"/>
                  </a:move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moveTo>
                    <a:pt x="80" y="15"/>
                  </a:move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moveTo>
                    <a:pt x="80" y="15"/>
                  </a:move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moveTo>
                    <a:pt x="80" y="12"/>
                  </a:moveTo>
                  <a:lnTo>
                    <a:pt x="80" y="12"/>
                  </a:lnTo>
                  <a:lnTo>
                    <a:pt x="80" y="12"/>
                  </a:lnTo>
                  <a:lnTo>
                    <a:pt x="80" y="15"/>
                  </a:lnTo>
                  <a:lnTo>
                    <a:pt x="80" y="12"/>
                  </a:lnTo>
                  <a:lnTo>
                    <a:pt x="80" y="12"/>
                  </a:lnTo>
                  <a:moveTo>
                    <a:pt x="80" y="12"/>
                  </a:moveTo>
                  <a:lnTo>
                    <a:pt x="80" y="12"/>
                  </a:lnTo>
                  <a:lnTo>
                    <a:pt x="80" y="12"/>
                  </a:lnTo>
                  <a:moveTo>
                    <a:pt x="78" y="12"/>
                  </a:moveTo>
                  <a:lnTo>
                    <a:pt x="78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moveTo>
                    <a:pt x="78" y="12"/>
                  </a:move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moveTo>
                    <a:pt x="85" y="12"/>
                  </a:moveTo>
                  <a:lnTo>
                    <a:pt x="85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5" y="12"/>
                  </a:lnTo>
                  <a:lnTo>
                    <a:pt x="85" y="12"/>
                  </a:lnTo>
                  <a:moveTo>
                    <a:pt x="85" y="12"/>
                  </a:move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moveTo>
                    <a:pt x="85" y="7"/>
                  </a:moveTo>
                  <a:lnTo>
                    <a:pt x="85" y="7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7"/>
                  </a:lnTo>
                  <a:lnTo>
                    <a:pt x="85" y="7"/>
                  </a:lnTo>
                  <a:moveTo>
                    <a:pt x="85" y="7"/>
                  </a:move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moveTo>
                    <a:pt x="71" y="7"/>
                  </a:moveTo>
                  <a:lnTo>
                    <a:pt x="71" y="7"/>
                  </a:lnTo>
                  <a:lnTo>
                    <a:pt x="85" y="7"/>
                  </a:lnTo>
                  <a:lnTo>
                    <a:pt x="85" y="10"/>
                  </a:lnTo>
                  <a:lnTo>
                    <a:pt x="71" y="10"/>
                  </a:lnTo>
                  <a:lnTo>
                    <a:pt x="71" y="7"/>
                  </a:lnTo>
                  <a:moveTo>
                    <a:pt x="71" y="10"/>
                  </a:moveTo>
                  <a:lnTo>
                    <a:pt x="71" y="10"/>
                  </a:lnTo>
                  <a:lnTo>
                    <a:pt x="71" y="7"/>
                  </a:lnTo>
                  <a:lnTo>
                    <a:pt x="71" y="10"/>
                  </a:lnTo>
                  <a:moveTo>
                    <a:pt x="71" y="7"/>
                  </a:move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moveTo>
                    <a:pt x="71" y="7"/>
                  </a:move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moveTo>
                    <a:pt x="90" y="7"/>
                  </a:moveTo>
                  <a:lnTo>
                    <a:pt x="90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90" y="7"/>
                  </a:lnTo>
                  <a:lnTo>
                    <a:pt x="90" y="7"/>
                  </a:lnTo>
                  <a:moveTo>
                    <a:pt x="90" y="7"/>
                  </a:move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moveTo>
                    <a:pt x="101" y="7"/>
                  </a:moveTo>
                  <a:lnTo>
                    <a:pt x="10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101" y="7"/>
                  </a:lnTo>
                  <a:lnTo>
                    <a:pt x="101" y="7"/>
                  </a:lnTo>
                  <a:moveTo>
                    <a:pt x="101" y="7"/>
                  </a:move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13" y="7"/>
                  </a:lnTo>
                  <a:lnTo>
                    <a:pt x="113" y="7"/>
                  </a:lnTo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moveTo>
                    <a:pt x="94" y="10"/>
                  </a:moveTo>
                  <a:lnTo>
                    <a:pt x="94" y="7"/>
                  </a:lnTo>
                  <a:lnTo>
                    <a:pt x="99" y="7"/>
                  </a:lnTo>
                  <a:lnTo>
                    <a:pt x="99" y="10"/>
                  </a:lnTo>
                  <a:lnTo>
                    <a:pt x="94" y="10"/>
                  </a:lnTo>
                  <a:lnTo>
                    <a:pt x="94" y="10"/>
                  </a:lnTo>
                  <a:moveTo>
                    <a:pt x="94" y="10"/>
                  </a:moveTo>
                  <a:lnTo>
                    <a:pt x="94" y="7"/>
                  </a:lnTo>
                  <a:lnTo>
                    <a:pt x="94" y="7"/>
                  </a:lnTo>
                  <a:lnTo>
                    <a:pt x="94" y="10"/>
                  </a:lnTo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7"/>
                  </a:lnTo>
                  <a:lnTo>
                    <a:pt x="94" y="10"/>
                  </a:lnTo>
                  <a:lnTo>
                    <a:pt x="94" y="10"/>
                  </a:lnTo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moveTo>
                    <a:pt x="94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moveTo>
                    <a:pt x="97" y="10"/>
                  </a:move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7" y="10"/>
                  </a:lnTo>
                  <a:lnTo>
                    <a:pt x="97" y="10"/>
                  </a:lnTo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lnTo>
                    <a:pt x="97" y="10"/>
                  </a:lnTo>
                  <a:moveTo>
                    <a:pt x="97" y="12"/>
                  </a:moveTo>
                  <a:lnTo>
                    <a:pt x="94" y="12"/>
                  </a:lnTo>
                  <a:lnTo>
                    <a:pt x="94" y="10"/>
                  </a:lnTo>
                  <a:lnTo>
                    <a:pt x="97" y="10"/>
                  </a:lnTo>
                  <a:lnTo>
                    <a:pt x="97" y="12"/>
                  </a:lnTo>
                  <a:lnTo>
                    <a:pt x="97" y="12"/>
                  </a:lnTo>
                  <a:moveTo>
                    <a:pt x="97" y="12"/>
                  </a:move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moveTo>
                    <a:pt x="94" y="15"/>
                  </a:move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moveTo>
                    <a:pt x="94" y="15"/>
                  </a:move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moveTo>
                    <a:pt x="94" y="15"/>
                  </a:moveTo>
                  <a:lnTo>
                    <a:pt x="92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moveTo>
                    <a:pt x="94" y="15"/>
                  </a:move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2" y="15"/>
                  </a:move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moveTo>
                    <a:pt x="97" y="17"/>
                  </a:moveTo>
                  <a:lnTo>
                    <a:pt x="97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7" y="17"/>
                  </a:lnTo>
                  <a:moveTo>
                    <a:pt x="97" y="17"/>
                  </a:move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moveTo>
                    <a:pt x="97" y="17"/>
                  </a:moveTo>
                  <a:lnTo>
                    <a:pt x="97" y="17"/>
                  </a:lnTo>
                  <a:moveTo>
                    <a:pt x="99" y="15"/>
                  </a:move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moveTo>
                    <a:pt x="99" y="17"/>
                  </a:move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moveTo>
                    <a:pt x="99" y="15"/>
                  </a:moveTo>
                  <a:lnTo>
                    <a:pt x="99" y="15"/>
                  </a:lnTo>
                  <a:lnTo>
                    <a:pt x="99" y="17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moveTo>
                    <a:pt x="99" y="15"/>
                  </a:move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moveTo>
                    <a:pt x="99" y="7"/>
                  </a:moveTo>
                  <a:lnTo>
                    <a:pt x="99" y="7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7"/>
                  </a:lnTo>
                  <a:lnTo>
                    <a:pt x="99" y="7"/>
                  </a:lnTo>
                  <a:moveTo>
                    <a:pt x="99" y="7"/>
                  </a:move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moveTo>
                    <a:pt x="40" y="7"/>
                  </a:moveTo>
                  <a:lnTo>
                    <a:pt x="42" y="7"/>
                  </a:lnTo>
                  <a:lnTo>
                    <a:pt x="47" y="7"/>
                  </a:lnTo>
                  <a:lnTo>
                    <a:pt x="47" y="10"/>
                  </a:lnTo>
                  <a:lnTo>
                    <a:pt x="42" y="10"/>
                  </a:lnTo>
                  <a:lnTo>
                    <a:pt x="40" y="7"/>
                  </a:lnTo>
                  <a:moveTo>
                    <a:pt x="40" y="7"/>
                  </a:moveTo>
                  <a:lnTo>
                    <a:pt x="40" y="7"/>
                  </a:lnTo>
                  <a:lnTo>
                    <a:pt x="42" y="7"/>
                  </a:lnTo>
                  <a:lnTo>
                    <a:pt x="40" y="7"/>
                  </a:lnTo>
                  <a:moveTo>
                    <a:pt x="42" y="15"/>
                  </a:moveTo>
                  <a:lnTo>
                    <a:pt x="40" y="12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2" y="12"/>
                  </a:lnTo>
                  <a:lnTo>
                    <a:pt x="42" y="15"/>
                  </a:lnTo>
                  <a:moveTo>
                    <a:pt x="42" y="15"/>
                  </a:moveTo>
                  <a:lnTo>
                    <a:pt x="40" y="15"/>
                  </a:lnTo>
                  <a:lnTo>
                    <a:pt x="40" y="12"/>
                  </a:lnTo>
                  <a:lnTo>
                    <a:pt x="42" y="15"/>
                  </a:lnTo>
                  <a:moveTo>
                    <a:pt x="47" y="12"/>
                  </a:moveTo>
                  <a:lnTo>
                    <a:pt x="47" y="15"/>
                  </a:lnTo>
                  <a:lnTo>
                    <a:pt x="42" y="15"/>
                  </a:lnTo>
                  <a:lnTo>
                    <a:pt x="42" y="12"/>
                  </a:lnTo>
                  <a:lnTo>
                    <a:pt x="47" y="12"/>
                  </a:lnTo>
                  <a:lnTo>
                    <a:pt x="47" y="12"/>
                  </a:lnTo>
                  <a:moveTo>
                    <a:pt x="47" y="12"/>
                  </a:moveTo>
                  <a:lnTo>
                    <a:pt x="47" y="15"/>
                  </a:lnTo>
                  <a:lnTo>
                    <a:pt x="47" y="15"/>
                  </a:lnTo>
                  <a:lnTo>
                    <a:pt x="47" y="12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7"/>
                  </a:lnTo>
                  <a:lnTo>
                    <a:pt x="47" y="7"/>
                  </a:lnTo>
                  <a:moveTo>
                    <a:pt x="47" y="7"/>
                  </a:move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moveTo>
                    <a:pt x="28" y="10"/>
                  </a:moveTo>
                  <a:lnTo>
                    <a:pt x="28" y="7"/>
                  </a:lnTo>
                  <a:lnTo>
                    <a:pt x="33" y="7"/>
                  </a:lnTo>
                  <a:lnTo>
                    <a:pt x="33" y="10"/>
                  </a:lnTo>
                  <a:lnTo>
                    <a:pt x="28" y="10"/>
                  </a:lnTo>
                  <a:lnTo>
                    <a:pt x="28" y="10"/>
                  </a:lnTo>
                  <a:moveTo>
                    <a:pt x="28" y="10"/>
                  </a:moveTo>
                  <a:lnTo>
                    <a:pt x="28" y="7"/>
                  </a:lnTo>
                  <a:lnTo>
                    <a:pt x="28" y="7"/>
                  </a:lnTo>
                  <a:lnTo>
                    <a:pt x="28" y="10"/>
                  </a:lnTo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7"/>
                  </a:lnTo>
                  <a:lnTo>
                    <a:pt x="28" y="10"/>
                  </a:lnTo>
                  <a:lnTo>
                    <a:pt x="28" y="10"/>
                  </a:lnTo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moveTo>
                    <a:pt x="28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moveTo>
                    <a:pt x="30" y="10"/>
                  </a:move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30" y="10"/>
                  </a:lnTo>
                  <a:lnTo>
                    <a:pt x="30" y="10"/>
                  </a:lnTo>
                  <a:moveTo>
                    <a:pt x="30" y="10"/>
                  </a:move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moveTo>
                    <a:pt x="30" y="12"/>
                  </a:moveTo>
                  <a:lnTo>
                    <a:pt x="28" y="12"/>
                  </a:lnTo>
                  <a:lnTo>
                    <a:pt x="28" y="10"/>
                  </a:lnTo>
                  <a:lnTo>
                    <a:pt x="30" y="10"/>
                  </a:lnTo>
                  <a:lnTo>
                    <a:pt x="30" y="12"/>
                  </a:lnTo>
                  <a:lnTo>
                    <a:pt x="30" y="12"/>
                  </a:lnTo>
                  <a:moveTo>
                    <a:pt x="30" y="12"/>
                  </a:move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moveTo>
                    <a:pt x="28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6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moveTo>
                    <a:pt x="28" y="15"/>
                  </a:move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8" y="15"/>
                  </a:lnTo>
                  <a:moveTo>
                    <a:pt x="30" y="17"/>
                  </a:move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moveTo>
                    <a:pt x="30" y="17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moveTo>
                    <a:pt x="30" y="17"/>
                  </a:move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moveTo>
                    <a:pt x="33" y="15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moveTo>
                    <a:pt x="33" y="17"/>
                  </a:move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moveTo>
                    <a:pt x="33" y="15"/>
                  </a:moveTo>
                  <a:lnTo>
                    <a:pt x="33" y="15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moveTo>
                    <a:pt x="33" y="15"/>
                  </a:move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moveTo>
                    <a:pt x="33" y="7"/>
                  </a:moveTo>
                  <a:lnTo>
                    <a:pt x="33" y="7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7"/>
                  </a:lnTo>
                  <a:lnTo>
                    <a:pt x="33" y="7"/>
                  </a:lnTo>
                  <a:moveTo>
                    <a:pt x="33" y="7"/>
                  </a:move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moveTo>
                    <a:pt x="19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moveTo>
                    <a:pt x="19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moveTo>
                    <a:pt x="19" y="15"/>
                  </a:move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moveTo>
                    <a:pt x="19" y="17"/>
                  </a:move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9" y="17"/>
                  </a:lnTo>
                  <a:moveTo>
                    <a:pt x="21" y="17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moveTo>
                    <a:pt x="21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moveTo>
                    <a:pt x="21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1" y="19"/>
                  </a:lnTo>
                  <a:moveTo>
                    <a:pt x="21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moveTo>
                    <a:pt x="23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moveTo>
                    <a:pt x="23" y="19"/>
                  </a:move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moveTo>
                    <a:pt x="21" y="22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1" y="22"/>
                  </a:lnTo>
                  <a:lnTo>
                    <a:pt x="21" y="22"/>
                  </a:lnTo>
                  <a:moveTo>
                    <a:pt x="21" y="22"/>
                  </a:move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moveTo>
                    <a:pt x="19" y="19"/>
                  </a:moveTo>
                  <a:lnTo>
                    <a:pt x="21" y="19"/>
                  </a:lnTo>
                  <a:lnTo>
                    <a:pt x="21" y="19"/>
                  </a:lnTo>
                  <a:lnTo>
                    <a:pt x="21" y="22"/>
                  </a:lnTo>
                  <a:lnTo>
                    <a:pt x="19" y="19"/>
                  </a:lnTo>
                  <a:lnTo>
                    <a:pt x="19" y="19"/>
                  </a:lnTo>
                  <a:moveTo>
                    <a:pt x="19" y="19"/>
                  </a:move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moveTo>
                    <a:pt x="19" y="19"/>
                  </a:moveTo>
                  <a:lnTo>
                    <a:pt x="19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moveTo>
                    <a:pt x="19" y="19"/>
                  </a:move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moveTo>
                    <a:pt x="19" y="17"/>
                  </a:moveTo>
                  <a:lnTo>
                    <a:pt x="19" y="17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7"/>
                  </a:lnTo>
                  <a:lnTo>
                    <a:pt x="19" y="17"/>
                  </a:lnTo>
                  <a:moveTo>
                    <a:pt x="19" y="17"/>
                  </a:move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moveTo>
                    <a:pt x="16" y="15"/>
                  </a:move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moveTo>
                    <a:pt x="16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moveTo>
                    <a:pt x="19" y="12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moveTo>
                    <a:pt x="26" y="12"/>
                  </a:moveTo>
                  <a:lnTo>
                    <a:pt x="26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6" y="12"/>
                  </a:lnTo>
                  <a:lnTo>
                    <a:pt x="26" y="12"/>
                  </a:lnTo>
                  <a:moveTo>
                    <a:pt x="26" y="12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moveTo>
                    <a:pt x="26" y="12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moveTo>
                    <a:pt x="26" y="12"/>
                  </a:move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moveTo>
                    <a:pt x="21" y="12"/>
                  </a:moveTo>
                  <a:lnTo>
                    <a:pt x="21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1" y="12"/>
                  </a:lnTo>
                  <a:lnTo>
                    <a:pt x="21" y="12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11" name="Freeform 10684"/>
            <p:cNvSpPr>
              <a:spLocks noEditPoints="1"/>
            </p:cNvSpPr>
            <p:nvPr/>
          </p:nvSpPr>
          <p:spPr bwMode="auto">
            <a:xfrm>
              <a:off x="9704532" y="3838576"/>
              <a:ext cx="747713" cy="73025"/>
            </a:xfrm>
            <a:custGeom>
              <a:avLst/>
              <a:gdLst>
                <a:gd name="T0" fmla="*/ 193 w 199"/>
                <a:gd name="T1" fmla="*/ 12 h 19"/>
                <a:gd name="T2" fmla="*/ 192 w 199"/>
                <a:gd name="T3" fmla="*/ 8 h 19"/>
                <a:gd name="T4" fmla="*/ 192 w 199"/>
                <a:gd name="T5" fmla="*/ 10 h 19"/>
                <a:gd name="T6" fmla="*/ 195 w 199"/>
                <a:gd name="T7" fmla="*/ 17 h 19"/>
                <a:gd name="T8" fmla="*/ 198 w 199"/>
                <a:gd name="T9" fmla="*/ 8 h 19"/>
                <a:gd name="T10" fmla="*/ 192 w 199"/>
                <a:gd name="T11" fmla="*/ 9 h 19"/>
                <a:gd name="T12" fmla="*/ 183 w 199"/>
                <a:gd name="T13" fmla="*/ 0 h 19"/>
                <a:gd name="T14" fmla="*/ 186 w 199"/>
                <a:gd name="T15" fmla="*/ 5 h 19"/>
                <a:gd name="T16" fmla="*/ 180 w 199"/>
                <a:gd name="T17" fmla="*/ 18 h 19"/>
                <a:gd name="T18" fmla="*/ 177 w 199"/>
                <a:gd name="T19" fmla="*/ 6 h 19"/>
                <a:gd name="T20" fmla="*/ 177 w 199"/>
                <a:gd name="T21" fmla="*/ 17 h 19"/>
                <a:gd name="T22" fmla="*/ 175 w 199"/>
                <a:gd name="T23" fmla="*/ 7 h 19"/>
                <a:gd name="T24" fmla="*/ 158 w 199"/>
                <a:gd name="T25" fmla="*/ 18 h 19"/>
                <a:gd name="T26" fmla="*/ 165 w 199"/>
                <a:gd name="T27" fmla="*/ 9 h 19"/>
                <a:gd name="T28" fmla="*/ 165 w 199"/>
                <a:gd name="T29" fmla="*/ 4 h 19"/>
                <a:gd name="T30" fmla="*/ 158 w 199"/>
                <a:gd name="T31" fmla="*/ 5 h 19"/>
                <a:gd name="T32" fmla="*/ 152 w 199"/>
                <a:gd name="T33" fmla="*/ 18 h 19"/>
                <a:gd name="T34" fmla="*/ 142 w 199"/>
                <a:gd name="T35" fmla="*/ 18 h 19"/>
                <a:gd name="T36" fmla="*/ 142 w 199"/>
                <a:gd name="T37" fmla="*/ 5 h 19"/>
                <a:gd name="T38" fmla="*/ 144 w 199"/>
                <a:gd name="T39" fmla="*/ 0 h 19"/>
                <a:gd name="T40" fmla="*/ 137 w 199"/>
                <a:gd name="T41" fmla="*/ 5 h 19"/>
                <a:gd name="T42" fmla="*/ 129 w 199"/>
                <a:gd name="T43" fmla="*/ 11 h 19"/>
                <a:gd name="T44" fmla="*/ 129 w 199"/>
                <a:gd name="T45" fmla="*/ 11 h 19"/>
                <a:gd name="T46" fmla="*/ 131 w 199"/>
                <a:gd name="T47" fmla="*/ 4 h 19"/>
                <a:gd name="T48" fmla="*/ 111 w 199"/>
                <a:gd name="T49" fmla="*/ 7 h 19"/>
                <a:gd name="T50" fmla="*/ 118 w 199"/>
                <a:gd name="T51" fmla="*/ 18 h 19"/>
                <a:gd name="T52" fmla="*/ 116 w 199"/>
                <a:gd name="T53" fmla="*/ 7 h 19"/>
                <a:gd name="T54" fmla="*/ 116 w 199"/>
                <a:gd name="T55" fmla="*/ 1 h 19"/>
                <a:gd name="T56" fmla="*/ 103 w 199"/>
                <a:gd name="T57" fmla="*/ 18 h 19"/>
                <a:gd name="T58" fmla="*/ 106 w 199"/>
                <a:gd name="T59" fmla="*/ 18 h 19"/>
                <a:gd name="T60" fmla="*/ 103 w 199"/>
                <a:gd name="T61" fmla="*/ 6 h 19"/>
                <a:gd name="T62" fmla="*/ 100 w 199"/>
                <a:gd name="T63" fmla="*/ 18 h 19"/>
                <a:gd name="T64" fmla="*/ 94 w 199"/>
                <a:gd name="T65" fmla="*/ 10 h 19"/>
                <a:gd name="T66" fmla="*/ 93 w 199"/>
                <a:gd name="T67" fmla="*/ 4 h 19"/>
                <a:gd name="T68" fmla="*/ 94 w 199"/>
                <a:gd name="T69" fmla="*/ 14 h 19"/>
                <a:gd name="T70" fmla="*/ 98 w 199"/>
                <a:gd name="T71" fmla="*/ 12 h 19"/>
                <a:gd name="T72" fmla="*/ 74 w 199"/>
                <a:gd name="T73" fmla="*/ 7 h 19"/>
                <a:gd name="T74" fmla="*/ 79 w 199"/>
                <a:gd name="T75" fmla="*/ 9 h 19"/>
                <a:gd name="T76" fmla="*/ 86 w 199"/>
                <a:gd name="T77" fmla="*/ 18 h 19"/>
                <a:gd name="T78" fmla="*/ 79 w 199"/>
                <a:gd name="T79" fmla="*/ 7 h 19"/>
                <a:gd name="T80" fmla="*/ 73 w 199"/>
                <a:gd name="T81" fmla="*/ 5 h 19"/>
                <a:gd name="T82" fmla="*/ 60 w 199"/>
                <a:gd name="T83" fmla="*/ 18 h 19"/>
                <a:gd name="T84" fmla="*/ 64 w 199"/>
                <a:gd name="T85" fmla="*/ 18 h 19"/>
                <a:gd name="T86" fmla="*/ 60 w 199"/>
                <a:gd name="T87" fmla="*/ 6 h 19"/>
                <a:gd name="T88" fmla="*/ 57 w 199"/>
                <a:gd name="T89" fmla="*/ 18 h 19"/>
                <a:gd name="T90" fmla="*/ 55 w 199"/>
                <a:gd name="T91" fmla="*/ 8 h 19"/>
                <a:gd name="T92" fmla="*/ 52 w 199"/>
                <a:gd name="T93" fmla="*/ 7 h 19"/>
                <a:gd name="T94" fmla="*/ 49 w 199"/>
                <a:gd name="T95" fmla="*/ 18 h 19"/>
                <a:gd name="T96" fmla="*/ 44 w 199"/>
                <a:gd name="T97" fmla="*/ 10 h 19"/>
                <a:gd name="T98" fmla="*/ 42 w 199"/>
                <a:gd name="T99" fmla="*/ 4 h 19"/>
                <a:gd name="T100" fmla="*/ 44 w 199"/>
                <a:gd name="T101" fmla="*/ 14 h 19"/>
                <a:gd name="T102" fmla="*/ 47 w 199"/>
                <a:gd name="T103" fmla="*/ 12 h 19"/>
                <a:gd name="T104" fmla="*/ 25 w 199"/>
                <a:gd name="T105" fmla="*/ 5 h 19"/>
                <a:gd name="T106" fmla="*/ 32 w 199"/>
                <a:gd name="T107" fmla="*/ 5 h 19"/>
                <a:gd name="T108" fmla="*/ 21 w 199"/>
                <a:gd name="T109" fmla="*/ 11 h 19"/>
                <a:gd name="T110" fmla="*/ 19 w 199"/>
                <a:gd name="T111" fmla="*/ 18 h 19"/>
                <a:gd name="T112" fmla="*/ 12 w 199"/>
                <a:gd name="T113" fmla="*/ 6 h 19"/>
                <a:gd name="T114" fmla="*/ 9 w 199"/>
                <a:gd name="T115" fmla="*/ 16 h 19"/>
                <a:gd name="T116" fmla="*/ 12 w 199"/>
                <a:gd name="T117" fmla="*/ 9 h 19"/>
                <a:gd name="T118" fmla="*/ 9 w 199"/>
                <a:gd name="T119" fmla="*/ 13 h 19"/>
                <a:gd name="T120" fmla="*/ 8 w 199"/>
                <a:gd name="T121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9" h="19">
                  <a:moveTo>
                    <a:pt x="195" y="14"/>
                  </a:moveTo>
                  <a:cubicBezTo>
                    <a:pt x="195" y="16"/>
                    <a:pt x="194" y="16"/>
                    <a:pt x="193" y="16"/>
                  </a:cubicBezTo>
                  <a:cubicBezTo>
                    <a:pt x="192" y="16"/>
                    <a:pt x="192" y="15"/>
                    <a:pt x="192" y="14"/>
                  </a:cubicBezTo>
                  <a:cubicBezTo>
                    <a:pt x="192" y="13"/>
                    <a:pt x="192" y="12"/>
                    <a:pt x="193" y="12"/>
                  </a:cubicBezTo>
                  <a:cubicBezTo>
                    <a:pt x="194" y="12"/>
                    <a:pt x="194" y="12"/>
                    <a:pt x="195" y="11"/>
                  </a:cubicBezTo>
                  <a:lnTo>
                    <a:pt x="195" y="14"/>
                  </a:lnTo>
                  <a:close/>
                  <a:moveTo>
                    <a:pt x="192" y="9"/>
                  </a:moveTo>
                  <a:cubicBezTo>
                    <a:pt x="192" y="8"/>
                    <a:pt x="192" y="8"/>
                    <a:pt x="192" y="8"/>
                  </a:cubicBezTo>
                  <a:cubicBezTo>
                    <a:pt x="192" y="7"/>
                    <a:pt x="192" y="7"/>
                    <a:pt x="193" y="7"/>
                  </a:cubicBezTo>
                  <a:cubicBezTo>
                    <a:pt x="194" y="7"/>
                    <a:pt x="195" y="7"/>
                    <a:pt x="195" y="8"/>
                  </a:cubicBezTo>
                  <a:cubicBezTo>
                    <a:pt x="195" y="9"/>
                    <a:pt x="195" y="10"/>
                    <a:pt x="194" y="10"/>
                  </a:cubicBezTo>
                  <a:cubicBezTo>
                    <a:pt x="192" y="10"/>
                    <a:pt x="192" y="10"/>
                    <a:pt x="192" y="10"/>
                  </a:cubicBezTo>
                  <a:cubicBezTo>
                    <a:pt x="189" y="11"/>
                    <a:pt x="188" y="12"/>
                    <a:pt x="188" y="15"/>
                  </a:cubicBezTo>
                  <a:cubicBezTo>
                    <a:pt x="188" y="16"/>
                    <a:pt x="189" y="18"/>
                    <a:pt x="191" y="18"/>
                  </a:cubicBezTo>
                  <a:cubicBezTo>
                    <a:pt x="193" y="18"/>
                    <a:pt x="194" y="18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8"/>
                    <a:pt x="195" y="18"/>
                  </a:cubicBezTo>
                  <a:cubicBezTo>
                    <a:pt x="199" y="18"/>
                    <a:pt x="199" y="18"/>
                    <a:pt x="199" y="18"/>
                  </a:cubicBezTo>
                  <a:cubicBezTo>
                    <a:pt x="198" y="17"/>
                    <a:pt x="198" y="17"/>
                    <a:pt x="198" y="16"/>
                  </a:cubicBezTo>
                  <a:cubicBezTo>
                    <a:pt x="198" y="8"/>
                    <a:pt x="198" y="8"/>
                    <a:pt x="198" y="8"/>
                  </a:cubicBezTo>
                  <a:cubicBezTo>
                    <a:pt x="198" y="6"/>
                    <a:pt x="197" y="4"/>
                    <a:pt x="193" y="4"/>
                  </a:cubicBezTo>
                  <a:cubicBezTo>
                    <a:pt x="191" y="4"/>
                    <a:pt x="189" y="5"/>
                    <a:pt x="189" y="9"/>
                  </a:cubicBezTo>
                  <a:cubicBezTo>
                    <a:pt x="189" y="9"/>
                    <a:pt x="189" y="9"/>
                    <a:pt x="189" y="9"/>
                  </a:cubicBezTo>
                  <a:lnTo>
                    <a:pt x="192" y="9"/>
                  </a:lnTo>
                  <a:close/>
                  <a:moveTo>
                    <a:pt x="183" y="3"/>
                  </a:moveTo>
                  <a:cubicBezTo>
                    <a:pt x="186" y="3"/>
                    <a:pt x="186" y="3"/>
                    <a:pt x="186" y="3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3" y="0"/>
                    <a:pt x="183" y="0"/>
                    <a:pt x="183" y="0"/>
                  </a:cubicBezTo>
                  <a:lnTo>
                    <a:pt x="183" y="3"/>
                  </a:lnTo>
                  <a:close/>
                  <a:moveTo>
                    <a:pt x="183" y="18"/>
                  </a:moveTo>
                  <a:cubicBezTo>
                    <a:pt x="186" y="18"/>
                    <a:pt x="186" y="18"/>
                    <a:pt x="186" y="18"/>
                  </a:cubicBezTo>
                  <a:cubicBezTo>
                    <a:pt x="186" y="5"/>
                    <a:pt x="186" y="5"/>
                    <a:pt x="186" y="5"/>
                  </a:cubicBezTo>
                  <a:cubicBezTo>
                    <a:pt x="183" y="5"/>
                    <a:pt x="183" y="5"/>
                    <a:pt x="183" y="5"/>
                  </a:cubicBezTo>
                  <a:lnTo>
                    <a:pt x="183" y="18"/>
                  </a:lnTo>
                  <a:close/>
                  <a:moveTo>
                    <a:pt x="177" y="18"/>
                  </a:moveTo>
                  <a:cubicBezTo>
                    <a:pt x="180" y="18"/>
                    <a:pt x="180" y="18"/>
                    <a:pt x="180" y="18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7" y="6"/>
                    <a:pt x="177" y="6"/>
                    <a:pt x="177" y="6"/>
                  </a:cubicBezTo>
                  <a:cubicBezTo>
                    <a:pt x="176" y="5"/>
                    <a:pt x="175" y="4"/>
                    <a:pt x="174" y="4"/>
                  </a:cubicBezTo>
                  <a:cubicBezTo>
                    <a:pt x="171" y="4"/>
                    <a:pt x="170" y="6"/>
                    <a:pt x="170" y="11"/>
                  </a:cubicBezTo>
                  <a:cubicBezTo>
                    <a:pt x="170" y="16"/>
                    <a:pt x="171" y="18"/>
                    <a:pt x="174" y="18"/>
                  </a:cubicBezTo>
                  <a:cubicBezTo>
                    <a:pt x="175" y="18"/>
                    <a:pt x="176" y="18"/>
                    <a:pt x="177" y="17"/>
                  </a:cubicBezTo>
                  <a:cubicBezTo>
                    <a:pt x="177" y="17"/>
                    <a:pt x="177" y="17"/>
                    <a:pt x="177" y="17"/>
                  </a:cubicBezTo>
                  <a:lnTo>
                    <a:pt x="177" y="18"/>
                  </a:lnTo>
                  <a:close/>
                  <a:moveTo>
                    <a:pt x="173" y="11"/>
                  </a:moveTo>
                  <a:cubicBezTo>
                    <a:pt x="173" y="9"/>
                    <a:pt x="174" y="7"/>
                    <a:pt x="175" y="7"/>
                  </a:cubicBezTo>
                  <a:cubicBezTo>
                    <a:pt x="177" y="7"/>
                    <a:pt x="177" y="9"/>
                    <a:pt x="177" y="11"/>
                  </a:cubicBezTo>
                  <a:cubicBezTo>
                    <a:pt x="177" y="14"/>
                    <a:pt x="177" y="16"/>
                    <a:pt x="175" y="16"/>
                  </a:cubicBezTo>
                  <a:cubicBezTo>
                    <a:pt x="174" y="16"/>
                    <a:pt x="173" y="14"/>
                    <a:pt x="173" y="11"/>
                  </a:cubicBezTo>
                  <a:moveTo>
                    <a:pt x="158" y="18"/>
                  </a:moveTo>
                  <a:cubicBezTo>
                    <a:pt x="161" y="18"/>
                    <a:pt x="161" y="18"/>
                    <a:pt x="161" y="18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61" y="8"/>
                    <a:pt x="162" y="7"/>
                    <a:pt x="163" y="7"/>
                  </a:cubicBezTo>
                  <a:cubicBezTo>
                    <a:pt x="164" y="7"/>
                    <a:pt x="165" y="8"/>
                    <a:pt x="165" y="9"/>
                  </a:cubicBezTo>
                  <a:cubicBezTo>
                    <a:pt x="165" y="18"/>
                    <a:pt x="165" y="18"/>
                    <a:pt x="165" y="18"/>
                  </a:cubicBezTo>
                  <a:cubicBezTo>
                    <a:pt x="168" y="18"/>
                    <a:pt x="168" y="18"/>
                    <a:pt x="168" y="18"/>
                  </a:cubicBezTo>
                  <a:cubicBezTo>
                    <a:pt x="168" y="8"/>
                    <a:pt x="168" y="8"/>
                    <a:pt x="168" y="8"/>
                  </a:cubicBezTo>
                  <a:cubicBezTo>
                    <a:pt x="168" y="6"/>
                    <a:pt x="167" y="4"/>
                    <a:pt x="165" y="4"/>
                  </a:cubicBezTo>
                  <a:cubicBezTo>
                    <a:pt x="163" y="4"/>
                    <a:pt x="162" y="5"/>
                    <a:pt x="161" y="6"/>
                  </a:cubicBezTo>
                  <a:cubicBezTo>
                    <a:pt x="161" y="6"/>
                    <a:pt x="161" y="6"/>
                    <a:pt x="161" y="6"/>
                  </a:cubicBezTo>
                  <a:cubicBezTo>
                    <a:pt x="161" y="5"/>
                    <a:pt x="161" y="5"/>
                    <a:pt x="161" y="5"/>
                  </a:cubicBezTo>
                  <a:cubicBezTo>
                    <a:pt x="158" y="5"/>
                    <a:pt x="158" y="5"/>
                    <a:pt x="158" y="5"/>
                  </a:cubicBezTo>
                  <a:lnTo>
                    <a:pt x="158" y="18"/>
                  </a:lnTo>
                  <a:close/>
                  <a:moveTo>
                    <a:pt x="155" y="0"/>
                  </a:moveTo>
                  <a:cubicBezTo>
                    <a:pt x="152" y="0"/>
                    <a:pt x="152" y="0"/>
                    <a:pt x="152" y="0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5" y="18"/>
                    <a:pt x="155" y="18"/>
                    <a:pt x="155" y="18"/>
                  </a:cubicBezTo>
                  <a:lnTo>
                    <a:pt x="155" y="0"/>
                  </a:lnTo>
                  <a:close/>
                  <a:moveTo>
                    <a:pt x="138" y="18"/>
                  </a:moveTo>
                  <a:cubicBezTo>
                    <a:pt x="142" y="18"/>
                    <a:pt x="142" y="18"/>
                    <a:pt x="142" y="18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2" y="5"/>
                    <a:pt x="142" y="5"/>
                    <a:pt x="142" y="5"/>
                  </a:cubicBezTo>
                  <a:cubicBezTo>
                    <a:pt x="142" y="4"/>
                    <a:pt x="142" y="4"/>
                    <a:pt x="142" y="4"/>
                  </a:cubicBezTo>
                  <a:cubicBezTo>
                    <a:pt x="142" y="3"/>
                    <a:pt x="142" y="3"/>
                    <a:pt x="143" y="3"/>
                  </a:cubicBezTo>
                  <a:cubicBezTo>
                    <a:pt x="144" y="3"/>
                    <a:pt x="144" y="3"/>
                    <a:pt x="144" y="3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3" y="0"/>
                    <a:pt x="143" y="0"/>
                    <a:pt x="142" y="0"/>
                  </a:cubicBezTo>
                  <a:cubicBezTo>
                    <a:pt x="140" y="0"/>
                    <a:pt x="138" y="1"/>
                    <a:pt x="138" y="3"/>
                  </a:cubicBezTo>
                  <a:cubicBezTo>
                    <a:pt x="138" y="5"/>
                    <a:pt x="138" y="5"/>
                    <a:pt x="138" y="5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8" y="7"/>
                    <a:pt x="138" y="7"/>
                    <a:pt x="138" y="7"/>
                  </a:cubicBezTo>
                  <a:lnTo>
                    <a:pt x="138" y="18"/>
                  </a:lnTo>
                  <a:close/>
                  <a:moveTo>
                    <a:pt x="129" y="11"/>
                  </a:moveTo>
                  <a:cubicBezTo>
                    <a:pt x="129" y="9"/>
                    <a:pt x="129" y="7"/>
                    <a:pt x="131" y="7"/>
                  </a:cubicBezTo>
                  <a:cubicBezTo>
                    <a:pt x="132" y="7"/>
                    <a:pt x="132" y="8"/>
                    <a:pt x="132" y="11"/>
                  </a:cubicBezTo>
                  <a:cubicBezTo>
                    <a:pt x="132" y="15"/>
                    <a:pt x="132" y="16"/>
                    <a:pt x="131" y="16"/>
                  </a:cubicBezTo>
                  <a:cubicBezTo>
                    <a:pt x="129" y="16"/>
                    <a:pt x="129" y="14"/>
                    <a:pt x="129" y="11"/>
                  </a:cubicBezTo>
                  <a:moveTo>
                    <a:pt x="125" y="11"/>
                  </a:moveTo>
                  <a:cubicBezTo>
                    <a:pt x="125" y="16"/>
                    <a:pt x="127" y="19"/>
                    <a:pt x="131" y="18"/>
                  </a:cubicBezTo>
                  <a:cubicBezTo>
                    <a:pt x="135" y="18"/>
                    <a:pt x="136" y="16"/>
                    <a:pt x="136" y="11"/>
                  </a:cubicBezTo>
                  <a:cubicBezTo>
                    <a:pt x="136" y="7"/>
                    <a:pt x="135" y="4"/>
                    <a:pt x="131" y="4"/>
                  </a:cubicBezTo>
                  <a:cubicBezTo>
                    <a:pt x="127" y="4"/>
                    <a:pt x="125" y="7"/>
                    <a:pt x="125" y="11"/>
                  </a:cubicBezTo>
                  <a:moveTo>
                    <a:pt x="113" y="5"/>
                  </a:moveTo>
                  <a:cubicBezTo>
                    <a:pt x="111" y="5"/>
                    <a:pt x="111" y="5"/>
                    <a:pt x="111" y="5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3" y="7"/>
                    <a:pt x="113" y="7"/>
                    <a:pt x="113" y="7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13" y="17"/>
                    <a:pt x="113" y="18"/>
                    <a:pt x="116" y="18"/>
                  </a:cubicBezTo>
                  <a:cubicBezTo>
                    <a:pt x="117" y="18"/>
                    <a:pt x="117" y="18"/>
                    <a:pt x="118" y="18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116" y="16"/>
                    <a:pt x="116" y="15"/>
                    <a:pt x="116" y="14"/>
                  </a:cubicBezTo>
                  <a:cubicBezTo>
                    <a:pt x="116" y="7"/>
                    <a:pt x="116" y="7"/>
                    <a:pt x="116" y="7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3" y="1"/>
                    <a:pt x="113" y="1"/>
                    <a:pt x="113" y="1"/>
                  </a:cubicBezTo>
                  <a:lnTo>
                    <a:pt x="113" y="5"/>
                  </a:lnTo>
                  <a:close/>
                  <a:moveTo>
                    <a:pt x="100" y="18"/>
                  </a:moveTo>
                  <a:cubicBezTo>
                    <a:pt x="103" y="18"/>
                    <a:pt x="103" y="18"/>
                    <a:pt x="103" y="18"/>
                  </a:cubicBezTo>
                  <a:cubicBezTo>
                    <a:pt x="103" y="9"/>
                    <a:pt x="103" y="9"/>
                    <a:pt x="103" y="9"/>
                  </a:cubicBezTo>
                  <a:cubicBezTo>
                    <a:pt x="103" y="8"/>
                    <a:pt x="104" y="7"/>
                    <a:pt x="105" y="7"/>
                  </a:cubicBezTo>
                  <a:cubicBezTo>
                    <a:pt x="106" y="7"/>
                    <a:pt x="106" y="8"/>
                    <a:pt x="106" y="9"/>
                  </a:cubicBezTo>
                  <a:cubicBezTo>
                    <a:pt x="106" y="18"/>
                    <a:pt x="106" y="18"/>
                    <a:pt x="106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6"/>
                    <a:pt x="108" y="4"/>
                    <a:pt x="106" y="4"/>
                  </a:cubicBezTo>
                  <a:cubicBezTo>
                    <a:pt x="105" y="4"/>
                    <a:pt x="104" y="5"/>
                    <a:pt x="103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5"/>
                    <a:pt x="103" y="5"/>
                    <a:pt x="103" y="5"/>
                  </a:cubicBezTo>
                  <a:cubicBezTo>
                    <a:pt x="100" y="5"/>
                    <a:pt x="100" y="5"/>
                    <a:pt x="100" y="5"/>
                  </a:cubicBezTo>
                  <a:lnTo>
                    <a:pt x="100" y="18"/>
                  </a:lnTo>
                  <a:close/>
                  <a:moveTo>
                    <a:pt x="91" y="10"/>
                  </a:moveTo>
                  <a:cubicBezTo>
                    <a:pt x="91" y="9"/>
                    <a:pt x="91" y="9"/>
                    <a:pt x="91" y="9"/>
                  </a:cubicBezTo>
                  <a:cubicBezTo>
                    <a:pt x="91" y="8"/>
                    <a:pt x="91" y="7"/>
                    <a:pt x="93" y="7"/>
                  </a:cubicBezTo>
                  <a:cubicBezTo>
                    <a:pt x="94" y="7"/>
                    <a:pt x="94" y="8"/>
                    <a:pt x="94" y="10"/>
                  </a:cubicBezTo>
                  <a:lnTo>
                    <a:pt x="91" y="10"/>
                  </a:lnTo>
                  <a:close/>
                  <a:moveTo>
                    <a:pt x="98" y="12"/>
                  </a:moveTo>
                  <a:cubicBezTo>
                    <a:pt x="98" y="11"/>
                    <a:pt x="98" y="11"/>
                    <a:pt x="98" y="11"/>
                  </a:cubicBezTo>
                  <a:cubicBezTo>
                    <a:pt x="98" y="7"/>
                    <a:pt x="97" y="4"/>
                    <a:pt x="93" y="4"/>
                  </a:cubicBezTo>
                  <a:cubicBezTo>
                    <a:pt x="88" y="4"/>
                    <a:pt x="88" y="8"/>
                    <a:pt x="88" y="11"/>
                  </a:cubicBezTo>
                  <a:cubicBezTo>
                    <a:pt x="88" y="15"/>
                    <a:pt x="88" y="18"/>
                    <a:pt x="93" y="18"/>
                  </a:cubicBezTo>
                  <a:cubicBezTo>
                    <a:pt x="96" y="18"/>
                    <a:pt x="97" y="17"/>
                    <a:pt x="98" y="14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4" y="15"/>
                    <a:pt x="94" y="16"/>
                    <a:pt x="93" y="16"/>
                  </a:cubicBezTo>
                  <a:cubicBezTo>
                    <a:pt x="91" y="16"/>
                    <a:pt x="91" y="15"/>
                    <a:pt x="91" y="13"/>
                  </a:cubicBezTo>
                  <a:cubicBezTo>
                    <a:pt x="91" y="12"/>
                    <a:pt x="91" y="12"/>
                    <a:pt x="91" y="12"/>
                  </a:cubicBezTo>
                  <a:lnTo>
                    <a:pt x="98" y="12"/>
                  </a:lnTo>
                  <a:close/>
                  <a:moveTo>
                    <a:pt x="69" y="18"/>
                  </a:moveTo>
                  <a:cubicBezTo>
                    <a:pt x="73" y="18"/>
                    <a:pt x="73" y="18"/>
                    <a:pt x="73" y="18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8"/>
                    <a:pt x="73" y="7"/>
                    <a:pt x="74" y="7"/>
                  </a:cubicBezTo>
                  <a:cubicBezTo>
                    <a:pt x="75" y="7"/>
                    <a:pt x="76" y="8"/>
                    <a:pt x="76" y="9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8"/>
                    <a:pt x="80" y="7"/>
                    <a:pt x="81" y="7"/>
                  </a:cubicBezTo>
                  <a:cubicBezTo>
                    <a:pt x="82" y="7"/>
                    <a:pt x="82" y="8"/>
                    <a:pt x="82" y="9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6"/>
                    <a:pt x="85" y="4"/>
                    <a:pt x="82" y="4"/>
                  </a:cubicBezTo>
                  <a:cubicBezTo>
                    <a:pt x="81" y="4"/>
                    <a:pt x="80" y="5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5"/>
                    <a:pt x="78" y="4"/>
                    <a:pt x="76" y="4"/>
                  </a:cubicBezTo>
                  <a:cubicBezTo>
                    <a:pt x="75" y="4"/>
                    <a:pt x="73" y="5"/>
                    <a:pt x="7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69" y="5"/>
                    <a:pt x="69" y="5"/>
                    <a:pt x="69" y="5"/>
                  </a:cubicBezTo>
                  <a:lnTo>
                    <a:pt x="69" y="18"/>
                  </a:lnTo>
                  <a:close/>
                  <a:moveTo>
                    <a:pt x="57" y="18"/>
                  </a:moveTo>
                  <a:cubicBezTo>
                    <a:pt x="60" y="18"/>
                    <a:pt x="60" y="18"/>
                    <a:pt x="60" y="18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8"/>
                    <a:pt x="61" y="7"/>
                    <a:pt x="62" y="7"/>
                  </a:cubicBezTo>
                  <a:cubicBezTo>
                    <a:pt x="63" y="7"/>
                    <a:pt x="64" y="8"/>
                    <a:pt x="64" y="9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8"/>
                    <a:pt x="67" y="8"/>
                    <a:pt x="67" y="8"/>
                  </a:cubicBezTo>
                  <a:cubicBezTo>
                    <a:pt x="67" y="6"/>
                    <a:pt x="66" y="4"/>
                    <a:pt x="64" y="4"/>
                  </a:cubicBezTo>
                  <a:cubicBezTo>
                    <a:pt x="62" y="4"/>
                    <a:pt x="61" y="5"/>
                    <a:pt x="60" y="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57" y="5"/>
                    <a:pt x="57" y="5"/>
                    <a:pt x="57" y="5"/>
                  </a:cubicBezTo>
                  <a:lnTo>
                    <a:pt x="57" y="18"/>
                  </a:lnTo>
                  <a:close/>
                  <a:moveTo>
                    <a:pt x="49" y="18"/>
                  </a:moveTo>
                  <a:cubicBezTo>
                    <a:pt x="52" y="18"/>
                    <a:pt x="52" y="18"/>
                    <a:pt x="52" y="18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2" y="8"/>
                    <a:pt x="53" y="8"/>
                    <a:pt x="55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4" y="4"/>
                    <a:pt x="53" y="5"/>
                    <a:pt x="52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49" y="5"/>
                    <a:pt x="49" y="5"/>
                    <a:pt x="49" y="5"/>
                  </a:cubicBezTo>
                  <a:lnTo>
                    <a:pt x="49" y="18"/>
                  </a:lnTo>
                  <a:close/>
                  <a:moveTo>
                    <a:pt x="40" y="10"/>
                  </a:moveTo>
                  <a:cubicBezTo>
                    <a:pt x="40" y="9"/>
                    <a:pt x="40" y="9"/>
                    <a:pt x="40" y="9"/>
                  </a:cubicBezTo>
                  <a:cubicBezTo>
                    <a:pt x="40" y="8"/>
                    <a:pt x="40" y="7"/>
                    <a:pt x="42" y="7"/>
                  </a:cubicBezTo>
                  <a:cubicBezTo>
                    <a:pt x="43" y="7"/>
                    <a:pt x="44" y="8"/>
                    <a:pt x="44" y="10"/>
                  </a:cubicBezTo>
                  <a:lnTo>
                    <a:pt x="40" y="10"/>
                  </a:lnTo>
                  <a:close/>
                  <a:moveTo>
                    <a:pt x="47" y="12"/>
                  </a:moveTo>
                  <a:cubicBezTo>
                    <a:pt x="47" y="11"/>
                    <a:pt x="47" y="11"/>
                    <a:pt x="47" y="11"/>
                  </a:cubicBezTo>
                  <a:cubicBezTo>
                    <a:pt x="47" y="7"/>
                    <a:pt x="46" y="4"/>
                    <a:pt x="42" y="4"/>
                  </a:cubicBezTo>
                  <a:cubicBezTo>
                    <a:pt x="37" y="4"/>
                    <a:pt x="37" y="8"/>
                    <a:pt x="37" y="11"/>
                  </a:cubicBezTo>
                  <a:cubicBezTo>
                    <a:pt x="37" y="15"/>
                    <a:pt x="37" y="18"/>
                    <a:pt x="42" y="18"/>
                  </a:cubicBezTo>
                  <a:cubicBezTo>
                    <a:pt x="45" y="18"/>
                    <a:pt x="47" y="17"/>
                    <a:pt x="47" y="14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3" y="15"/>
                    <a:pt x="43" y="16"/>
                    <a:pt x="42" y="16"/>
                  </a:cubicBezTo>
                  <a:cubicBezTo>
                    <a:pt x="41" y="16"/>
                    <a:pt x="40" y="15"/>
                    <a:pt x="40" y="13"/>
                  </a:cubicBezTo>
                  <a:cubicBezTo>
                    <a:pt x="40" y="12"/>
                    <a:pt x="40" y="12"/>
                    <a:pt x="40" y="12"/>
                  </a:cubicBezTo>
                  <a:lnTo>
                    <a:pt x="47" y="12"/>
                  </a:lnTo>
                  <a:close/>
                  <a:moveTo>
                    <a:pt x="31" y="14"/>
                  </a:moveTo>
                  <a:cubicBezTo>
                    <a:pt x="31" y="14"/>
                    <a:pt x="31" y="14"/>
                    <a:pt x="31" y="1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2" y="5"/>
                    <a:pt x="32" y="5"/>
                    <a:pt x="32" y="5"/>
                  </a:cubicBezTo>
                  <a:lnTo>
                    <a:pt x="31" y="14"/>
                  </a:lnTo>
                  <a:close/>
                  <a:moveTo>
                    <a:pt x="17" y="11"/>
                  </a:moveTo>
                  <a:cubicBezTo>
                    <a:pt x="17" y="9"/>
                    <a:pt x="17" y="7"/>
                    <a:pt x="19" y="7"/>
                  </a:cubicBezTo>
                  <a:cubicBezTo>
                    <a:pt x="20" y="7"/>
                    <a:pt x="21" y="8"/>
                    <a:pt x="21" y="11"/>
                  </a:cubicBezTo>
                  <a:cubicBezTo>
                    <a:pt x="21" y="15"/>
                    <a:pt x="20" y="16"/>
                    <a:pt x="19" y="16"/>
                  </a:cubicBezTo>
                  <a:cubicBezTo>
                    <a:pt x="17" y="16"/>
                    <a:pt x="17" y="14"/>
                    <a:pt x="17" y="11"/>
                  </a:cubicBezTo>
                  <a:moveTo>
                    <a:pt x="14" y="11"/>
                  </a:moveTo>
                  <a:cubicBezTo>
                    <a:pt x="14" y="16"/>
                    <a:pt x="15" y="19"/>
                    <a:pt x="19" y="18"/>
                  </a:cubicBezTo>
                  <a:cubicBezTo>
                    <a:pt x="23" y="18"/>
                    <a:pt x="24" y="16"/>
                    <a:pt x="24" y="11"/>
                  </a:cubicBezTo>
                  <a:cubicBezTo>
                    <a:pt x="24" y="7"/>
                    <a:pt x="23" y="4"/>
                    <a:pt x="19" y="4"/>
                  </a:cubicBezTo>
                  <a:cubicBezTo>
                    <a:pt x="15" y="4"/>
                    <a:pt x="14" y="7"/>
                    <a:pt x="14" y="11"/>
                  </a:cubicBezTo>
                  <a:moveTo>
                    <a:pt x="12" y="6"/>
                  </a:moveTo>
                  <a:cubicBezTo>
                    <a:pt x="12" y="2"/>
                    <a:pt x="10" y="0"/>
                    <a:pt x="6" y="0"/>
                  </a:cubicBezTo>
                  <a:cubicBezTo>
                    <a:pt x="2" y="0"/>
                    <a:pt x="0" y="3"/>
                    <a:pt x="0" y="9"/>
                  </a:cubicBezTo>
                  <a:cubicBezTo>
                    <a:pt x="0" y="15"/>
                    <a:pt x="1" y="18"/>
                    <a:pt x="6" y="18"/>
                  </a:cubicBezTo>
                  <a:cubicBezTo>
                    <a:pt x="7" y="18"/>
                    <a:pt x="9" y="18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5"/>
                    <a:pt x="7" y="16"/>
                    <a:pt x="6" y="16"/>
                  </a:cubicBezTo>
                  <a:cubicBezTo>
                    <a:pt x="4" y="16"/>
                    <a:pt x="4" y="13"/>
                    <a:pt x="4" y="9"/>
                  </a:cubicBezTo>
                  <a:cubicBezTo>
                    <a:pt x="4" y="4"/>
                    <a:pt x="5" y="3"/>
                    <a:pt x="6" y="3"/>
                  </a:cubicBezTo>
                  <a:cubicBezTo>
                    <a:pt x="8" y="3"/>
                    <a:pt x="8" y="4"/>
                    <a:pt x="8" y="6"/>
                  </a:cubicBezTo>
                  <a:lnTo>
                    <a:pt x="1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12" name="Freeform 10685"/>
            <p:cNvSpPr>
              <a:spLocks noEditPoints="1"/>
            </p:cNvSpPr>
            <p:nvPr/>
          </p:nvSpPr>
          <p:spPr bwMode="auto">
            <a:xfrm>
              <a:off x="10133157" y="3683001"/>
              <a:ext cx="806450" cy="87313"/>
            </a:xfrm>
            <a:custGeom>
              <a:avLst/>
              <a:gdLst>
                <a:gd name="T0" fmla="*/ 215 w 215"/>
                <a:gd name="T1" fmla="*/ 18 h 23"/>
                <a:gd name="T2" fmla="*/ 209 w 215"/>
                <a:gd name="T3" fmla="*/ 9 h 23"/>
                <a:gd name="T4" fmla="*/ 209 w 215"/>
                <a:gd name="T5" fmla="*/ 6 h 23"/>
                <a:gd name="T6" fmla="*/ 211 w 215"/>
                <a:gd name="T7" fmla="*/ 18 h 23"/>
                <a:gd name="T8" fmla="*/ 203 w 215"/>
                <a:gd name="T9" fmla="*/ 17 h 23"/>
                <a:gd name="T10" fmla="*/ 201 w 215"/>
                <a:gd name="T11" fmla="*/ 10 h 23"/>
                <a:gd name="T12" fmla="*/ 198 w 215"/>
                <a:gd name="T13" fmla="*/ 8 h 23"/>
                <a:gd name="T14" fmla="*/ 194 w 215"/>
                <a:gd name="T15" fmla="*/ 23 h 23"/>
                <a:gd name="T16" fmla="*/ 186 w 215"/>
                <a:gd name="T17" fmla="*/ 0 h 23"/>
                <a:gd name="T18" fmla="*/ 191 w 215"/>
                <a:gd name="T19" fmla="*/ 6 h 23"/>
                <a:gd name="T20" fmla="*/ 176 w 215"/>
                <a:gd name="T21" fmla="*/ 20 h 23"/>
                <a:gd name="T22" fmla="*/ 179 w 215"/>
                <a:gd name="T23" fmla="*/ 18 h 23"/>
                <a:gd name="T24" fmla="*/ 179 w 215"/>
                <a:gd name="T25" fmla="*/ 11 h 23"/>
                <a:gd name="T26" fmla="*/ 175 w 215"/>
                <a:gd name="T27" fmla="*/ 23 h 23"/>
                <a:gd name="T28" fmla="*/ 184 w 215"/>
                <a:gd name="T29" fmla="*/ 23 h 23"/>
                <a:gd name="T30" fmla="*/ 171 w 215"/>
                <a:gd name="T31" fmla="*/ 11 h 23"/>
                <a:gd name="T32" fmla="*/ 167 w 215"/>
                <a:gd name="T33" fmla="*/ 23 h 23"/>
                <a:gd name="T34" fmla="*/ 167 w 215"/>
                <a:gd name="T35" fmla="*/ 6 h 23"/>
                <a:gd name="T36" fmla="*/ 170 w 215"/>
                <a:gd name="T37" fmla="*/ 0 h 23"/>
                <a:gd name="T38" fmla="*/ 161 w 215"/>
                <a:gd name="T39" fmla="*/ 6 h 23"/>
                <a:gd name="T40" fmla="*/ 154 w 215"/>
                <a:gd name="T41" fmla="*/ 23 h 23"/>
                <a:gd name="T42" fmla="*/ 161 w 215"/>
                <a:gd name="T43" fmla="*/ 6 h 23"/>
                <a:gd name="T44" fmla="*/ 161 w 215"/>
                <a:gd name="T45" fmla="*/ 3 h 23"/>
                <a:gd name="T46" fmla="*/ 154 w 215"/>
                <a:gd name="T47" fmla="*/ 6 h 23"/>
                <a:gd name="T48" fmla="*/ 154 w 215"/>
                <a:gd name="T49" fmla="*/ 23 h 23"/>
                <a:gd name="T50" fmla="*/ 141 w 215"/>
                <a:gd name="T51" fmla="*/ 14 h 23"/>
                <a:gd name="T52" fmla="*/ 140 w 215"/>
                <a:gd name="T53" fmla="*/ 18 h 23"/>
                <a:gd name="T54" fmla="*/ 146 w 215"/>
                <a:gd name="T55" fmla="*/ 1 h 23"/>
                <a:gd name="T56" fmla="*/ 116 w 215"/>
                <a:gd name="T57" fmla="*/ 23 h 23"/>
                <a:gd name="T58" fmla="*/ 120 w 215"/>
                <a:gd name="T59" fmla="*/ 23 h 23"/>
                <a:gd name="T60" fmla="*/ 116 w 215"/>
                <a:gd name="T61" fmla="*/ 8 h 23"/>
                <a:gd name="T62" fmla="*/ 112 w 215"/>
                <a:gd name="T63" fmla="*/ 23 h 23"/>
                <a:gd name="T64" fmla="*/ 103 w 215"/>
                <a:gd name="T65" fmla="*/ 15 h 23"/>
                <a:gd name="T66" fmla="*/ 101 w 215"/>
                <a:gd name="T67" fmla="*/ 11 h 23"/>
                <a:gd name="T68" fmla="*/ 101 w 215"/>
                <a:gd name="T69" fmla="*/ 13 h 23"/>
                <a:gd name="T70" fmla="*/ 105 w 215"/>
                <a:gd name="T71" fmla="*/ 21 h 23"/>
                <a:gd name="T72" fmla="*/ 109 w 215"/>
                <a:gd name="T73" fmla="*/ 11 h 23"/>
                <a:gd name="T74" fmla="*/ 101 w 215"/>
                <a:gd name="T75" fmla="*/ 11 h 23"/>
                <a:gd name="T76" fmla="*/ 86 w 215"/>
                <a:gd name="T77" fmla="*/ 21 h 23"/>
                <a:gd name="T78" fmla="*/ 86 w 215"/>
                <a:gd name="T79" fmla="*/ 8 h 23"/>
                <a:gd name="T80" fmla="*/ 82 w 215"/>
                <a:gd name="T81" fmla="*/ 23 h 23"/>
                <a:gd name="T82" fmla="*/ 88 w 215"/>
                <a:gd name="T83" fmla="*/ 20 h 23"/>
                <a:gd name="T84" fmla="*/ 76 w 215"/>
                <a:gd name="T85" fmla="*/ 13 h 23"/>
                <a:gd name="T86" fmla="*/ 79 w 215"/>
                <a:gd name="T87" fmla="*/ 6 h 23"/>
                <a:gd name="T88" fmla="*/ 71 w 215"/>
                <a:gd name="T89" fmla="*/ 6 h 23"/>
                <a:gd name="T90" fmla="*/ 61 w 215"/>
                <a:gd name="T91" fmla="*/ 23 h 23"/>
                <a:gd name="T92" fmla="*/ 64 w 215"/>
                <a:gd name="T93" fmla="*/ 16 h 23"/>
                <a:gd name="T94" fmla="*/ 54 w 215"/>
                <a:gd name="T95" fmla="*/ 1 h 23"/>
                <a:gd name="T96" fmla="*/ 39 w 215"/>
                <a:gd name="T97" fmla="*/ 1 h 23"/>
                <a:gd name="T98" fmla="*/ 31 w 215"/>
                <a:gd name="T99" fmla="*/ 14 h 23"/>
                <a:gd name="T100" fmla="*/ 39 w 215"/>
                <a:gd name="T101" fmla="*/ 23 h 23"/>
                <a:gd name="T102" fmla="*/ 37 w 215"/>
                <a:gd name="T103" fmla="*/ 20 h 23"/>
                <a:gd name="T104" fmla="*/ 20 w 215"/>
                <a:gd name="T105" fmla="*/ 12 h 23"/>
                <a:gd name="T106" fmla="*/ 28 w 215"/>
                <a:gd name="T107" fmla="*/ 23 h 23"/>
                <a:gd name="T108" fmla="*/ 20 w 215"/>
                <a:gd name="T109" fmla="*/ 8 h 23"/>
                <a:gd name="T110" fmla="*/ 8 w 215"/>
                <a:gd name="T111" fmla="*/ 18 h 23"/>
                <a:gd name="T112" fmla="*/ 8 w 215"/>
                <a:gd name="T113" fmla="*/ 14 h 23"/>
                <a:gd name="T114" fmla="*/ 6 w 215"/>
                <a:gd name="T115" fmla="*/ 9 h 23"/>
                <a:gd name="T116" fmla="*/ 0 w 215"/>
                <a:gd name="T117" fmla="*/ 18 h 23"/>
                <a:gd name="T118" fmla="*/ 9 w 215"/>
                <a:gd name="T119" fmla="*/ 23 h 23"/>
                <a:gd name="T120" fmla="*/ 6 w 215"/>
                <a:gd name="T121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5" h="23">
                  <a:moveTo>
                    <a:pt x="203" y="17"/>
                  </a:moveTo>
                  <a:cubicBezTo>
                    <a:pt x="203" y="18"/>
                    <a:pt x="203" y="18"/>
                    <a:pt x="203" y="18"/>
                  </a:cubicBezTo>
                  <a:cubicBezTo>
                    <a:pt x="203" y="21"/>
                    <a:pt x="204" y="23"/>
                    <a:pt x="209" y="23"/>
                  </a:cubicBezTo>
                  <a:cubicBezTo>
                    <a:pt x="213" y="23"/>
                    <a:pt x="215" y="21"/>
                    <a:pt x="215" y="18"/>
                  </a:cubicBezTo>
                  <a:cubicBezTo>
                    <a:pt x="215" y="15"/>
                    <a:pt x="214" y="14"/>
                    <a:pt x="212" y="13"/>
                  </a:cubicBezTo>
                  <a:cubicBezTo>
                    <a:pt x="209" y="12"/>
                    <a:pt x="209" y="12"/>
                    <a:pt x="209" y="12"/>
                  </a:cubicBezTo>
                  <a:cubicBezTo>
                    <a:pt x="208" y="12"/>
                    <a:pt x="207" y="11"/>
                    <a:pt x="207" y="10"/>
                  </a:cubicBezTo>
                  <a:cubicBezTo>
                    <a:pt x="207" y="9"/>
                    <a:pt x="208" y="9"/>
                    <a:pt x="209" y="9"/>
                  </a:cubicBezTo>
                  <a:cubicBezTo>
                    <a:pt x="211" y="9"/>
                    <a:pt x="211" y="9"/>
                    <a:pt x="211" y="11"/>
                  </a:cubicBezTo>
                  <a:cubicBezTo>
                    <a:pt x="215" y="11"/>
                    <a:pt x="215" y="11"/>
                    <a:pt x="215" y="11"/>
                  </a:cubicBezTo>
                  <a:cubicBezTo>
                    <a:pt x="215" y="10"/>
                    <a:pt x="215" y="10"/>
                    <a:pt x="215" y="10"/>
                  </a:cubicBezTo>
                  <a:cubicBezTo>
                    <a:pt x="215" y="7"/>
                    <a:pt x="213" y="6"/>
                    <a:pt x="209" y="6"/>
                  </a:cubicBezTo>
                  <a:cubicBezTo>
                    <a:pt x="205" y="6"/>
                    <a:pt x="203" y="8"/>
                    <a:pt x="203" y="11"/>
                  </a:cubicBezTo>
                  <a:cubicBezTo>
                    <a:pt x="203" y="13"/>
                    <a:pt x="204" y="14"/>
                    <a:pt x="207" y="15"/>
                  </a:cubicBezTo>
                  <a:cubicBezTo>
                    <a:pt x="210" y="16"/>
                    <a:pt x="210" y="16"/>
                    <a:pt x="210" y="16"/>
                  </a:cubicBezTo>
                  <a:cubicBezTo>
                    <a:pt x="211" y="17"/>
                    <a:pt x="211" y="17"/>
                    <a:pt x="211" y="18"/>
                  </a:cubicBezTo>
                  <a:cubicBezTo>
                    <a:pt x="211" y="20"/>
                    <a:pt x="210" y="20"/>
                    <a:pt x="209" y="20"/>
                  </a:cubicBezTo>
                  <a:cubicBezTo>
                    <a:pt x="208" y="20"/>
                    <a:pt x="207" y="19"/>
                    <a:pt x="207" y="18"/>
                  </a:cubicBezTo>
                  <a:cubicBezTo>
                    <a:pt x="207" y="17"/>
                    <a:pt x="207" y="17"/>
                    <a:pt x="207" y="17"/>
                  </a:cubicBezTo>
                  <a:lnTo>
                    <a:pt x="203" y="17"/>
                  </a:lnTo>
                  <a:close/>
                  <a:moveTo>
                    <a:pt x="194" y="23"/>
                  </a:moveTo>
                  <a:cubicBezTo>
                    <a:pt x="198" y="23"/>
                    <a:pt x="198" y="23"/>
                    <a:pt x="198" y="23"/>
                  </a:cubicBezTo>
                  <a:cubicBezTo>
                    <a:pt x="198" y="13"/>
                    <a:pt x="198" y="13"/>
                    <a:pt x="198" y="13"/>
                  </a:cubicBezTo>
                  <a:cubicBezTo>
                    <a:pt x="198" y="10"/>
                    <a:pt x="199" y="10"/>
                    <a:pt x="201" y="10"/>
                  </a:cubicBezTo>
                  <a:cubicBezTo>
                    <a:pt x="201" y="10"/>
                    <a:pt x="202" y="10"/>
                    <a:pt x="202" y="10"/>
                  </a:cubicBezTo>
                  <a:cubicBezTo>
                    <a:pt x="202" y="6"/>
                    <a:pt x="202" y="6"/>
                    <a:pt x="202" y="6"/>
                  </a:cubicBezTo>
                  <a:cubicBezTo>
                    <a:pt x="202" y="6"/>
                    <a:pt x="202" y="6"/>
                    <a:pt x="202" y="6"/>
                  </a:cubicBezTo>
                  <a:cubicBezTo>
                    <a:pt x="200" y="6"/>
                    <a:pt x="199" y="7"/>
                    <a:pt x="198" y="8"/>
                  </a:cubicBezTo>
                  <a:cubicBezTo>
                    <a:pt x="198" y="8"/>
                    <a:pt x="198" y="8"/>
                    <a:pt x="198" y="8"/>
                  </a:cubicBezTo>
                  <a:cubicBezTo>
                    <a:pt x="198" y="6"/>
                    <a:pt x="198" y="6"/>
                    <a:pt x="198" y="6"/>
                  </a:cubicBezTo>
                  <a:cubicBezTo>
                    <a:pt x="194" y="6"/>
                    <a:pt x="194" y="6"/>
                    <a:pt x="194" y="6"/>
                  </a:cubicBezTo>
                  <a:lnTo>
                    <a:pt x="194" y="23"/>
                  </a:lnTo>
                  <a:close/>
                  <a:moveTo>
                    <a:pt x="186" y="4"/>
                  </a:moveTo>
                  <a:cubicBezTo>
                    <a:pt x="191" y="4"/>
                    <a:pt x="191" y="4"/>
                    <a:pt x="191" y="4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86" y="0"/>
                    <a:pt x="186" y="0"/>
                    <a:pt x="186" y="0"/>
                  </a:cubicBezTo>
                  <a:lnTo>
                    <a:pt x="186" y="4"/>
                  </a:lnTo>
                  <a:close/>
                  <a:moveTo>
                    <a:pt x="186" y="23"/>
                  </a:moveTo>
                  <a:cubicBezTo>
                    <a:pt x="191" y="23"/>
                    <a:pt x="191" y="23"/>
                    <a:pt x="191" y="23"/>
                  </a:cubicBezTo>
                  <a:cubicBezTo>
                    <a:pt x="191" y="6"/>
                    <a:pt x="191" y="6"/>
                    <a:pt x="191" y="6"/>
                  </a:cubicBezTo>
                  <a:cubicBezTo>
                    <a:pt x="186" y="6"/>
                    <a:pt x="186" y="6"/>
                    <a:pt x="186" y="6"/>
                  </a:cubicBezTo>
                  <a:lnTo>
                    <a:pt x="186" y="23"/>
                  </a:lnTo>
                  <a:close/>
                  <a:moveTo>
                    <a:pt x="179" y="18"/>
                  </a:moveTo>
                  <a:cubicBezTo>
                    <a:pt x="179" y="19"/>
                    <a:pt x="177" y="20"/>
                    <a:pt x="176" y="20"/>
                  </a:cubicBezTo>
                  <a:cubicBezTo>
                    <a:pt x="175" y="20"/>
                    <a:pt x="175" y="19"/>
                    <a:pt x="175" y="18"/>
                  </a:cubicBezTo>
                  <a:cubicBezTo>
                    <a:pt x="175" y="16"/>
                    <a:pt x="175" y="16"/>
                    <a:pt x="177" y="15"/>
                  </a:cubicBezTo>
                  <a:cubicBezTo>
                    <a:pt x="178" y="15"/>
                    <a:pt x="178" y="15"/>
                    <a:pt x="179" y="14"/>
                  </a:cubicBezTo>
                  <a:lnTo>
                    <a:pt x="179" y="18"/>
                  </a:lnTo>
                  <a:close/>
                  <a:moveTo>
                    <a:pt x="175" y="11"/>
                  </a:moveTo>
                  <a:cubicBezTo>
                    <a:pt x="175" y="11"/>
                    <a:pt x="175" y="11"/>
                    <a:pt x="175" y="11"/>
                  </a:cubicBezTo>
                  <a:cubicBezTo>
                    <a:pt x="175" y="9"/>
                    <a:pt x="176" y="9"/>
                    <a:pt x="177" y="9"/>
                  </a:cubicBezTo>
                  <a:cubicBezTo>
                    <a:pt x="178" y="9"/>
                    <a:pt x="179" y="9"/>
                    <a:pt x="179" y="11"/>
                  </a:cubicBezTo>
                  <a:cubicBezTo>
                    <a:pt x="179" y="12"/>
                    <a:pt x="179" y="12"/>
                    <a:pt x="177" y="13"/>
                  </a:cubicBezTo>
                  <a:cubicBezTo>
                    <a:pt x="175" y="13"/>
                    <a:pt x="175" y="13"/>
                    <a:pt x="175" y="13"/>
                  </a:cubicBezTo>
                  <a:cubicBezTo>
                    <a:pt x="172" y="14"/>
                    <a:pt x="171" y="15"/>
                    <a:pt x="171" y="18"/>
                  </a:cubicBezTo>
                  <a:cubicBezTo>
                    <a:pt x="171" y="21"/>
                    <a:pt x="172" y="23"/>
                    <a:pt x="175" y="23"/>
                  </a:cubicBezTo>
                  <a:cubicBezTo>
                    <a:pt x="177" y="23"/>
                    <a:pt x="178" y="23"/>
                    <a:pt x="179" y="21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79" y="22"/>
                    <a:pt x="179" y="22"/>
                    <a:pt x="179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3" y="22"/>
                    <a:pt x="183" y="21"/>
                    <a:pt x="183" y="19"/>
                  </a:cubicBezTo>
                  <a:cubicBezTo>
                    <a:pt x="183" y="11"/>
                    <a:pt x="183" y="11"/>
                    <a:pt x="183" y="11"/>
                  </a:cubicBezTo>
                  <a:cubicBezTo>
                    <a:pt x="183" y="8"/>
                    <a:pt x="182" y="6"/>
                    <a:pt x="177" y="6"/>
                  </a:cubicBezTo>
                  <a:cubicBezTo>
                    <a:pt x="174" y="6"/>
                    <a:pt x="171" y="7"/>
                    <a:pt x="171" y="11"/>
                  </a:cubicBezTo>
                  <a:cubicBezTo>
                    <a:pt x="171" y="11"/>
                    <a:pt x="171" y="11"/>
                    <a:pt x="171" y="11"/>
                  </a:cubicBezTo>
                  <a:lnTo>
                    <a:pt x="175" y="11"/>
                  </a:lnTo>
                  <a:close/>
                  <a:moveTo>
                    <a:pt x="163" y="23"/>
                  </a:moveTo>
                  <a:cubicBezTo>
                    <a:pt x="167" y="23"/>
                    <a:pt x="167" y="23"/>
                    <a:pt x="167" y="2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70" y="9"/>
                    <a:pt x="170" y="9"/>
                    <a:pt x="170" y="9"/>
                  </a:cubicBezTo>
                  <a:cubicBezTo>
                    <a:pt x="170" y="6"/>
                    <a:pt x="170" y="6"/>
                    <a:pt x="170" y="6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7" y="5"/>
                    <a:pt x="167" y="5"/>
                    <a:pt x="167" y="5"/>
                  </a:cubicBezTo>
                  <a:cubicBezTo>
                    <a:pt x="167" y="4"/>
                    <a:pt x="168" y="3"/>
                    <a:pt x="169" y="3"/>
                  </a:cubicBezTo>
                  <a:cubicBezTo>
                    <a:pt x="170" y="3"/>
                    <a:pt x="170" y="3"/>
                    <a:pt x="170" y="3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169" y="0"/>
                    <a:pt x="168" y="0"/>
                    <a:pt x="167" y="0"/>
                  </a:cubicBezTo>
                  <a:cubicBezTo>
                    <a:pt x="165" y="0"/>
                    <a:pt x="163" y="1"/>
                    <a:pt x="163" y="4"/>
                  </a:cubicBezTo>
                  <a:cubicBezTo>
                    <a:pt x="163" y="6"/>
                    <a:pt x="163" y="6"/>
                    <a:pt x="163" y="6"/>
                  </a:cubicBezTo>
                  <a:cubicBezTo>
                    <a:pt x="161" y="6"/>
                    <a:pt x="161" y="6"/>
                    <a:pt x="161" y="6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63" y="9"/>
                    <a:pt x="163" y="9"/>
                    <a:pt x="163" y="9"/>
                  </a:cubicBezTo>
                  <a:lnTo>
                    <a:pt x="163" y="23"/>
                  </a:lnTo>
                  <a:close/>
                  <a:moveTo>
                    <a:pt x="154" y="23"/>
                  </a:moveTo>
                  <a:cubicBezTo>
                    <a:pt x="158" y="23"/>
                    <a:pt x="158" y="23"/>
                    <a:pt x="158" y="23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61" y="9"/>
                    <a:pt x="161" y="9"/>
                    <a:pt x="161" y="9"/>
                  </a:cubicBezTo>
                  <a:cubicBezTo>
                    <a:pt x="161" y="6"/>
                    <a:pt x="161" y="6"/>
                    <a:pt x="161" y="6"/>
                  </a:cubicBezTo>
                  <a:cubicBezTo>
                    <a:pt x="158" y="6"/>
                    <a:pt x="158" y="6"/>
                    <a:pt x="158" y="6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58" y="4"/>
                    <a:pt x="158" y="3"/>
                    <a:pt x="160" y="3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0" y="0"/>
                    <a:pt x="159" y="0"/>
                    <a:pt x="158" y="0"/>
                  </a:cubicBezTo>
                  <a:cubicBezTo>
                    <a:pt x="155" y="0"/>
                    <a:pt x="154" y="1"/>
                    <a:pt x="154" y="4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4" y="9"/>
                    <a:pt x="154" y="9"/>
                    <a:pt x="154" y="9"/>
                  </a:cubicBezTo>
                  <a:lnTo>
                    <a:pt x="154" y="23"/>
                  </a:lnTo>
                  <a:close/>
                  <a:moveTo>
                    <a:pt x="143" y="4"/>
                  </a:moveTo>
                  <a:cubicBezTo>
                    <a:pt x="143" y="4"/>
                    <a:pt x="143" y="4"/>
                    <a:pt x="143" y="4"/>
                  </a:cubicBezTo>
                  <a:cubicBezTo>
                    <a:pt x="145" y="14"/>
                    <a:pt x="145" y="14"/>
                    <a:pt x="145" y="14"/>
                  </a:cubicBezTo>
                  <a:cubicBezTo>
                    <a:pt x="141" y="14"/>
                    <a:pt x="141" y="14"/>
                    <a:pt x="141" y="14"/>
                  </a:cubicBezTo>
                  <a:lnTo>
                    <a:pt x="143" y="4"/>
                  </a:lnTo>
                  <a:close/>
                  <a:moveTo>
                    <a:pt x="134" y="23"/>
                  </a:moveTo>
                  <a:cubicBezTo>
                    <a:pt x="139" y="23"/>
                    <a:pt x="139" y="23"/>
                    <a:pt x="139" y="23"/>
                  </a:cubicBezTo>
                  <a:cubicBezTo>
                    <a:pt x="140" y="18"/>
                    <a:pt x="140" y="18"/>
                    <a:pt x="140" y="18"/>
                  </a:cubicBezTo>
                  <a:cubicBezTo>
                    <a:pt x="146" y="18"/>
                    <a:pt x="146" y="18"/>
                    <a:pt x="146" y="18"/>
                  </a:cubicBezTo>
                  <a:cubicBezTo>
                    <a:pt x="147" y="23"/>
                    <a:pt x="147" y="23"/>
                    <a:pt x="147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46" y="1"/>
                    <a:pt x="146" y="1"/>
                    <a:pt x="146" y="1"/>
                  </a:cubicBezTo>
                  <a:cubicBezTo>
                    <a:pt x="140" y="1"/>
                    <a:pt x="140" y="1"/>
                    <a:pt x="140" y="1"/>
                  </a:cubicBezTo>
                  <a:lnTo>
                    <a:pt x="134" y="23"/>
                  </a:lnTo>
                  <a:close/>
                  <a:moveTo>
                    <a:pt x="112" y="23"/>
                  </a:moveTo>
                  <a:cubicBezTo>
                    <a:pt x="116" y="23"/>
                    <a:pt x="116" y="23"/>
                    <a:pt x="116" y="23"/>
                  </a:cubicBezTo>
                  <a:cubicBezTo>
                    <a:pt x="116" y="12"/>
                    <a:pt x="116" y="12"/>
                    <a:pt x="116" y="12"/>
                  </a:cubicBezTo>
                  <a:cubicBezTo>
                    <a:pt x="116" y="10"/>
                    <a:pt x="117" y="9"/>
                    <a:pt x="118" y="9"/>
                  </a:cubicBezTo>
                  <a:cubicBezTo>
                    <a:pt x="120" y="9"/>
                    <a:pt x="120" y="10"/>
                    <a:pt x="120" y="11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7"/>
                    <a:pt x="123" y="6"/>
                    <a:pt x="120" y="6"/>
                  </a:cubicBezTo>
                  <a:cubicBezTo>
                    <a:pt x="119" y="6"/>
                    <a:pt x="117" y="6"/>
                    <a:pt x="116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2" y="6"/>
                    <a:pt x="112" y="6"/>
                    <a:pt x="112" y="6"/>
                  </a:cubicBezTo>
                  <a:lnTo>
                    <a:pt x="112" y="23"/>
                  </a:lnTo>
                  <a:close/>
                  <a:moveTo>
                    <a:pt x="105" y="18"/>
                  </a:moveTo>
                  <a:cubicBezTo>
                    <a:pt x="105" y="19"/>
                    <a:pt x="103" y="20"/>
                    <a:pt x="102" y="20"/>
                  </a:cubicBezTo>
                  <a:cubicBezTo>
                    <a:pt x="101" y="20"/>
                    <a:pt x="101" y="19"/>
                    <a:pt x="101" y="18"/>
                  </a:cubicBezTo>
                  <a:cubicBezTo>
                    <a:pt x="101" y="16"/>
                    <a:pt x="101" y="16"/>
                    <a:pt x="103" y="15"/>
                  </a:cubicBezTo>
                  <a:cubicBezTo>
                    <a:pt x="104" y="15"/>
                    <a:pt x="104" y="15"/>
                    <a:pt x="105" y="14"/>
                  </a:cubicBezTo>
                  <a:lnTo>
                    <a:pt x="105" y="18"/>
                  </a:lnTo>
                  <a:close/>
                  <a:moveTo>
                    <a:pt x="101" y="11"/>
                  </a:moveTo>
                  <a:cubicBezTo>
                    <a:pt x="101" y="11"/>
                    <a:pt x="101" y="11"/>
                    <a:pt x="101" y="11"/>
                  </a:cubicBezTo>
                  <a:cubicBezTo>
                    <a:pt x="101" y="9"/>
                    <a:pt x="102" y="9"/>
                    <a:pt x="103" y="9"/>
                  </a:cubicBezTo>
                  <a:cubicBezTo>
                    <a:pt x="104" y="9"/>
                    <a:pt x="105" y="9"/>
                    <a:pt x="105" y="11"/>
                  </a:cubicBezTo>
                  <a:cubicBezTo>
                    <a:pt x="105" y="12"/>
                    <a:pt x="104" y="12"/>
                    <a:pt x="103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98" y="14"/>
                    <a:pt x="96" y="15"/>
                    <a:pt x="96" y="18"/>
                  </a:cubicBezTo>
                  <a:cubicBezTo>
                    <a:pt x="96" y="21"/>
                    <a:pt x="98" y="23"/>
                    <a:pt x="101" y="23"/>
                  </a:cubicBezTo>
                  <a:cubicBezTo>
                    <a:pt x="103" y="23"/>
                    <a:pt x="104" y="23"/>
                    <a:pt x="105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5" y="22"/>
                    <a:pt x="105" y="22"/>
                    <a:pt x="105" y="23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09" y="22"/>
                    <a:pt x="109" y="21"/>
                    <a:pt x="109" y="19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09" y="8"/>
                    <a:pt x="108" y="6"/>
                    <a:pt x="103" y="6"/>
                  </a:cubicBezTo>
                  <a:cubicBezTo>
                    <a:pt x="100" y="6"/>
                    <a:pt x="97" y="7"/>
                    <a:pt x="97" y="11"/>
                  </a:cubicBezTo>
                  <a:cubicBezTo>
                    <a:pt x="97" y="11"/>
                    <a:pt x="97" y="11"/>
                    <a:pt x="97" y="11"/>
                  </a:cubicBezTo>
                  <a:lnTo>
                    <a:pt x="101" y="11"/>
                  </a:lnTo>
                  <a:close/>
                  <a:moveTo>
                    <a:pt x="82" y="23"/>
                  </a:moveTo>
                  <a:cubicBezTo>
                    <a:pt x="86" y="23"/>
                    <a:pt x="86" y="23"/>
                    <a:pt x="86" y="23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6" y="21"/>
                    <a:pt x="86" y="21"/>
                    <a:pt x="86" y="21"/>
                  </a:cubicBezTo>
                  <a:cubicBezTo>
                    <a:pt x="87" y="22"/>
                    <a:pt x="88" y="23"/>
                    <a:pt x="89" y="23"/>
                  </a:cubicBezTo>
                  <a:cubicBezTo>
                    <a:pt x="93" y="23"/>
                    <a:pt x="95" y="21"/>
                    <a:pt x="95" y="14"/>
                  </a:cubicBezTo>
                  <a:cubicBezTo>
                    <a:pt x="95" y="8"/>
                    <a:pt x="93" y="6"/>
                    <a:pt x="89" y="6"/>
                  </a:cubicBezTo>
                  <a:cubicBezTo>
                    <a:pt x="88" y="6"/>
                    <a:pt x="87" y="6"/>
                    <a:pt x="86" y="8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82" y="1"/>
                    <a:pt x="82" y="1"/>
                    <a:pt x="82" y="1"/>
                  </a:cubicBezTo>
                  <a:lnTo>
                    <a:pt x="82" y="23"/>
                  </a:lnTo>
                  <a:close/>
                  <a:moveTo>
                    <a:pt x="86" y="14"/>
                  </a:moveTo>
                  <a:cubicBezTo>
                    <a:pt x="86" y="11"/>
                    <a:pt x="86" y="9"/>
                    <a:pt x="88" y="9"/>
                  </a:cubicBezTo>
                  <a:cubicBezTo>
                    <a:pt x="90" y="9"/>
                    <a:pt x="90" y="11"/>
                    <a:pt x="90" y="14"/>
                  </a:cubicBezTo>
                  <a:cubicBezTo>
                    <a:pt x="90" y="18"/>
                    <a:pt x="90" y="20"/>
                    <a:pt x="88" y="20"/>
                  </a:cubicBezTo>
                  <a:cubicBezTo>
                    <a:pt x="86" y="20"/>
                    <a:pt x="86" y="18"/>
                    <a:pt x="86" y="14"/>
                  </a:cubicBezTo>
                  <a:moveTo>
                    <a:pt x="71" y="23"/>
                  </a:moveTo>
                  <a:cubicBezTo>
                    <a:pt x="76" y="23"/>
                    <a:pt x="76" y="23"/>
                    <a:pt x="76" y="2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0"/>
                    <a:pt x="77" y="10"/>
                    <a:pt x="79" y="10"/>
                  </a:cubicBezTo>
                  <a:cubicBezTo>
                    <a:pt x="79" y="10"/>
                    <a:pt x="80" y="10"/>
                    <a:pt x="80" y="10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7" y="6"/>
                    <a:pt x="76" y="7"/>
                    <a:pt x="75" y="8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1" y="6"/>
                    <a:pt x="71" y="6"/>
                    <a:pt x="71" y="6"/>
                  </a:cubicBezTo>
                  <a:lnTo>
                    <a:pt x="71" y="23"/>
                  </a:lnTo>
                  <a:close/>
                  <a:moveTo>
                    <a:pt x="54" y="1"/>
                  </a:moveTo>
                  <a:cubicBezTo>
                    <a:pt x="54" y="16"/>
                    <a:pt x="54" y="16"/>
                    <a:pt x="54" y="16"/>
                  </a:cubicBezTo>
                  <a:cubicBezTo>
                    <a:pt x="54" y="22"/>
                    <a:pt x="58" y="23"/>
                    <a:pt x="61" y="23"/>
                  </a:cubicBezTo>
                  <a:cubicBezTo>
                    <a:pt x="65" y="23"/>
                    <a:pt x="69" y="22"/>
                    <a:pt x="69" y="16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18"/>
                    <a:pt x="64" y="20"/>
                    <a:pt x="61" y="20"/>
                  </a:cubicBezTo>
                  <a:cubicBezTo>
                    <a:pt x="59" y="20"/>
                    <a:pt x="59" y="18"/>
                    <a:pt x="59" y="16"/>
                  </a:cubicBezTo>
                  <a:cubicBezTo>
                    <a:pt x="59" y="1"/>
                    <a:pt x="59" y="1"/>
                    <a:pt x="59" y="1"/>
                  </a:cubicBezTo>
                  <a:lnTo>
                    <a:pt x="54" y="1"/>
                  </a:lnTo>
                  <a:close/>
                  <a:moveTo>
                    <a:pt x="39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8" y="6"/>
                    <a:pt x="37" y="6"/>
                    <a:pt x="36" y="6"/>
                  </a:cubicBezTo>
                  <a:cubicBezTo>
                    <a:pt x="32" y="6"/>
                    <a:pt x="31" y="8"/>
                    <a:pt x="31" y="14"/>
                  </a:cubicBezTo>
                  <a:cubicBezTo>
                    <a:pt x="31" y="21"/>
                    <a:pt x="32" y="23"/>
                    <a:pt x="36" y="23"/>
                  </a:cubicBezTo>
                  <a:cubicBezTo>
                    <a:pt x="37" y="23"/>
                    <a:pt x="38" y="22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lnTo>
                    <a:pt x="39" y="23"/>
                  </a:lnTo>
                  <a:close/>
                  <a:moveTo>
                    <a:pt x="35" y="14"/>
                  </a:moveTo>
                  <a:cubicBezTo>
                    <a:pt x="35" y="11"/>
                    <a:pt x="35" y="9"/>
                    <a:pt x="37" y="9"/>
                  </a:cubicBezTo>
                  <a:cubicBezTo>
                    <a:pt x="39" y="9"/>
                    <a:pt x="39" y="11"/>
                    <a:pt x="39" y="14"/>
                  </a:cubicBezTo>
                  <a:cubicBezTo>
                    <a:pt x="39" y="18"/>
                    <a:pt x="39" y="20"/>
                    <a:pt x="37" y="20"/>
                  </a:cubicBezTo>
                  <a:cubicBezTo>
                    <a:pt x="35" y="20"/>
                    <a:pt x="35" y="18"/>
                    <a:pt x="35" y="14"/>
                  </a:cubicBezTo>
                  <a:moveTo>
                    <a:pt x="15" y="23"/>
                  </a:moveTo>
                  <a:cubicBezTo>
                    <a:pt x="20" y="23"/>
                    <a:pt x="20" y="23"/>
                    <a:pt x="20" y="2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0"/>
                    <a:pt x="21" y="9"/>
                    <a:pt x="22" y="9"/>
                  </a:cubicBezTo>
                  <a:cubicBezTo>
                    <a:pt x="23" y="9"/>
                    <a:pt x="24" y="10"/>
                    <a:pt x="24" y="11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7"/>
                    <a:pt x="26" y="6"/>
                    <a:pt x="24" y="6"/>
                  </a:cubicBezTo>
                  <a:cubicBezTo>
                    <a:pt x="22" y="6"/>
                    <a:pt x="20" y="6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5" y="6"/>
                    <a:pt x="15" y="6"/>
                    <a:pt x="15" y="6"/>
                  </a:cubicBezTo>
                  <a:lnTo>
                    <a:pt x="15" y="23"/>
                  </a:lnTo>
                  <a:close/>
                  <a:moveTo>
                    <a:pt x="8" y="18"/>
                  </a:moveTo>
                  <a:cubicBezTo>
                    <a:pt x="8" y="19"/>
                    <a:pt x="7" y="20"/>
                    <a:pt x="6" y="20"/>
                  </a:cubicBezTo>
                  <a:cubicBezTo>
                    <a:pt x="5" y="20"/>
                    <a:pt x="4" y="19"/>
                    <a:pt x="4" y="18"/>
                  </a:cubicBezTo>
                  <a:cubicBezTo>
                    <a:pt x="4" y="16"/>
                    <a:pt x="5" y="16"/>
                    <a:pt x="6" y="15"/>
                  </a:cubicBezTo>
                  <a:cubicBezTo>
                    <a:pt x="7" y="15"/>
                    <a:pt x="8" y="15"/>
                    <a:pt x="8" y="14"/>
                  </a:cubicBezTo>
                  <a:lnTo>
                    <a:pt x="8" y="18"/>
                  </a:lnTo>
                  <a:close/>
                  <a:moveTo>
                    <a:pt x="4" y="11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4" y="9"/>
                    <a:pt x="5" y="9"/>
                    <a:pt x="6" y="9"/>
                  </a:cubicBezTo>
                  <a:cubicBezTo>
                    <a:pt x="8" y="9"/>
                    <a:pt x="8" y="9"/>
                    <a:pt x="8" y="11"/>
                  </a:cubicBezTo>
                  <a:cubicBezTo>
                    <a:pt x="8" y="12"/>
                    <a:pt x="8" y="12"/>
                    <a:pt x="7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4"/>
                    <a:pt x="0" y="15"/>
                    <a:pt x="0" y="18"/>
                  </a:cubicBezTo>
                  <a:cubicBezTo>
                    <a:pt x="0" y="21"/>
                    <a:pt x="1" y="23"/>
                    <a:pt x="4" y="23"/>
                  </a:cubicBezTo>
                  <a:cubicBezTo>
                    <a:pt x="6" y="23"/>
                    <a:pt x="7" y="23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2"/>
                    <a:pt x="9" y="22"/>
                    <a:pt x="9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2"/>
                    <a:pt x="12" y="21"/>
                    <a:pt x="12" y="19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8"/>
                    <a:pt x="11" y="6"/>
                    <a:pt x="6" y="6"/>
                  </a:cubicBezTo>
                  <a:cubicBezTo>
                    <a:pt x="3" y="6"/>
                    <a:pt x="0" y="7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13" name="Freeform 10686"/>
            <p:cNvSpPr>
              <a:spLocks noEditPoints="1"/>
            </p:cNvSpPr>
            <p:nvPr/>
          </p:nvSpPr>
          <p:spPr bwMode="auto">
            <a:xfrm>
              <a:off x="9217170" y="3683001"/>
              <a:ext cx="889000" cy="106363"/>
            </a:xfrm>
            <a:custGeom>
              <a:avLst/>
              <a:gdLst>
                <a:gd name="T0" fmla="*/ 230 w 237"/>
                <a:gd name="T1" fmla="*/ 19 h 28"/>
                <a:gd name="T2" fmla="*/ 233 w 237"/>
                <a:gd name="T3" fmla="*/ 8 h 28"/>
                <a:gd name="T4" fmla="*/ 233 w 237"/>
                <a:gd name="T5" fmla="*/ 20 h 28"/>
                <a:gd name="T6" fmla="*/ 229 w 237"/>
                <a:gd name="T7" fmla="*/ 25 h 28"/>
                <a:gd name="T8" fmla="*/ 237 w 237"/>
                <a:gd name="T9" fmla="*/ 22 h 28"/>
                <a:gd name="T10" fmla="*/ 213 w 237"/>
                <a:gd name="T11" fmla="*/ 23 h 28"/>
                <a:gd name="T12" fmla="*/ 217 w 237"/>
                <a:gd name="T13" fmla="*/ 23 h 28"/>
                <a:gd name="T14" fmla="*/ 213 w 237"/>
                <a:gd name="T15" fmla="*/ 8 h 28"/>
                <a:gd name="T16" fmla="*/ 209 w 237"/>
                <a:gd name="T17" fmla="*/ 23 h 28"/>
                <a:gd name="T18" fmla="*/ 202 w 237"/>
                <a:gd name="T19" fmla="*/ 0 h 28"/>
                <a:gd name="T20" fmla="*/ 206 w 237"/>
                <a:gd name="T21" fmla="*/ 6 h 28"/>
                <a:gd name="T22" fmla="*/ 187 w 237"/>
                <a:gd name="T23" fmla="*/ 18 h 28"/>
                <a:gd name="T24" fmla="*/ 193 w 237"/>
                <a:gd name="T25" fmla="*/ 12 h 28"/>
                <a:gd name="T26" fmla="*/ 199 w 237"/>
                <a:gd name="T27" fmla="*/ 11 h 28"/>
                <a:gd name="T28" fmla="*/ 191 w 237"/>
                <a:gd name="T29" fmla="*/ 15 h 28"/>
                <a:gd name="T30" fmla="*/ 191 w 237"/>
                <a:gd name="T31" fmla="*/ 18 h 28"/>
                <a:gd name="T32" fmla="*/ 185 w 237"/>
                <a:gd name="T33" fmla="*/ 23 h 28"/>
                <a:gd name="T34" fmla="*/ 178 w 237"/>
                <a:gd name="T35" fmla="*/ 20 h 28"/>
                <a:gd name="T36" fmla="*/ 172 w 237"/>
                <a:gd name="T37" fmla="*/ 18 h 28"/>
                <a:gd name="T38" fmla="*/ 181 w 237"/>
                <a:gd name="T39" fmla="*/ 23 h 28"/>
                <a:gd name="T40" fmla="*/ 163 w 237"/>
                <a:gd name="T41" fmla="*/ 20 h 28"/>
                <a:gd name="T42" fmla="*/ 170 w 237"/>
                <a:gd name="T43" fmla="*/ 14 h 28"/>
                <a:gd name="T44" fmla="*/ 145 w 237"/>
                <a:gd name="T45" fmla="*/ 23 h 28"/>
                <a:gd name="T46" fmla="*/ 154 w 237"/>
                <a:gd name="T47" fmla="*/ 23 h 28"/>
                <a:gd name="T48" fmla="*/ 145 w 237"/>
                <a:gd name="T49" fmla="*/ 9 h 28"/>
                <a:gd name="T50" fmla="*/ 124 w 237"/>
                <a:gd name="T51" fmla="*/ 23 h 28"/>
                <a:gd name="T52" fmla="*/ 130 w 237"/>
                <a:gd name="T53" fmla="*/ 6 h 28"/>
                <a:gd name="T54" fmla="*/ 130 w 237"/>
                <a:gd name="T55" fmla="*/ 3 h 28"/>
                <a:gd name="T56" fmla="*/ 124 w 237"/>
                <a:gd name="T57" fmla="*/ 6 h 28"/>
                <a:gd name="T58" fmla="*/ 124 w 237"/>
                <a:gd name="T59" fmla="*/ 23 h 28"/>
                <a:gd name="T60" fmla="*/ 114 w 237"/>
                <a:gd name="T61" fmla="*/ 20 h 28"/>
                <a:gd name="T62" fmla="*/ 120 w 237"/>
                <a:gd name="T63" fmla="*/ 14 h 28"/>
                <a:gd name="T64" fmla="*/ 88 w 237"/>
                <a:gd name="T65" fmla="*/ 28 h 28"/>
                <a:gd name="T66" fmla="*/ 92 w 237"/>
                <a:gd name="T67" fmla="*/ 18 h 28"/>
                <a:gd name="T68" fmla="*/ 89 w 237"/>
                <a:gd name="T69" fmla="*/ 23 h 28"/>
                <a:gd name="T70" fmla="*/ 76 w 237"/>
                <a:gd name="T71" fmla="*/ 23 h 28"/>
                <a:gd name="T72" fmla="*/ 84 w 237"/>
                <a:gd name="T73" fmla="*/ 10 h 28"/>
                <a:gd name="T74" fmla="*/ 80 w 237"/>
                <a:gd name="T75" fmla="*/ 8 h 28"/>
                <a:gd name="T76" fmla="*/ 67 w 237"/>
                <a:gd name="T77" fmla="*/ 6 h 28"/>
                <a:gd name="T78" fmla="*/ 67 w 237"/>
                <a:gd name="T79" fmla="*/ 18 h 28"/>
                <a:gd name="T80" fmla="*/ 73 w 237"/>
                <a:gd name="T81" fmla="*/ 20 h 28"/>
                <a:gd name="T82" fmla="*/ 74 w 237"/>
                <a:gd name="T83" fmla="*/ 6 h 28"/>
                <a:gd name="T84" fmla="*/ 67 w 237"/>
                <a:gd name="T85" fmla="*/ 6 h 28"/>
                <a:gd name="T86" fmla="*/ 64 w 237"/>
                <a:gd name="T87" fmla="*/ 18 h 28"/>
                <a:gd name="T88" fmla="*/ 58 w 237"/>
                <a:gd name="T89" fmla="*/ 9 h 28"/>
                <a:gd name="T90" fmla="*/ 58 w 237"/>
                <a:gd name="T91" fmla="*/ 6 h 28"/>
                <a:gd name="T92" fmla="*/ 60 w 237"/>
                <a:gd name="T93" fmla="*/ 18 h 28"/>
                <a:gd name="T94" fmla="*/ 52 w 237"/>
                <a:gd name="T95" fmla="*/ 17 h 28"/>
                <a:gd name="T96" fmla="*/ 45 w 237"/>
                <a:gd name="T97" fmla="*/ 0 h 28"/>
                <a:gd name="T98" fmla="*/ 50 w 237"/>
                <a:gd name="T99" fmla="*/ 6 h 28"/>
                <a:gd name="T100" fmla="*/ 34 w 237"/>
                <a:gd name="T101" fmla="*/ 23 h 28"/>
                <a:gd name="T102" fmla="*/ 38 w 237"/>
                <a:gd name="T103" fmla="*/ 23 h 28"/>
                <a:gd name="T104" fmla="*/ 34 w 237"/>
                <a:gd name="T105" fmla="*/ 8 h 28"/>
                <a:gd name="T106" fmla="*/ 30 w 237"/>
                <a:gd name="T107" fmla="*/ 23 h 28"/>
                <a:gd name="T108" fmla="*/ 22 w 237"/>
                <a:gd name="T109" fmla="*/ 0 h 28"/>
                <a:gd name="T110" fmla="*/ 27 w 237"/>
                <a:gd name="T111" fmla="*/ 6 h 28"/>
                <a:gd name="T112" fmla="*/ 4 w 237"/>
                <a:gd name="T113" fmla="*/ 23 h 28"/>
                <a:gd name="T114" fmla="*/ 11 w 237"/>
                <a:gd name="T115" fmla="*/ 23 h 28"/>
                <a:gd name="T116" fmla="*/ 19 w 237"/>
                <a:gd name="T117" fmla="*/ 23 h 28"/>
                <a:gd name="T118" fmla="*/ 9 w 237"/>
                <a:gd name="T11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7" h="28">
                  <a:moveTo>
                    <a:pt x="228" y="15"/>
                  </a:moveTo>
                  <a:cubicBezTo>
                    <a:pt x="228" y="10"/>
                    <a:pt x="229" y="9"/>
                    <a:pt x="230" y="9"/>
                  </a:cubicBezTo>
                  <a:cubicBezTo>
                    <a:pt x="232" y="9"/>
                    <a:pt x="233" y="10"/>
                    <a:pt x="233" y="14"/>
                  </a:cubicBezTo>
                  <a:cubicBezTo>
                    <a:pt x="233" y="17"/>
                    <a:pt x="232" y="19"/>
                    <a:pt x="230" y="19"/>
                  </a:cubicBezTo>
                  <a:cubicBezTo>
                    <a:pt x="229" y="19"/>
                    <a:pt x="228" y="17"/>
                    <a:pt x="228" y="15"/>
                  </a:cubicBezTo>
                  <a:moveTo>
                    <a:pt x="233" y="6"/>
                  </a:moveTo>
                  <a:cubicBezTo>
                    <a:pt x="233" y="8"/>
                    <a:pt x="233" y="8"/>
                    <a:pt x="233" y="8"/>
                  </a:cubicBezTo>
                  <a:cubicBezTo>
                    <a:pt x="233" y="8"/>
                    <a:pt x="233" y="8"/>
                    <a:pt x="233" y="8"/>
                  </a:cubicBezTo>
                  <a:cubicBezTo>
                    <a:pt x="232" y="6"/>
                    <a:pt x="230" y="6"/>
                    <a:pt x="229" y="6"/>
                  </a:cubicBezTo>
                  <a:cubicBezTo>
                    <a:pt x="225" y="6"/>
                    <a:pt x="224" y="10"/>
                    <a:pt x="224" y="14"/>
                  </a:cubicBezTo>
                  <a:cubicBezTo>
                    <a:pt x="224" y="20"/>
                    <a:pt x="226" y="23"/>
                    <a:pt x="229" y="23"/>
                  </a:cubicBezTo>
                  <a:cubicBezTo>
                    <a:pt x="230" y="23"/>
                    <a:pt x="232" y="22"/>
                    <a:pt x="233" y="20"/>
                  </a:cubicBezTo>
                  <a:cubicBezTo>
                    <a:pt x="233" y="20"/>
                    <a:pt x="233" y="20"/>
                    <a:pt x="233" y="20"/>
                  </a:cubicBezTo>
                  <a:cubicBezTo>
                    <a:pt x="233" y="23"/>
                    <a:pt x="233" y="23"/>
                    <a:pt x="233" y="23"/>
                  </a:cubicBezTo>
                  <a:cubicBezTo>
                    <a:pt x="233" y="24"/>
                    <a:pt x="232" y="26"/>
                    <a:pt x="230" y="26"/>
                  </a:cubicBezTo>
                  <a:cubicBezTo>
                    <a:pt x="230" y="26"/>
                    <a:pt x="229" y="25"/>
                    <a:pt x="229" y="25"/>
                  </a:cubicBezTo>
                  <a:cubicBezTo>
                    <a:pt x="229" y="25"/>
                    <a:pt x="228" y="24"/>
                    <a:pt x="228" y="24"/>
                  </a:cubicBezTo>
                  <a:cubicBezTo>
                    <a:pt x="224" y="24"/>
                    <a:pt x="224" y="24"/>
                    <a:pt x="224" y="24"/>
                  </a:cubicBezTo>
                  <a:cubicBezTo>
                    <a:pt x="224" y="27"/>
                    <a:pt x="226" y="28"/>
                    <a:pt x="230" y="28"/>
                  </a:cubicBezTo>
                  <a:cubicBezTo>
                    <a:pt x="235" y="28"/>
                    <a:pt x="237" y="26"/>
                    <a:pt x="237" y="22"/>
                  </a:cubicBezTo>
                  <a:cubicBezTo>
                    <a:pt x="237" y="6"/>
                    <a:pt x="237" y="6"/>
                    <a:pt x="237" y="6"/>
                  </a:cubicBezTo>
                  <a:lnTo>
                    <a:pt x="233" y="6"/>
                  </a:lnTo>
                  <a:close/>
                  <a:moveTo>
                    <a:pt x="209" y="23"/>
                  </a:moveTo>
                  <a:cubicBezTo>
                    <a:pt x="213" y="23"/>
                    <a:pt x="213" y="23"/>
                    <a:pt x="213" y="23"/>
                  </a:cubicBezTo>
                  <a:cubicBezTo>
                    <a:pt x="213" y="12"/>
                    <a:pt x="213" y="12"/>
                    <a:pt x="213" y="12"/>
                  </a:cubicBezTo>
                  <a:cubicBezTo>
                    <a:pt x="213" y="10"/>
                    <a:pt x="214" y="9"/>
                    <a:pt x="215" y="9"/>
                  </a:cubicBezTo>
                  <a:cubicBezTo>
                    <a:pt x="217" y="9"/>
                    <a:pt x="217" y="10"/>
                    <a:pt x="217" y="11"/>
                  </a:cubicBezTo>
                  <a:cubicBezTo>
                    <a:pt x="217" y="23"/>
                    <a:pt x="217" y="23"/>
                    <a:pt x="217" y="23"/>
                  </a:cubicBezTo>
                  <a:cubicBezTo>
                    <a:pt x="221" y="23"/>
                    <a:pt x="221" y="23"/>
                    <a:pt x="221" y="23"/>
                  </a:cubicBezTo>
                  <a:cubicBezTo>
                    <a:pt x="221" y="10"/>
                    <a:pt x="221" y="10"/>
                    <a:pt x="221" y="10"/>
                  </a:cubicBezTo>
                  <a:cubicBezTo>
                    <a:pt x="221" y="7"/>
                    <a:pt x="220" y="6"/>
                    <a:pt x="217" y="6"/>
                  </a:cubicBezTo>
                  <a:cubicBezTo>
                    <a:pt x="215" y="6"/>
                    <a:pt x="214" y="6"/>
                    <a:pt x="213" y="8"/>
                  </a:cubicBezTo>
                  <a:cubicBezTo>
                    <a:pt x="213" y="8"/>
                    <a:pt x="213" y="8"/>
                    <a:pt x="213" y="8"/>
                  </a:cubicBezTo>
                  <a:cubicBezTo>
                    <a:pt x="213" y="6"/>
                    <a:pt x="213" y="6"/>
                    <a:pt x="213" y="6"/>
                  </a:cubicBezTo>
                  <a:cubicBezTo>
                    <a:pt x="209" y="6"/>
                    <a:pt x="209" y="6"/>
                    <a:pt x="209" y="6"/>
                  </a:cubicBezTo>
                  <a:lnTo>
                    <a:pt x="209" y="23"/>
                  </a:lnTo>
                  <a:close/>
                  <a:moveTo>
                    <a:pt x="202" y="4"/>
                  </a:moveTo>
                  <a:cubicBezTo>
                    <a:pt x="206" y="4"/>
                    <a:pt x="206" y="4"/>
                    <a:pt x="206" y="4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02" y="0"/>
                    <a:pt x="202" y="0"/>
                    <a:pt x="202" y="0"/>
                  </a:cubicBezTo>
                  <a:lnTo>
                    <a:pt x="202" y="4"/>
                  </a:lnTo>
                  <a:close/>
                  <a:moveTo>
                    <a:pt x="202" y="23"/>
                  </a:moveTo>
                  <a:cubicBezTo>
                    <a:pt x="206" y="23"/>
                    <a:pt x="206" y="23"/>
                    <a:pt x="206" y="23"/>
                  </a:cubicBezTo>
                  <a:cubicBezTo>
                    <a:pt x="206" y="6"/>
                    <a:pt x="206" y="6"/>
                    <a:pt x="206" y="6"/>
                  </a:cubicBezTo>
                  <a:cubicBezTo>
                    <a:pt x="202" y="6"/>
                    <a:pt x="202" y="6"/>
                    <a:pt x="202" y="6"/>
                  </a:cubicBezTo>
                  <a:lnTo>
                    <a:pt x="202" y="23"/>
                  </a:lnTo>
                  <a:close/>
                  <a:moveTo>
                    <a:pt x="187" y="17"/>
                  </a:moveTo>
                  <a:cubicBezTo>
                    <a:pt x="187" y="18"/>
                    <a:pt x="187" y="18"/>
                    <a:pt x="187" y="18"/>
                  </a:cubicBezTo>
                  <a:cubicBezTo>
                    <a:pt x="187" y="21"/>
                    <a:pt x="188" y="23"/>
                    <a:pt x="193" y="23"/>
                  </a:cubicBezTo>
                  <a:cubicBezTo>
                    <a:pt x="197" y="23"/>
                    <a:pt x="199" y="21"/>
                    <a:pt x="199" y="18"/>
                  </a:cubicBezTo>
                  <a:cubicBezTo>
                    <a:pt x="199" y="15"/>
                    <a:pt x="198" y="14"/>
                    <a:pt x="196" y="13"/>
                  </a:cubicBezTo>
                  <a:cubicBezTo>
                    <a:pt x="193" y="12"/>
                    <a:pt x="193" y="12"/>
                    <a:pt x="193" y="12"/>
                  </a:cubicBezTo>
                  <a:cubicBezTo>
                    <a:pt x="192" y="12"/>
                    <a:pt x="191" y="11"/>
                    <a:pt x="191" y="10"/>
                  </a:cubicBezTo>
                  <a:cubicBezTo>
                    <a:pt x="191" y="9"/>
                    <a:pt x="192" y="9"/>
                    <a:pt x="193" y="9"/>
                  </a:cubicBezTo>
                  <a:cubicBezTo>
                    <a:pt x="195" y="9"/>
                    <a:pt x="195" y="9"/>
                    <a:pt x="195" y="11"/>
                  </a:cubicBezTo>
                  <a:cubicBezTo>
                    <a:pt x="199" y="11"/>
                    <a:pt x="199" y="11"/>
                    <a:pt x="199" y="11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9" y="7"/>
                    <a:pt x="197" y="6"/>
                    <a:pt x="193" y="6"/>
                  </a:cubicBezTo>
                  <a:cubicBezTo>
                    <a:pt x="189" y="6"/>
                    <a:pt x="187" y="8"/>
                    <a:pt x="187" y="11"/>
                  </a:cubicBezTo>
                  <a:cubicBezTo>
                    <a:pt x="187" y="13"/>
                    <a:pt x="188" y="14"/>
                    <a:pt x="191" y="15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7"/>
                    <a:pt x="195" y="17"/>
                    <a:pt x="195" y="18"/>
                  </a:cubicBezTo>
                  <a:cubicBezTo>
                    <a:pt x="195" y="20"/>
                    <a:pt x="194" y="20"/>
                    <a:pt x="193" y="20"/>
                  </a:cubicBezTo>
                  <a:cubicBezTo>
                    <a:pt x="192" y="20"/>
                    <a:pt x="191" y="19"/>
                    <a:pt x="191" y="18"/>
                  </a:cubicBezTo>
                  <a:cubicBezTo>
                    <a:pt x="191" y="17"/>
                    <a:pt x="191" y="17"/>
                    <a:pt x="191" y="17"/>
                  </a:cubicBezTo>
                  <a:lnTo>
                    <a:pt x="187" y="17"/>
                  </a:lnTo>
                  <a:close/>
                  <a:moveTo>
                    <a:pt x="181" y="23"/>
                  </a:moveTo>
                  <a:cubicBezTo>
                    <a:pt x="185" y="23"/>
                    <a:pt x="185" y="23"/>
                    <a:pt x="185" y="23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81" y="6"/>
                    <a:pt x="181" y="6"/>
                    <a:pt x="181" y="6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1" y="19"/>
                    <a:pt x="180" y="20"/>
                    <a:pt x="178" y="20"/>
                  </a:cubicBezTo>
                  <a:cubicBezTo>
                    <a:pt x="177" y="20"/>
                    <a:pt x="176" y="19"/>
                    <a:pt x="176" y="18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72" y="6"/>
                    <a:pt x="172" y="6"/>
                    <a:pt x="172" y="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72" y="22"/>
                    <a:pt x="174" y="23"/>
                    <a:pt x="176" y="23"/>
                  </a:cubicBezTo>
                  <a:cubicBezTo>
                    <a:pt x="178" y="23"/>
                    <a:pt x="180" y="22"/>
                    <a:pt x="181" y="21"/>
                  </a:cubicBezTo>
                  <a:cubicBezTo>
                    <a:pt x="181" y="21"/>
                    <a:pt x="181" y="21"/>
                    <a:pt x="181" y="21"/>
                  </a:cubicBezTo>
                  <a:lnTo>
                    <a:pt x="181" y="23"/>
                  </a:lnTo>
                  <a:close/>
                  <a:moveTo>
                    <a:pt x="161" y="14"/>
                  </a:moveTo>
                  <a:cubicBezTo>
                    <a:pt x="161" y="11"/>
                    <a:pt x="161" y="9"/>
                    <a:pt x="163" y="9"/>
                  </a:cubicBezTo>
                  <a:cubicBezTo>
                    <a:pt x="165" y="9"/>
                    <a:pt x="166" y="10"/>
                    <a:pt x="166" y="14"/>
                  </a:cubicBezTo>
                  <a:cubicBezTo>
                    <a:pt x="166" y="19"/>
                    <a:pt x="165" y="20"/>
                    <a:pt x="163" y="20"/>
                  </a:cubicBezTo>
                  <a:cubicBezTo>
                    <a:pt x="161" y="20"/>
                    <a:pt x="161" y="18"/>
                    <a:pt x="161" y="14"/>
                  </a:cubicBezTo>
                  <a:moveTo>
                    <a:pt x="157" y="14"/>
                  </a:moveTo>
                  <a:cubicBezTo>
                    <a:pt x="157" y="20"/>
                    <a:pt x="158" y="23"/>
                    <a:pt x="163" y="23"/>
                  </a:cubicBezTo>
                  <a:cubicBezTo>
                    <a:pt x="168" y="23"/>
                    <a:pt x="170" y="20"/>
                    <a:pt x="170" y="14"/>
                  </a:cubicBezTo>
                  <a:cubicBezTo>
                    <a:pt x="170" y="9"/>
                    <a:pt x="168" y="6"/>
                    <a:pt x="163" y="6"/>
                  </a:cubicBezTo>
                  <a:cubicBezTo>
                    <a:pt x="158" y="6"/>
                    <a:pt x="157" y="9"/>
                    <a:pt x="157" y="14"/>
                  </a:cubicBezTo>
                  <a:moveTo>
                    <a:pt x="140" y="23"/>
                  </a:moveTo>
                  <a:cubicBezTo>
                    <a:pt x="145" y="23"/>
                    <a:pt x="145" y="23"/>
                    <a:pt x="145" y="23"/>
                  </a:cubicBezTo>
                  <a:cubicBezTo>
                    <a:pt x="145" y="13"/>
                    <a:pt x="145" y="13"/>
                    <a:pt x="145" y="13"/>
                  </a:cubicBezTo>
                  <a:cubicBezTo>
                    <a:pt x="150" y="13"/>
                    <a:pt x="150" y="13"/>
                    <a:pt x="150" y="1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4" y="23"/>
                    <a:pt x="154" y="23"/>
                    <a:pt x="154" y="23"/>
                  </a:cubicBezTo>
                  <a:cubicBezTo>
                    <a:pt x="154" y="1"/>
                    <a:pt x="154" y="1"/>
                    <a:pt x="154" y="1"/>
                  </a:cubicBezTo>
                  <a:cubicBezTo>
                    <a:pt x="150" y="1"/>
                    <a:pt x="150" y="1"/>
                    <a:pt x="150" y="1"/>
                  </a:cubicBezTo>
                  <a:cubicBezTo>
                    <a:pt x="150" y="9"/>
                    <a:pt x="150" y="9"/>
                    <a:pt x="150" y="9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0" y="1"/>
                    <a:pt x="140" y="1"/>
                    <a:pt x="140" y="1"/>
                  </a:cubicBezTo>
                  <a:lnTo>
                    <a:pt x="140" y="23"/>
                  </a:lnTo>
                  <a:close/>
                  <a:moveTo>
                    <a:pt x="124" y="23"/>
                  </a:moveTo>
                  <a:cubicBezTo>
                    <a:pt x="128" y="23"/>
                    <a:pt x="128" y="23"/>
                    <a:pt x="128" y="23"/>
                  </a:cubicBezTo>
                  <a:cubicBezTo>
                    <a:pt x="128" y="9"/>
                    <a:pt x="128" y="9"/>
                    <a:pt x="128" y="9"/>
                  </a:cubicBezTo>
                  <a:cubicBezTo>
                    <a:pt x="130" y="9"/>
                    <a:pt x="130" y="9"/>
                    <a:pt x="130" y="9"/>
                  </a:cubicBezTo>
                  <a:cubicBezTo>
                    <a:pt x="130" y="6"/>
                    <a:pt x="130" y="6"/>
                    <a:pt x="130" y="6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8" y="5"/>
                    <a:pt x="128" y="5"/>
                    <a:pt x="128" y="5"/>
                  </a:cubicBezTo>
                  <a:cubicBezTo>
                    <a:pt x="128" y="4"/>
                    <a:pt x="128" y="3"/>
                    <a:pt x="130" y="3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30" y="0"/>
                    <a:pt x="129" y="0"/>
                    <a:pt x="128" y="0"/>
                  </a:cubicBezTo>
                  <a:cubicBezTo>
                    <a:pt x="125" y="0"/>
                    <a:pt x="124" y="1"/>
                    <a:pt x="124" y="4"/>
                  </a:cubicBezTo>
                  <a:cubicBezTo>
                    <a:pt x="124" y="6"/>
                    <a:pt x="124" y="6"/>
                    <a:pt x="124" y="6"/>
                  </a:cubicBezTo>
                  <a:cubicBezTo>
                    <a:pt x="121" y="6"/>
                    <a:pt x="121" y="6"/>
                    <a:pt x="121" y="6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4" y="9"/>
                    <a:pt x="124" y="9"/>
                    <a:pt x="124" y="9"/>
                  </a:cubicBezTo>
                  <a:lnTo>
                    <a:pt x="124" y="23"/>
                  </a:lnTo>
                  <a:close/>
                  <a:moveTo>
                    <a:pt x="112" y="14"/>
                  </a:moveTo>
                  <a:cubicBezTo>
                    <a:pt x="112" y="11"/>
                    <a:pt x="112" y="9"/>
                    <a:pt x="114" y="9"/>
                  </a:cubicBezTo>
                  <a:cubicBezTo>
                    <a:pt x="116" y="9"/>
                    <a:pt x="116" y="10"/>
                    <a:pt x="116" y="14"/>
                  </a:cubicBezTo>
                  <a:cubicBezTo>
                    <a:pt x="116" y="19"/>
                    <a:pt x="116" y="20"/>
                    <a:pt x="114" y="20"/>
                  </a:cubicBezTo>
                  <a:cubicBezTo>
                    <a:pt x="112" y="20"/>
                    <a:pt x="112" y="18"/>
                    <a:pt x="112" y="14"/>
                  </a:cubicBezTo>
                  <a:moveTo>
                    <a:pt x="107" y="14"/>
                  </a:moveTo>
                  <a:cubicBezTo>
                    <a:pt x="107" y="20"/>
                    <a:pt x="109" y="23"/>
                    <a:pt x="114" y="23"/>
                  </a:cubicBezTo>
                  <a:cubicBezTo>
                    <a:pt x="119" y="23"/>
                    <a:pt x="120" y="20"/>
                    <a:pt x="120" y="14"/>
                  </a:cubicBezTo>
                  <a:cubicBezTo>
                    <a:pt x="120" y="9"/>
                    <a:pt x="119" y="6"/>
                    <a:pt x="114" y="6"/>
                  </a:cubicBezTo>
                  <a:cubicBezTo>
                    <a:pt x="109" y="6"/>
                    <a:pt x="107" y="9"/>
                    <a:pt x="107" y="14"/>
                  </a:cubicBezTo>
                  <a:moveTo>
                    <a:pt x="86" y="28"/>
                  </a:moveTo>
                  <a:cubicBezTo>
                    <a:pt x="88" y="28"/>
                    <a:pt x="88" y="28"/>
                    <a:pt x="88" y="28"/>
                  </a:cubicBezTo>
                  <a:cubicBezTo>
                    <a:pt x="92" y="28"/>
                    <a:pt x="93" y="27"/>
                    <a:pt x="94" y="22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9" y="23"/>
                    <a:pt x="89" y="23"/>
                    <a:pt x="89" y="23"/>
                  </a:cubicBezTo>
                  <a:cubicBezTo>
                    <a:pt x="89" y="24"/>
                    <a:pt x="89" y="25"/>
                    <a:pt x="87" y="25"/>
                  </a:cubicBezTo>
                  <a:cubicBezTo>
                    <a:pt x="87" y="25"/>
                    <a:pt x="86" y="25"/>
                    <a:pt x="86" y="25"/>
                  </a:cubicBezTo>
                  <a:lnTo>
                    <a:pt x="86" y="28"/>
                  </a:lnTo>
                  <a:close/>
                  <a:moveTo>
                    <a:pt x="76" y="23"/>
                  </a:moveTo>
                  <a:cubicBezTo>
                    <a:pt x="80" y="23"/>
                    <a:pt x="80" y="23"/>
                    <a:pt x="80" y="2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0"/>
                    <a:pt x="82" y="10"/>
                    <a:pt x="83" y="10"/>
                  </a:cubicBezTo>
                  <a:cubicBezTo>
                    <a:pt x="83" y="10"/>
                    <a:pt x="84" y="10"/>
                    <a:pt x="84" y="10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82" y="6"/>
                    <a:pt x="81" y="7"/>
                    <a:pt x="80" y="8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76" y="6"/>
                    <a:pt x="76" y="6"/>
                    <a:pt x="76" y="6"/>
                  </a:cubicBezTo>
                  <a:lnTo>
                    <a:pt x="76" y="23"/>
                  </a:lnTo>
                  <a:close/>
                  <a:moveTo>
                    <a:pt x="67" y="6"/>
                  </a:moveTo>
                  <a:cubicBezTo>
                    <a:pt x="65" y="6"/>
                    <a:pt x="65" y="6"/>
                    <a:pt x="65" y="6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22"/>
                    <a:pt x="68" y="23"/>
                    <a:pt x="71" y="23"/>
                  </a:cubicBezTo>
                  <a:cubicBezTo>
                    <a:pt x="72" y="23"/>
                    <a:pt x="73" y="23"/>
                    <a:pt x="74" y="23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2" y="20"/>
                    <a:pt x="72" y="19"/>
                    <a:pt x="72" y="18"/>
                  </a:cubicBezTo>
                  <a:cubicBezTo>
                    <a:pt x="72" y="9"/>
                    <a:pt x="72" y="9"/>
                    <a:pt x="72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2" y="6"/>
                    <a:pt x="72" y="6"/>
                    <a:pt x="72" y="6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67" y="1"/>
                    <a:pt x="67" y="1"/>
                    <a:pt x="67" y="1"/>
                  </a:cubicBezTo>
                  <a:lnTo>
                    <a:pt x="67" y="6"/>
                  </a:lnTo>
                  <a:close/>
                  <a:moveTo>
                    <a:pt x="52" y="17"/>
                  </a:moveTo>
                  <a:cubicBezTo>
                    <a:pt x="52" y="18"/>
                    <a:pt x="52" y="18"/>
                    <a:pt x="52" y="18"/>
                  </a:cubicBezTo>
                  <a:cubicBezTo>
                    <a:pt x="52" y="21"/>
                    <a:pt x="53" y="23"/>
                    <a:pt x="58" y="23"/>
                  </a:cubicBezTo>
                  <a:cubicBezTo>
                    <a:pt x="62" y="23"/>
                    <a:pt x="64" y="21"/>
                    <a:pt x="64" y="18"/>
                  </a:cubicBezTo>
                  <a:cubicBezTo>
                    <a:pt x="64" y="15"/>
                    <a:pt x="63" y="14"/>
                    <a:pt x="61" y="13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7" y="12"/>
                    <a:pt x="56" y="11"/>
                    <a:pt x="56" y="10"/>
                  </a:cubicBezTo>
                  <a:cubicBezTo>
                    <a:pt x="56" y="9"/>
                    <a:pt x="57" y="9"/>
                    <a:pt x="58" y="9"/>
                  </a:cubicBezTo>
                  <a:cubicBezTo>
                    <a:pt x="60" y="9"/>
                    <a:pt x="60" y="9"/>
                    <a:pt x="60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7"/>
                    <a:pt x="62" y="6"/>
                    <a:pt x="58" y="6"/>
                  </a:cubicBezTo>
                  <a:cubicBezTo>
                    <a:pt x="54" y="6"/>
                    <a:pt x="52" y="8"/>
                    <a:pt x="52" y="11"/>
                  </a:cubicBezTo>
                  <a:cubicBezTo>
                    <a:pt x="52" y="13"/>
                    <a:pt x="53" y="14"/>
                    <a:pt x="56" y="15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7"/>
                    <a:pt x="60" y="17"/>
                    <a:pt x="60" y="18"/>
                  </a:cubicBezTo>
                  <a:cubicBezTo>
                    <a:pt x="60" y="20"/>
                    <a:pt x="59" y="20"/>
                    <a:pt x="58" y="20"/>
                  </a:cubicBezTo>
                  <a:cubicBezTo>
                    <a:pt x="57" y="20"/>
                    <a:pt x="56" y="19"/>
                    <a:pt x="56" y="18"/>
                  </a:cubicBezTo>
                  <a:cubicBezTo>
                    <a:pt x="56" y="17"/>
                    <a:pt x="56" y="17"/>
                    <a:pt x="56" y="17"/>
                  </a:cubicBezTo>
                  <a:lnTo>
                    <a:pt x="52" y="17"/>
                  </a:lnTo>
                  <a:close/>
                  <a:moveTo>
                    <a:pt x="45" y="4"/>
                  </a:moveTo>
                  <a:cubicBezTo>
                    <a:pt x="50" y="4"/>
                    <a:pt x="50" y="4"/>
                    <a:pt x="50" y="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45" y="0"/>
                    <a:pt x="45" y="0"/>
                    <a:pt x="45" y="0"/>
                  </a:cubicBezTo>
                  <a:lnTo>
                    <a:pt x="45" y="4"/>
                  </a:lnTo>
                  <a:close/>
                  <a:moveTo>
                    <a:pt x="45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45" y="6"/>
                    <a:pt x="45" y="6"/>
                    <a:pt x="45" y="6"/>
                  </a:cubicBezTo>
                  <a:lnTo>
                    <a:pt x="45" y="23"/>
                  </a:lnTo>
                  <a:close/>
                  <a:moveTo>
                    <a:pt x="30" y="23"/>
                  </a:moveTo>
                  <a:cubicBezTo>
                    <a:pt x="34" y="23"/>
                    <a:pt x="34" y="23"/>
                    <a:pt x="34" y="23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0"/>
                    <a:pt x="35" y="9"/>
                    <a:pt x="36" y="9"/>
                  </a:cubicBezTo>
                  <a:cubicBezTo>
                    <a:pt x="38" y="9"/>
                    <a:pt x="38" y="10"/>
                    <a:pt x="38" y="11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7"/>
                    <a:pt x="41" y="6"/>
                    <a:pt x="38" y="6"/>
                  </a:cubicBezTo>
                  <a:cubicBezTo>
                    <a:pt x="36" y="6"/>
                    <a:pt x="35" y="6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0" y="6"/>
                    <a:pt x="30" y="6"/>
                    <a:pt x="30" y="6"/>
                  </a:cubicBezTo>
                  <a:lnTo>
                    <a:pt x="30" y="23"/>
                  </a:lnTo>
                  <a:close/>
                  <a:moveTo>
                    <a:pt x="22" y="4"/>
                  </a:move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2" y="0"/>
                    <a:pt x="22" y="0"/>
                    <a:pt x="22" y="0"/>
                  </a:cubicBezTo>
                  <a:lnTo>
                    <a:pt x="22" y="4"/>
                  </a:lnTo>
                  <a:close/>
                  <a:moveTo>
                    <a:pt x="22" y="23"/>
                  </a:moveTo>
                  <a:cubicBezTo>
                    <a:pt x="27" y="23"/>
                    <a:pt x="27" y="23"/>
                    <a:pt x="27" y="23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2" y="6"/>
                    <a:pt x="22" y="6"/>
                    <a:pt x="22" y="6"/>
                  </a:cubicBezTo>
                  <a:lnTo>
                    <a:pt x="22" y="23"/>
                  </a:lnTo>
                  <a:close/>
                  <a:moveTo>
                    <a:pt x="0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0721" name="Group 50720"/>
          <p:cNvGrpSpPr/>
          <p:nvPr/>
        </p:nvGrpSpPr>
        <p:grpSpPr>
          <a:xfrm>
            <a:off x="2584472" y="1712625"/>
            <a:ext cx="537935" cy="552593"/>
            <a:chOff x="7616970" y="3240088"/>
            <a:chExt cx="582613" cy="598488"/>
          </a:xfrm>
        </p:grpSpPr>
        <p:sp>
          <p:nvSpPr>
            <p:cNvPr id="34222" name="Rectangle 10695"/>
            <p:cNvSpPr>
              <a:spLocks noChangeArrowheads="1"/>
            </p:cNvSpPr>
            <p:nvPr/>
          </p:nvSpPr>
          <p:spPr bwMode="auto">
            <a:xfrm>
              <a:off x="7826520" y="3368676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23" name="Rectangle 10696"/>
            <p:cNvSpPr>
              <a:spLocks noChangeArrowheads="1"/>
            </p:cNvSpPr>
            <p:nvPr/>
          </p:nvSpPr>
          <p:spPr bwMode="auto">
            <a:xfrm>
              <a:off x="8150370" y="3368676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24" name="Rectangle 10697"/>
            <p:cNvSpPr>
              <a:spLocks noChangeArrowheads="1"/>
            </p:cNvSpPr>
            <p:nvPr/>
          </p:nvSpPr>
          <p:spPr bwMode="auto">
            <a:xfrm>
              <a:off x="7988445" y="3402013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25" name="Rectangle 10698"/>
            <p:cNvSpPr>
              <a:spLocks noChangeArrowheads="1"/>
            </p:cNvSpPr>
            <p:nvPr/>
          </p:nvSpPr>
          <p:spPr bwMode="auto">
            <a:xfrm>
              <a:off x="7826520" y="3338513"/>
              <a:ext cx="26988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26" name="Rectangle 10699"/>
            <p:cNvSpPr>
              <a:spLocks noChangeArrowheads="1"/>
            </p:cNvSpPr>
            <p:nvPr/>
          </p:nvSpPr>
          <p:spPr bwMode="auto">
            <a:xfrm>
              <a:off x="8150370" y="3338513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27" name="Rectangle 10700"/>
            <p:cNvSpPr>
              <a:spLocks noChangeArrowheads="1"/>
            </p:cNvSpPr>
            <p:nvPr/>
          </p:nvSpPr>
          <p:spPr bwMode="auto">
            <a:xfrm>
              <a:off x="7988445" y="3368676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28" name="Rectangle 10701"/>
            <p:cNvSpPr>
              <a:spLocks noChangeArrowheads="1"/>
            </p:cNvSpPr>
            <p:nvPr/>
          </p:nvSpPr>
          <p:spPr bwMode="auto">
            <a:xfrm>
              <a:off x="7988445" y="3436938"/>
              <a:ext cx="26988" cy="22225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29" name="Rectangle 10702"/>
            <p:cNvSpPr>
              <a:spLocks noChangeArrowheads="1"/>
            </p:cNvSpPr>
            <p:nvPr/>
          </p:nvSpPr>
          <p:spPr bwMode="auto">
            <a:xfrm>
              <a:off x="7988445" y="3467101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0" name="Rectangle 10703"/>
            <p:cNvSpPr>
              <a:spLocks noChangeArrowheads="1"/>
            </p:cNvSpPr>
            <p:nvPr/>
          </p:nvSpPr>
          <p:spPr bwMode="auto">
            <a:xfrm>
              <a:off x="7826520" y="3470276"/>
              <a:ext cx="26988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1" name="Rectangle 10704"/>
            <p:cNvSpPr>
              <a:spLocks noChangeArrowheads="1"/>
            </p:cNvSpPr>
            <p:nvPr/>
          </p:nvSpPr>
          <p:spPr bwMode="auto">
            <a:xfrm>
              <a:off x="8150370" y="3470276"/>
              <a:ext cx="25400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2" name="Rectangle 10705"/>
            <p:cNvSpPr>
              <a:spLocks noChangeArrowheads="1"/>
            </p:cNvSpPr>
            <p:nvPr/>
          </p:nvSpPr>
          <p:spPr bwMode="auto">
            <a:xfrm>
              <a:off x="7988445" y="3502026"/>
              <a:ext cx="26988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3" name="Rectangle 10706"/>
            <p:cNvSpPr>
              <a:spLocks noChangeArrowheads="1"/>
            </p:cNvSpPr>
            <p:nvPr/>
          </p:nvSpPr>
          <p:spPr bwMode="auto">
            <a:xfrm>
              <a:off x="7826520" y="3502026"/>
              <a:ext cx="26988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4" name="Rectangle 10707"/>
            <p:cNvSpPr>
              <a:spLocks noChangeArrowheads="1"/>
            </p:cNvSpPr>
            <p:nvPr/>
          </p:nvSpPr>
          <p:spPr bwMode="auto">
            <a:xfrm>
              <a:off x="8150370" y="3502026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5" name="Rectangle 10708"/>
            <p:cNvSpPr>
              <a:spLocks noChangeArrowheads="1"/>
            </p:cNvSpPr>
            <p:nvPr/>
          </p:nvSpPr>
          <p:spPr bwMode="auto">
            <a:xfrm>
              <a:off x="7988445" y="3535363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6" name="Rectangle 10709"/>
            <p:cNvSpPr>
              <a:spLocks noChangeArrowheads="1"/>
            </p:cNvSpPr>
            <p:nvPr/>
          </p:nvSpPr>
          <p:spPr bwMode="auto">
            <a:xfrm>
              <a:off x="7826520" y="3535363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7" name="Rectangle 10710"/>
            <p:cNvSpPr>
              <a:spLocks noChangeArrowheads="1"/>
            </p:cNvSpPr>
            <p:nvPr/>
          </p:nvSpPr>
          <p:spPr bwMode="auto">
            <a:xfrm>
              <a:off x="8150370" y="3535363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8" name="Rectangle 10711"/>
            <p:cNvSpPr>
              <a:spLocks noChangeArrowheads="1"/>
            </p:cNvSpPr>
            <p:nvPr/>
          </p:nvSpPr>
          <p:spPr bwMode="auto">
            <a:xfrm>
              <a:off x="7988445" y="3565526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39" name="Rectangle 10712"/>
            <p:cNvSpPr>
              <a:spLocks noChangeArrowheads="1"/>
            </p:cNvSpPr>
            <p:nvPr/>
          </p:nvSpPr>
          <p:spPr bwMode="auto">
            <a:xfrm>
              <a:off x="7826520" y="3303588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0" name="Rectangle 10713"/>
            <p:cNvSpPr>
              <a:spLocks noChangeArrowheads="1"/>
            </p:cNvSpPr>
            <p:nvPr/>
          </p:nvSpPr>
          <p:spPr bwMode="auto">
            <a:xfrm>
              <a:off x="8150370" y="3303588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1" name="Rectangle 10714"/>
            <p:cNvSpPr>
              <a:spLocks noChangeArrowheads="1"/>
            </p:cNvSpPr>
            <p:nvPr/>
          </p:nvSpPr>
          <p:spPr bwMode="auto">
            <a:xfrm>
              <a:off x="7988445" y="3338513"/>
              <a:ext cx="26988" cy="22225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2" name="Rectangle 10715"/>
            <p:cNvSpPr>
              <a:spLocks noChangeArrowheads="1"/>
            </p:cNvSpPr>
            <p:nvPr/>
          </p:nvSpPr>
          <p:spPr bwMode="auto">
            <a:xfrm>
              <a:off x="7988445" y="3270251"/>
              <a:ext cx="26988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3" name="Rectangle 10716"/>
            <p:cNvSpPr>
              <a:spLocks noChangeArrowheads="1"/>
            </p:cNvSpPr>
            <p:nvPr/>
          </p:nvSpPr>
          <p:spPr bwMode="auto">
            <a:xfrm>
              <a:off x="7856682" y="3368676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4" name="Rectangle 10717"/>
            <p:cNvSpPr>
              <a:spLocks noChangeArrowheads="1"/>
            </p:cNvSpPr>
            <p:nvPr/>
          </p:nvSpPr>
          <p:spPr bwMode="auto">
            <a:xfrm>
              <a:off x="8120207" y="3368676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5" name="Rectangle 10718"/>
            <p:cNvSpPr>
              <a:spLocks noChangeArrowheads="1"/>
            </p:cNvSpPr>
            <p:nvPr/>
          </p:nvSpPr>
          <p:spPr bwMode="auto">
            <a:xfrm>
              <a:off x="7856682" y="3338513"/>
              <a:ext cx="26988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6" name="Rectangle 10719"/>
            <p:cNvSpPr>
              <a:spLocks noChangeArrowheads="1"/>
            </p:cNvSpPr>
            <p:nvPr/>
          </p:nvSpPr>
          <p:spPr bwMode="auto">
            <a:xfrm>
              <a:off x="8120207" y="3338513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7" name="Rectangle 10720"/>
            <p:cNvSpPr>
              <a:spLocks noChangeArrowheads="1"/>
            </p:cNvSpPr>
            <p:nvPr/>
          </p:nvSpPr>
          <p:spPr bwMode="auto">
            <a:xfrm>
              <a:off x="7856682" y="3402013"/>
              <a:ext cx="26988" cy="26988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8" name="Rectangle 10721"/>
            <p:cNvSpPr>
              <a:spLocks noChangeArrowheads="1"/>
            </p:cNvSpPr>
            <p:nvPr/>
          </p:nvSpPr>
          <p:spPr bwMode="auto">
            <a:xfrm>
              <a:off x="8120207" y="3402013"/>
              <a:ext cx="25400" cy="26988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49" name="Rectangle 10722"/>
            <p:cNvSpPr>
              <a:spLocks noChangeArrowheads="1"/>
            </p:cNvSpPr>
            <p:nvPr/>
          </p:nvSpPr>
          <p:spPr bwMode="auto">
            <a:xfrm>
              <a:off x="7856682" y="3436938"/>
              <a:ext cx="26988" cy="26988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0" name="Rectangle 10723"/>
            <p:cNvSpPr>
              <a:spLocks noChangeArrowheads="1"/>
            </p:cNvSpPr>
            <p:nvPr/>
          </p:nvSpPr>
          <p:spPr bwMode="auto">
            <a:xfrm>
              <a:off x="8120207" y="3436938"/>
              <a:ext cx="25400" cy="26988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1" name="Rectangle 10724"/>
            <p:cNvSpPr>
              <a:spLocks noChangeArrowheads="1"/>
            </p:cNvSpPr>
            <p:nvPr/>
          </p:nvSpPr>
          <p:spPr bwMode="auto">
            <a:xfrm>
              <a:off x="7856682" y="3470276"/>
              <a:ext cx="26988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2" name="Rectangle 10725"/>
            <p:cNvSpPr>
              <a:spLocks noChangeArrowheads="1"/>
            </p:cNvSpPr>
            <p:nvPr/>
          </p:nvSpPr>
          <p:spPr bwMode="auto">
            <a:xfrm>
              <a:off x="8120207" y="3470276"/>
              <a:ext cx="25400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3" name="Rectangle 10726"/>
            <p:cNvSpPr>
              <a:spLocks noChangeArrowheads="1"/>
            </p:cNvSpPr>
            <p:nvPr/>
          </p:nvSpPr>
          <p:spPr bwMode="auto">
            <a:xfrm>
              <a:off x="7856682" y="3502026"/>
              <a:ext cx="26988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4" name="Rectangle 10727"/>
            <p:cNvSpPr>
              <a:spLocks noChangeArrowheads="1"/>
            </p:cNvSpPr>
            <p:nvPr/>
          </p:nvSpPr>
          <p:spPr bwMode="auto">
            <a:xfrm>
              <a:off x="8120207" y="3502026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5" name="Rectangle 10728"/>
            <p:cNvSpPr>
              <a:spLocks noChangeArrowheads="1"/>
            </p:cNvSpPr>
            <p:nvPr/>
          </p:nvSpPr>
          <p:spPr bwMode="auto">
            <a:xfrm>
              <a:off x="7856682" y="3535363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6" name="Rectangle 10729"/>
            <p:cNvSpPr>
              <a:spLocks noChangeArrowheads="1"/>
            </p:cNvSpPr>
            <p:nvPr/>
          </p:nvSpPr>
          <p:spPr bwMode="auto">
            <a:xfrm>
              <a:off x="8120207" y="3535363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7" name="Rectangle 10730"/>
            <p:cNvSpPr>
              <a:spLocks noChangeArrowheads="1"/>
            </p:cNvSpPr>
            <p:nvPr/>
          </p:nvSpPr>
          <p:spPr bwMode="auto">
            <a:xfrm>
              <a:off x="7856682" y="3303588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8" name="Rectangle 10731"/>
            <p:cNvSpPr>
              <a:spLocks noChangeArrowheads="1"/>
            </p:cNvSpPr>
            <p:nvPr/>
          </p:nvSpPr>
          <p:spPr bwMode="auto">
            <a:xfrm>
              <a:off x="8120207" y="3303588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59" name="Rectangle 10732"/>
            <p:cNvSpPr>
              <a:spLocks noChangeArrowheads="1"/>
            </p:cNvSpPr>
            <p:nvPr/>
          </p:nvSpPr>
          <p:spPr bwMode="auto">
            <a:xfrm>
              <a:off x="7891607" y="3368676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0" name="Rectangle 10733"/>
            <p:cNvSpPr>
              <a:spLocks noChangeArrowheads="1"/>
            </p:cNvSpPr>
            <p:nvPr/>
          </p:nvSpPr>
          <p:spPr bwMode="auto">
            <a:xfrm>
              <a:off x="8086870" y="3368676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1" name="Rectangle 10734"/>
            <p:cNvSpPr>
              <a:spLocks noChangeArrowheads="1"/>
            </p:cNvSpPr>
            <p:nvPr/>
          </p:nvSpPr>
          <p:spPr bwMode="auto">
            <a:xfrm>
              <a:off x="7891607" y="3338513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2" name="Rectangle 10735"/>
            <p:cNvSpPr>
              <a:spLocks noChangeArrowheads="1"/>
            </p:cNvSpPr>
            <p:nvPr/>
          </p:nvSpPr>
          <p:spPr bwMode="auto">
            <a:xfrm>
              <a:off x="8086870" y="3338513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3" name="Rectangle 10736"/>
            <p:cNvSpPr>
              <a:spLocks noChangeArrowheads="1"/>
            </p:cNvSpPr>
            <p:nvPr/>
          </p:nvSpPr>
          <p:spPr bwMode="auto">
            <a:xfrm>
              <a:off x="7891607" y="3402013"/>
              <a:ext cx="25400" cy="26988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4" name="Rectangle 10737"/>
            <p:cNvSpPr>
              <a:spLocks noChangeArrowheads="1"/>
            </p:cNvSpPr>
            <p:nvPr/>
          </p:nvSpPr>
          <p:spPr bwMode="auto">
            <a:xfrm>
              <a:off x="8086870" y="3402013"/>
              <a:ext cx="25400" cy="26988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5" name="Rectangle 10738"/>
            <p:cNvSpPr>
              <a:spLocks noChangeArrowheads="1"/>
            </p:cNvSpPr>
            <p:nvPr/>
          </p:nvSpPr>
          <p:spPr bwMode="auto">
            <a:xfrm>
              <a:off x="7891607" y="3436938"/>
              <a:ext cx="25400" cy="26988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6" name="Rectangle 10739"/>
            <p:cNvSpPr>
              <a:spLocks noChangeArrowheads="1"/>
            </p:cNvSpPr>
            <p:nvPr/>
          </p:nvSpPr>
          <p:spPr bwMode="auto">
            <a:xfrm>
              <a:off x="8086870" y="3436938"/>
              <a:ext cx="25400" cy="26988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7" name="Rectangle 10740"/>
            <p:cNvSpPr>
              <a:spLocks noChangeArrowheads="1"/>
            </p:cNvSpPr>
            <p:nvPr/>
          </p:nvSpPr>
          <p:spPr bwMode="auto">
            <a:xfrm>
              <a:off x="7891607" y="3470276"/>
              <a:ext cx="25400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8" name="Rectangle 10741"/>
            <p:cNvSpPr>
              <a:spLocks noChangeArrowheads="1"/>
            </p:cNvSpPr>
            <p:nvPr/>
          </p:nvSpPr>
          <p:spPr bwMode="auto">
            <a:xfrm>
              <a:off x="8086870" y="3470276"/>
              <a:ext cx="25400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69" name="Rectangle 10742"/>
            <p:cNvSpPr>
              <a:spLocks noChangeArrowheads="1"/>
            </p:cNvSpPr>
            <p:nvPr/>
          </p:nvSpPr>
          <p:spPr bwMode="auto">
            <a:xfrm>
              <a:off x="7891607" y="3502026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0" name="Rectangle 10743"/>
            <p:cNvSpPr>
              <a:spLocks noChangeArrowheads="1"/>
            </p:cNvSpPr>
            <p:nvPr/>
          </p:nvSpPr>
          <p:spPr bwMode="auto">
            <a:xfrm>
              <a:off x="8086870" y="3502026"/>
              <a:ext cx="25400" cy="2540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1" name="Rectangle 10744"/>
            <p:cNvSpPr>
              <a:spLocks noChangeArrowheads="1"/>
            </p:cNvSpPr>
            <p:nvPr/>
          </p:nvSpPr>
          <p:spPr bwMode="auto">
            <a:xfrm>
              <a:off x="7924945" y="3368676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2" name="Rectangle 10745"/>
            <p:cNvSpPr>
              <a:spLocks noChangeArrowheads="1"/>
            </p:cNvSpPr>
            <p:nvPr/>
          </p:nvSpPr>
          <p:spPr bwMode="auto">
            <a:xfrm>
              <a:off x="7955107" y="3240088"/>
              <a:ext cx="25400" cy="22225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3" name="Rectangle 10746"/>
            <p:cNvSpPr>
              <a:spLocks noChangeArrowheads="1"/>
            </p:cNvSpPr>
            <p:nvPr/>
          </p:nvSpPr>
          <p:spPr bwMode="auto">
            <a:xfrm>
              <a:off x="8021782" y="3240088"/>
              <a:ext cx="26988" cy="22225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4" name="Rectangle 10747"/>
            <p:cNvSpPr>
              <a:spLocks noChangeArrowheads="1"/>
            </p:cNvSpPr>
            <p:nvPr/>
          </p:nvSpPr>
          <p:spPr bwMode="auto">
            <a:xfrm>
              <a:off x="8051945" y="3368676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5" name="Rectangle 10748"/>
            <p:cNvSpPr>
              <a:spLocks noChangeArrowheads="1"/>
            </p:cNvSpPr>
            <p:nvPr/>
          </p:nvSpPr>
          <p:spPr bwMode="auto">
            <a:xfrm>
              <a:off x="7924945" y="3402013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6" name="Rectangle 10749"/>
            <p:cNvSpPr>
              <a:spLocks noChangeArrowheads="1"/>
            </p:cNvSpPr>
            <p:nvPr/>
          </p:nvSpPr>
          <p:spPr bwMode="auto">
            <a:xfrm>
              <a:off x="8051945" y="3402013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7" name="Rectangle 10750"/>
            <p:cNvSpPr>
              <a:spLocks noChangeArrowheads="1"/>
            </p:cNvSpPr>
            <p:nvPr/>
          </p:nvSpPr>
          <p:spPr bwMode="auto">
            <a:xfrm>
              <a:off x="7924945" y="3436938"/>
              <a:ext cx="25400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8" name="Rectangle 10751"/>
            <p:cNvSpPr>
              <a:spLocks noChangeArrowheads="1"/>
            </p:cNvSpPr>
            <p:nvPr/>
          </p:nvSpPr>
          <p:spPr bwMode="auto">
            <a:xfrm>
              <a:off x="8051945" y="3436938"/>
              <a:ext cx="26988" cy="26988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79" name="Rectangle 10752"/>
            <p:cNvSpPr>
              <a:spLocks noChangeArrowheads="1"/>
            </p:cNvSpPr>
            <p:nvPr/>
          </p:nvSpPr>
          <p:spPr bwMode="auto">
            <a:xfrm>
              <a:off x="7924945" y="3470276"/>
              <a:ext cx="25400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0" name="Rectangle 10753"/>
            <p:cNvSpPr>
              <a:spLocks noChangeArrowheads="1"/>
            </p:cNvSpPr>
            <p:nvPr/>
          </p:nvSpPr>
          <p:spPr bwMode="auto">
            <a:xfrm>
              <a:off x="8051945" y="3470276"/>
              <a:ext cx="26988" cy="23813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1" name="Freeform 10754"/>
            <p:cNvSpPr>
              <a:spLocks noEditPoints="1"/>
            </p:cNvSpPr>
            <p:nvPr/>
          </p:nvSpPr>
          <p:spPr bwMode="auto">
            <a:xfrm>
              <a:off x="7616970" y="3676651"/>
              <a:ext cx="582613" cy="109538"/>
            </a:xfrm>
            <a:custGeom>
              <a:avLst/>
              <a:gdLst>
                <a:gd name="T0" fmla="*/ 148 w 155"/>
                <a:gd name="T1" fmla="*/ 25 h 29"/>
                <a:gd name="T2" fmla="*/ 147 w 155"/>
                <a:gd name="T3" fmla="*/ 17 h 29"/>
                <a:gd name="T4" fmla="*/ 138 w 155"/>
                <a:gd name="T5" fmla="*/ 7 h 29"/>
                <a:gd name="T6" fmla="*/ 141 w 155"/>
                <a:gd name="T7" fmla="*/ 25 h 29"/>
                <a:gd name="T8" fmla="*/ 136 w 155"/>
                <a:gd name="T9" fmla="*/ 23 h 29"/>
                <a:gd name="T10" fmla="*/ 134 w 155"/>
                <a:gd name="T11" fmla="*/ 19 h 29"/>
                <a:gd name="T12" fmla="*/ 137 w 155"/>
                <a:gd name="T13" fmla="*/ 10 h 29"/>
                <a:gd name="T14" fmla="*/ 134 w 155"/>
                <a:gd name="T15" fmla="*/ 2 h 29"/>
                <a:gd name="T16" fmla="*/ 129 w 155"/>
                <a:gd name="T17" fmla="*/ 7 h 29"/>
                <a:gd name="T18" fmla="*/ 129 w 155"/>
                <a:gd name="T19" fmla="*/ 10 h 29"/>
                <a:gd name="T20" fmla="*/ 136 w 155"/>
                <a:gd name="T21" fmla="*/ 23 h 29"/>
                <a:gd name="T22" fmla="*/ 117 w 155"/>
                <a:gd name="T23" fmla="*/ 18 h 29"/>
                <a:gd name="T24" fmla="*/ 107 w 155"/>
                <a:gd name="T25" fmla="*/ 18 h 29"/>
                <a:gd name="T26" fmla="*/ 105 w 155"/>
                <a:gd name="T27" fmla="*/ 12 h 29"/>
                <a:gd name="T28" fmla="*/ 107 w 155"/>
                <a:gd name="T29" fmla="*/ 5 h 29"/>
                <a:gd name="T30" fmla="*/ 117 w 155"/>
                <a:gd name="T31" fmla="*/ 5 h 29"/>
                <a:gd name="T32" fmla="*/ 101 w 155"/>
                <a:gd name="T33" fmla="*/ 5 h 29"/>
                <a:gd name="T34" fmla="*/ 100 w 155"/>
                <a:gd name="T35" fmla="*/ 14 h 29"/>
                <a:gd name="T36" fmla="*/ 87 w 155"/>
                <a:gd name="T37" fmla="*/ 23 h 29"/>
                <a:gd name="T38" fmla="*/ 85 w 155"/>
                <a:gd name="T39" fmla="*/ 19 h 29"/>
                <a:gd name="T40" fmla="*/ 87 w 155"/>
                <a:gd name="T41" fmla="*/ 10 h 29"/>
                <a:gd name="T42" fmla="*/ 84 w 155"/>
                <a:gd name="T43" fmla="*/ 2 h 29"/>
                <a:gd name="T44" fmla="*/ 80 w 155"/>
                <a:gd name="T45" fmla="*/ 7 h 29"/>
                <a:gd name="T46" fmla="*/ 80 w 155"/>
                <a:gd name="T47" fmla="*/ 10 h 29"/>
                <a:gd name="T48" fmla="*/ 87 w 155"/>
                <a:gd name="T49" fmla="*/ 23 h 29"/>
                <a:gd name="T50" fmla="*/ 72 w 155"/>
                <a:gd name="T51" fmla="*/ 11 h 29"/>
                <a:gd name="T52" fmla="*/ 76 w 155"/>
                <a:gd name="T53" fmla="*/ 7 h 29"/>
                <a:gd name="T54" fmla="*/ 70 w 155"/>
                <a:gd name="T55" fmla="*/ 7 h 29"/>
                <a:gd name="T56" fmla="*/ 65 w 155"/>
                <a:gd name="T57" fmla="*/ 23 h 29"/>
                <a:gd name="T58" fmla="*/ 57 w 155"/>
                <a:gd name="T59" fmla="*/ 17 h 29"/>
                <a:gd name="T60" fmla="*/ 62 w 155"/>
                <a:gd name="T61" fmla="*/ 23 h 29"/>
                <a:gd name="T62" fmla="*/ 54 w 155"/>
                <a:gd name="T63" fmla="*/ 6 h 29"/>
                <a:gd name="T64" fmla="*/ 50 w 155"/>
                <a:gd name="T65" fmla="*/ 11 h 29"/>
                <a:gd name="T66" fmla="*/ 57 w 155"/>
                <a:gd name="T67" fmla="*/ 13 h 29"/>
                <a:gd name="T68" fmla="*/ 48 w 155"/>
                <a:gd name="T69" fmla="*/ 21 h 29"/>
                <a:gd name="T70" fmla="*/ 57 w 155"/>
                <a:gd name="T71" fmla="*/ 22 h 29"/>
                <a:gd name="T72" fmla="*/ 44 w 155"/>
                <a:gd name="T73" fmla="*/ 23 h 29"/>
                <a:gd name="T74" fmla="*/ 36 w 155"/>
                <a:gd name="T75" fmla="*/ 7 h 29"/>
                <a:gd name="T76" fmla="*/ 25 w 155"/>
                <a:gd name="T77" fmla="*/ 8 h 29"/>
                <a:gd name="T78" fmla="*/ 20 w 155"/>
                <a:gd name="T79" fmla="*/ 7 h 29"/>
                <a:gd name="T80" fmla="*/ 25 w 155"/>
                <a:gd name="T81" fmla="*/ 13 h 29"/>
                <a:gd name="T82" fmla="*/ 30 w 155"/>
                <a:gd name="T83" fmla="*/ 23 h 29"/>
                <a:gd name="T84" fmla="*/ 35 w 155"/>
                <a:gd name="T85" fmla="*/ 11 h 29"/>
                <a:gd name="T86" fmla="*/ 40 w 155"/>
                <a:gd name="T87" fmla="*/ 23 h 29"/>
                <a:gd name="T88" fmla="*/ 18 w 155"/>
                <a:gd name="T89" fmla="*/ 16 h 29"/>
                <a:gd name="T90" fmla="*/ 6 w 155"/>
                <a:gd name="T91" fmla="*/ 7 h 29"/>
                <a:gd name="T92" fmla="*/ 14 w 155"/>
                <a:gd name="T93" fmla="*/ 6 h 29"/>
                <a:gd name="T94" fmla="*/ 5 w 155"/>
                <a:gd name="T95" fmla="*/ 0 h 29"/>
                <a:gd name="T96" fmla="*/ 8 w 155"/>
                <a:gd name="T97" fmla="*/ 14 h 29"/>
                <a:gd name="T98" fmla="*/ 9 w 155"/>
                <a:gd name="T99" fmla="*/ 19 h 29"/>
                <a:gd name="T100" fmla="*/ 0 w 155"/>
                <a:gd name="T101" fmla="*/ 20 h 29"/>
                <a:gd name="T102" fmla="*/ 12 w 155"/>
                <a:gd name="T103" fmla="*/ 2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5" h="29">
                  <a:moveTo>
                    <a:pt x="142" y="29"/>
                  </a:moveTo>
                  <a:cubicBezTo>
                    <a:pt x="143" y="29"/>
                    <a:pt x="144" y="29"/>
                    <a:pt x="144" y="29"/>
                  </a:cubicBezTo>
                  <a:cubicBezTo>
                    <a:pt x="145" y="29"/>
                    <a:pt x="145" y="29"/>
                    <a:pt x="146" y="28"/>
                  </a:cubicBezTo>
                  <a:cubicBezTo>
                    <a:pt x="146" y="28"/>
                    <a:pt x="147" y="27"/>
                    <a:pt x="147" y="27"/>
                  </a:cubicBezTo>
                  <a:cubicBezTo>
                    <a:pt x="147" y="26"/>
                    <a:pt x="148" y="25"/>
                    <a:pt x="148" y="25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54" y="7"/>
                    <a:pt x="154" y="7"/>
                    <a:pt x="154" y="7"/>
                  </a:cubicBezTo>
                  <a:cubicBezTo>
                    <a:pt x="150" y="7"/>
                    <a:pt x="150" y="7"/>
                    <a:pt x="150" y="7"/>
                  </a:cubicBezTo>
                  <a:cubicBezTo>
                    <a:pt x="150" y="7"/>
                    <a:pt x="150" y="7"/>
                    <a:pt x="150" y="7"/>
                  </a:cubicBezTo>
                  <a:cubicBezTo>
                    <a:pt x="147" y="17"/>
                    <a:pt x="147" y="17"/>
                    <a:pt x="147" y="17"/>
                  </a:cubicBezTo>
                  <a:cubicBezTo>
                    <a:pt x="147" y="17"/>
                    <a:pt x="147" y="17"/>
                    <a:pt x="147" y="17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44" y="22"/>
                    <a:pt x="144" y="22"/>
                    <a:pt x="144" y="22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44" y="24"/>
                    <a:pt x="144" y="25"/>
                    <a:pt x="143" y="25"/>
                  </a:cubicBezTo>
                  <a:cubicBezTo>
                    <a:pt x="143" y="25"/>
                    <a:pt x="142" y="25"/>
                    <a:pt x="142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9"/>
                    <a:pt x="141" y="29"/>
                    <a:pt x="141" y="29"/>
                  </a:cubicBezTo>
                  <a:cubicBezTo>
                    <a:pt x="141" y="29"/>
                    <a:pt x="141" y="29"/>
                    <a:pt x="141" y="29"/>
                  </a:cubicBezTo>
                  <a:lnTo>
                    <a:pt x="142" y="29"/>
                  </a:lnTo>
                  <a:close/>
                  <a:moveTo>
                    <a:pt x="136" y="23"/>
                  </a:moveTo>
                  <a:cubicBezTo>
                    <a:pt x="137" y="23"/>
                    <a:pt x="137" y="23"/>
                    <a:pt x="137" y="23"/>
                  </a:cubicBezTo>
                  <a:cubicBezTo>
                    <a:pt x="137" y="20"/>
                    <a:pt x="137" y="20"/>
                    <a:pt x="137" y="20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5" y="19"/>
                    <a:pt x="135" y="19"/>
                    <a:pt x="135" y="19"/>
                  </a:cubicBezTo>
                  <a:cubicBezTo>
                    <a:pt x="135" y="19"/>
                    <a:pt x="134" y="19"/>
                    <a:pt x="134" y="19"/>
                  </a:cubicBezTo>
                  <a:cubicBezTo>
                    <a:pt x="134" y="19"/>
                    <a:pt x="134" y="18"/>
                    <a:pt x="134" y="18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4" y="10"/>
                    <a:pt x="134" y="10"/>
                    <a:pt x="134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6" y="7"/>
                    <a:pt x="136" y="7"/>
                    <a:pt x="136" y="7"/>
                  </a:cubicBezTo>
                  <a:cubicBezTo>
                    <a:pt x="134" y="7"/>
                    <a:pt x="134" y="7"/>
                    <a:pt x="134" y="7"/>
                  </a:cubicBezTo>
                  <a:cubicBezTo>
                    <a:pt x="134" y="7"/>
                    <a:pt x="134" y="7"/>
                    <a:pt x="134" y="7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0" y="2"/>
                    <a:pt x="130" y="2"/>
                    <a:pt x="130" y="2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29" y="7"/>
                    <a:pt x="129" y="7"/>
                    <a:pt x="129" y="7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8" y="7"/>
                    <a:pt x="128" y="7"/>
                    <a:pt x="128" y="7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8" y="10"/>
                    <a:pt x="128" y="10"/>
                    <a:pt x="128" y="1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29" y="10"/>
                    <a:pt x="129" y="10"/>
                    <a:pt x="129" y="10"/>
                  </a:cubicBezTo>
                  <a:cubicBezTo>
                    <a:pt x="129" y="18"/>
                    <a:pt x="129" y="18"/>
                    <a:pt x="129" y="18"/>
                  </a:cubicBezTo>
                  <a:cubicBezTo>
                    <a:pt x="129" y="20"/>
                    <a:pt x="130" y="21"/>
                    <a:pt x="130" y="22"/>
                  </a:cubicBezTo>
                  <a:cubicBezTo>
                    <a:pt x="131" y="23"/>
                    <a:pt x="133" y="23"/>
                    <a:pt x="134" y="23"/>
                  </a:cubicBezTo>
                  <a:lnTo>
                    <a:pt x="136" y="23"/>
                  </a:lnTo>
                  <a:close/>
                  <a:moveTo>
                    <a:pt x="104" y="22"/>
                  </a:moveTo>
                  <a:cubicBezTo>
                    <a:pt x="105" y="23"/>
                    <a:pt x="107" y="23"/>
                    <a:pt x="109" y="23"/>
                  </a:cubicBezTo>
                  <a:cubicBezTo>
                    <a:pt x="111" y="23"/>
                    <a:pt x="112" y="23"/>
                    <a:pt x="114" y="22"/>
                  </a:cubicBezTo>
                  <a:cubicBezTo>
                    <a:pt x="115" y="21"/>
                    <a:pt x="116" y="20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2" y="17"/>
                    <a:pt x="112" y="17"/>
                    <a:pt x="112" y="17"/>
                  </a:cubicBezTo>
                  <a:cubicBezTo>
                    <a:pt x="112" y="17"/>
                    <a:pt x="112" y="18"/>
                    <a:pt x="111" y="18"/>
                  </a:cubicBezTo>
                  <a:cubicBezTo>
                    <a:pt x="111" y="19"/>
                    <a:pt x="110" y="19"/>
                    <a:pt x="109" y="19"/>
                  </a:cubicBezTo>
                  <a:cubicBezTo>
                    <a:pt x="108" y="19"/>
                    <a:pt x="107" y="19"/>
                    <a:pt x="107" y="18"/>
                  </a:cubicBezTo>
                  <a:cubicBezTo>
                    <a:pt x="106" y="18"/>
                    <a:pt x="106" y="17"/>
                    <a:pt x="105" y="17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15"/>
                    <a:pt x="105" y="14"/>
                    <a:pt x="105" y="14"/>
                  </a:cubicBezTo>
                  <a:cubicBezTo>
                    <a:pt x="105" y="13"/>
                    <a:pt x="105" y="12"/>
                    <a:pt x="105" y="12"/>
                  </a:cubicBezTo>
                  <a:cubicBezTo>
                    <a:pt x="105" y="11"/>
                    <a:pt x="105" y="10"/>
                    <a:pt x="105" y="10"/>
                  </a:cubicBezTo>
                  <a:cubicBezTo>
                    <a:pt x="105" y="9"/>
                    <a:pt x="105" y="9"/>
                    <a:pt x="105" y="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6" y="6"/>
                    <a:pt x="106" y="5"/>
                    <a:pt x="107" y="5"/>
                  </a:cubicBezTo>
                  <a:cubicBezTo>
                    <a:pt x="107" y="4"/>
                    <a:pt x="108" y="4"/>
                    <a:pt x="109" y="4"/>
                  </a:cubicBezTo>
                  <a:cubicBezTo>
                    <a:pt x="110" y="4"/>
                    <a:pt x="111" y="4"/>
                    <a:pt x="111" y="5"/>
                  </a:cubicBezTo>
                  <a:cubicBezTo>
                    <a:pt x="112" y="5"/>
                    <a:pt x="112" y="6"/>
                    <a:pt x="112" y="7"/>
                  </a:cubicBezTo>
                  <a:cubicBezTo>
                    <a:pt x="113" y="7"/>
                    <a:pt x="113" y="7"/>
                    <a:pt x="113" y="7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6" y="3"/>
                    <a:pt x="115" y="2"/>
                    <a:pt x="114" y="1"/>
                  </a:cubicBezTo>
                  <a:cubicBezTo>
                    <a:pt x="112" y="0"/>
                    <a:pt x="111" y="0"/>
                    <a:pt x="109" y="0"/>
                  </a:cubicBezTo>
                  <a:cubicBezTo>
                    <a:pt x="107" y="0"/>
                    <a:pt x="105" y="0"/>
                    <a:pt x="104" y="1"/>
                  </a:cubicBezTo>
                  <a:cubicBezTo>
                    <a:pt x="102" y="2"/>
                    <a:pt x="101" y="4"/>
                    <a:pt x="101" y="5"/>
                  </a:cubicBezTo>
                  <a:cubicBezTo>
                    <a:pt x="101" y="6"/>
                    <a:pt x="100" y="6"/>
                    <a:pt x="100" y="7"/>
                  </a:cubicBezTo>
                  <a:cubicBezTo>
                    <a:pt x="100" y="7"/>
                    <a:pt x="100" y="7"/>
                    <a:pt x="100" y="8"/>
                  </a:cubicBezTo>
                  <a:cubicBezTo>
                    <a:pt x="100" y="8"/>
                    <a:pt x="100" y="9"/>
                    <a:pt x="100" y="9"/>
                  </a:cubicBezTo>
                  <a:cubicBezTo>
                    <a:pt x="100" y="10"/>
                    <a:pt x="100" y="11"/>
                    <a:pt x="100" y="12"/>
                  </a:cubicBezTo>
                  <a:cubicBezTo>
                    <a:pt x="100" y="13"/>
                    <a:pt x="100" y="13"/>
                    <a:pt x="100" y="14"/>
                  </a:cubicBezTo>
                  <a:cubicBezTo>
                    <a:pt x="100" y="15"/>
                    <a:pt x="100" y="15"/>
                    <a:pt x="100" y="16"/>
                  </a:cubicBezTo>
                  <a:cubicBezTo>
                    <a:pt x="100" y="16"/>
                    <a:pt x="100" y="16"/>
                    <a:pt x="100" y="17"/>
                  </a:cubicBezTo>
                  <a:cubicBezTo>
                    <a:pt x="100" y="17"/>
                    <a:pt x="101" y="18"/>
                    <a:pt x="101" y="18"/>
                  </a:cubicBezTo>
                  <a:cubicBezTo>
                    <a:pt x="101" y="20"/>
                    <a:pt x="102" y="21"/>
                    <a:pt x="104" y="22"/>
                  </a:cubicBezTo>
                  <a:moveTo>
                    <a:pt x="87" y="23"/>
                  </a:moveTo>
                  <a:cubicBezTo>
                    <a:pt x="87" y="23"/>
                    <a:pt x="87" y="23"/>
                    <a:pt x="87" y="23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7" y="19"/>
                    <a:pt x="87" y="19"/>
                    <a:pt x="87" y="19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5" y="19"/>
                    <a:pt x="84" y="18"/>
                    <a:pt x="84" y="18"/>
                  </a:cubicBezTo>
                  <a:cubicBezTo>
                    <a:pt x="84" y="10"/>
                    <a:pt x="84" y="10"/>
                    <a:pt x="84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20"/>
                    <a:pt x="80" y="21"/>
                    <a:pt x="81" y="22"/>
                  </a:cubicBezTo>
                  <a:cubicBezTo>
                    <a:pt x="82" y="23"/>
                    <a:pt x="83" y="23"/>
                    <a:pt x="85" y="23"/>
                  </a:cubicBezTo>
                  <a:lnTo>
                    <a:pt x="87" y="23"/>
                  </a:lnTo>
                  <a:close/>
                  <a:moveTo>
                    <a:pt x="69" y="23"/>
                  </a:moveTo>
                  <a:cubicBezTo>
                    <a:pt x="70" y="23"/>
                    <a:pt x="70" y="23"/>
                    <a:pt x="70" y="2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70" y="13"/>
                    <a:pt x="70" y="12"/>
                    <a:pt x="70" y="12"/>
                  </a:cubicBezTo>
                  <a:cubicBezTo>
                    <a:pt x="71" y="11"/>
                    <a:pt x="71" y="11"/>
                    <a:pt x="72" y="11"/>
                  </a:cubicBezTo>
                  <a:cubicBezTo>
                    <a:pt x="73" y="11"/>
                    <a:pt x="74" y="11"/>
                    <a:pt x="75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7"/>
                    <a:pt x="76" y="7"/>
                    <a:pt x="76" y="7"/>
                  </a:cubicBezTo>
                  <a:cubicBezTo>
                    <a:pt x="75" y="7"/>
                    <a:pt x="75" y="6"/>
                    <a:pt x="74" y="6"/>
                  </a:cubicBezTo>
                  <a:cubicBezTo>
                    <a:pt x="73" y="6"/>
                    <a:pt x="72" y="7"/>
                    <a:pt x="71" y="7"/>
                  </a:cubicBezTo>
                  <a:cubicBezTo>
                    <a:pt x="71" y="7"/>
                    <a:pt x="70" y="8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5" y="23"/>
                    <a:pt x="65" y="23"/>
                  </a:cubicBezTo>
                  <a:lnTo>
                    <a:pt x="69" y="23"/>
                  </a:lnTo>
                  <a:close/>
                  <a:moveTo>
                    <a:pt x="52" y="18"/>
                  </a:moveTo>
                  <a:cubicBezTo>
                    <a:pt x="52" y="17"/>
                    <a:pt x="53" y="16"/>
                    <a:pt x="55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9"/>
                    <a:pt x="56" y="20"/>
                    <a:pt x="54" y="20"/>
                  </a:cubicBezTo>
                  <a:cubicBezTo>
                    <a:pt x="52" y="20"/>
                    <a:pt x="52" y="19"/>
                    <a:pt x="52" y="18"/>
                  </a:cubicBezTo>
                  <a:moveTo>
                    <a:pt x="61" y="23"/>
                  </a:moveTo>
                  <a:cubicBezTo>
                    <a:pt x="62" y="23"/>
                    <a:pt x="62" y="23"/>
                    <a:pt x="62" y="23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1"/>
                    <a:pt x="61" y="10"/>
                    <a:pt x="61" y="10"/>
                  </a:cubicBezTo>
                  <a:cubicBezTo>
                    <a:pt x="61" y="9"/>
                    <a:pt x="61" y="8"/>
                    <a:pt x="60" y="8"/>
                  </a:cubicBezTo>
                  <a:cubicBezTo>
                    <a:pt x="59" y="7"/>
                    <a:pt x="59" y="7"/>
                    <a:pt x="58" y="7"/>
                  </a:cubicBezTo>
                  <a:cubicBezTo>
                    <a:pt x="57" y="7"/>
                    <a:pt x="56" y="6"/>
                    <a:pt x="54" y="6"/>
                  </a:cubicBezTo>
                  <a:cubicBezTo>
                    <a:pt x="53" y="6"/>
                    <a:pt x="52" y="7"/>
                    <a:pt x="51" y="7"/>
                  </a:cubicBezTo>
                  <a:cubicBezTo>
                    <a:pt x="50" y="7"/>
                    <a:pt x="49" y="8"/>
                    <a:pt x="48" y="8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1" y="11"/>
                    <a:pt x="51" y="11"/>
                    <a:pt x="52" y="11"/>
                  </a:cubicBezTo>
                  <a:cubicBezTo>
                    <a:pt x="52" y="10"/>
                    <a:pt x="53" y="10"/>
                    <a:pt x="54" y="10"/>
                  </a:cubicBezTo>
                  <a:cubicBezTo>
                    <a:pt x="55" y="10"/>
                    <a:pt x="56" y="10"/>
                    <a:pt x="56" y="11"/>
                  </a:cubicBezTo>
                  <a:cubicBezTo>
                    <a:pt x="57" y="11"/>
                    <a:pt x="57" y="12"/>
                    <a:pt x="57" y="12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2" y="13"/>
                    <a:pt x="50" y="14"/>
                    <a:pt x="49" y="15"/>
                  </a:cubicBezTo>
                  <a:cubicBezTo>
                    <a:pt x="48" y="15"/>
                    <a:pt x="47" y="17"/>
                    <a:pt x="47" y="19"/>
                  </a:cubicBezTo>
                  <a:cubicBezTo>
                    <a:pt x="47" y="19"/>
                    <a:pt x="47" y="20"/>
                    <a:pt x="48" y="21"/>
                  </a:cubicBezTo>
                  <a:cubicBezTo>
                    <a:pt x="48" y="21"/>
                    <a:pt x="48" y="22"/>
                    <a:pt x="49" y="22"/>
                  </a:cubicBezTo>
                  <a:cubicBezTo>
                    <a:pt x="49" y="23"/>
                    <a:pt x="50" y="23"/>
                    <a:pt x="51" y="23"/>
                  </a:cubicBezTo>
                  <a:cubicBezTo>
                    <a:pt x="51" y="23"/>
                    <a:pt x="52" y="23"/>
                    <a:pt x="53" y="23"/>
                  </a:cubicBezTo>
                  <a:cubicBezTo>
                    <a:pt x="54" y="23"/>
                    <a:pt x="55" y="23"/>
                    <a:pt x="55" y="23"/>
                  </a:cubicBezTo>
                  <a:cubicBezTo>
                    <a:pt x="56" y="23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8" y="23"/>
                    <a:pt x="58" y="23"/>
                    <a:pt x="58" y="23"/>
                  </a:cubicBezTo>
                  <a:lnTo>
                    <a:pt x="61" y="23"/>
                  </a:ln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1"/>
                    <a:pt x="44" y="9"/>
                    <a:pt x="43" y="8"/>
                  </a:cubicBezTo>
                  <a:cubicBezTo>
                    <a:pt x="42" y="7"/>
                    <a:pt x="41" y="6"/>
                    <a:pt x="39" y="6"/>
                  </a:cubicBezTo>
                  <a:cubicBezTo>
                    <a:pt x="38" y="6"/>
                    <a:pt x="37" y="7"/>
                    <a:pt x="36" y="7"/>
                  </a:cubicBezTo>
                  <a:cubicBezTo>
                    <a:pt x="35" y="7"/>
                    <a:pt x="34" y="8"/>
                    <a:pt x="3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7"/>
                    <a:pt x="31" y="6"/>
                    <a:pt x="29" y="6"/>
                  </a:cubicBezTo>
                  <a:cubicBezTo>
                    <a:pt x="28" y="6"/>
                    <a:pt x="27" y="7"/>
                    <a:pt x="27" y="7"/>
                  </a:cubicBezTo>
                  <a:cubicBezTo>
                    <a:pt x="26" y="7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2"/>
                    <a:pt x="26" y="11"/>
                  </a:cubicBezTo>
                  <a:cubicBezTo>
                    <a:pt x="26" y="11"/>
                    <a:pt x="27" y="10"/>
                    <a:pt x="27" y="10"/>
                  </a:cubicBezTo>
                  <a:cubicBezTo>
                    <a:pt x="28" y="10"/>
                    <a:pt x="29" y="11"/>
                    <a:pt x="29" y="11"/>
                  </a:cubicBezTo>
                  <a:cubicBezTo>
                    <a:pt x="30" y="12"/>
                    <a:pt x="30" y="13"/>
                    <a:pt x="30" y="1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2"/>
                    <a:pt x="35" y="11"/>
                  </a:cubicBezTo>
                  <a:cubicBezTo>
                    <a:pt x="36" y="11"/>
                    <a:pt x="36" y="10"/>
                    <a:pt x="37" y="10"/>
                  </a:cubicBezTo>
                  <a:cubicBezTo>
                    <a:pt x="38" y="10"/>
                    <a:pt x="39" y="11"/>
                    <a:pt x="39" y="11"/>
                  </a:cubicBezTo>
                  <a:cubicBezTo>
                    <a:pt x="40" y="12"/>
                    <a:pt x="40" y="13"/>
                    <a:pt x="40" y="1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lnTo>
                    <a:pt x="44" y="23"/>
                  </a:lnTo>
                  <a:close/>
                  <a:moveTo>
                    <a:pt x="12" y="23"/>
                  </a:moveTo>
                  <a:cubicBezTo>
                    <a:pt x="14" y="23"/>
                    <a:pt x="15" y="22"/>
                    <a:pt x="15" y="21"/>
                  </a:cubicBezTo>
                  <a:cubicBezTo>
                    <a:pt x="16" y="21"/>
                    <a:pt x="17" y="20"/>
                    <a:pt x="17" y="19"/>
                  </a:cubicBezTo>
                  <a:cubicBezTo>
                    <a:pt x="17" y="18"/>
                    <a:pt x="18" y="17"/>
                    <a:pt x="18" y="16"/>
                  </a:cubicBezTo>
                  <a:cubicBezTo>
                    <a:pt x="18" y="14"/>
                    <a:pt x="17" y="13"/>
                    <a:pt x="16" y="11"/>
                  </a:cubicBezTo>
                  <a:cubicBezTo>
                    <a:pt x="15" y="10"/>
                    <a:pt x="13" y="10"/>
                    <a:pt x="10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7" y="9"/>
                    <a:pt x="6" y="8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7" y="4"/>
                    <a:pt x="8" y="4"/>
                    <a:pt x="9" y="4"/>
                  </a:cubicBezTo>
                  <a:cubicBezTo>
                    <a:pt x="10" y="4"/>
                    <a:pt x="10" y="4"/>
                    <a:pt x="11" y="5"/>
                  </a:cubicBezTo>
                  <a:cubicBezTo>
                    <a:pt x="12" y="5"/>
                    <a:pt x="13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1"/>
                    <a:pt x="14" y="1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9"/>
                    <a:pt x="1" y="10"/>
                    <a:pt x="2" y="12"/>
                  </a:cubicBezTo>
                  <a:cubicBezTo>
                    <a:pt x="4" y="13"/>
                    <a:pt x="5" y="13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4"/>
                    <a:pt x="12" y="15"/>
                  </a:cubicBezTo>
                  <a:cubicBezTo>
                    <a:pt x="12" y="15"/>
                    <a:pt x="13" y="16"/>
                    <a:pt x="13" y="16"/>
                  </a:cubicBezTo>
                  <a:cubicBezTo>
                    <a:pt x="13" y="17"/>
                    <a:pt x="12" y="18"/>
                    <a:pt x="12" y="18"/>
                  </a:cubicBezTo>
                  <a:cubicBezTo>
                    <a:pt x="11" y="19"/>
                    <a:pt x="10" y="19"/>
                    <a:pt x="9" y="19"/>
                  </a:cubicBezTo>
                  <a:cubicBezTo>
                    <a:pt x="8" y="19"/>
                    <a:pt x="6" y="19"/>
                    <a:pt x="5" y="18"/>
                  </a:cubicBezTo>
                  <a:cubicBezTo>
                    <a:pt x="4" y="18"/>
                    <a:pt x="4" y="17"/>
                    <a:pt x="3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1"/>
                    <a:pt x="1" y="22"/>
                  </a:cubicBezTo>
                  <a:cubicBezTo>
                    <a:pt x="2" y="22"/>
                    <a:pt x="3" y="22"/>
                    <a:pt x="3" y="23"/>
                  </a:cubicBezTo>
                  <a:cubicBezTo>
                    <a:pt x="4" y="23"/>
                    <a:pt x="5" y="23"/>
                    <a:pt x="6" y="23"/>
                  </a:cubicBezTo>
                  <a:cubicBezTo>
                    <a:pt x="7" y="23"/>
                    <a:pt x="8" y="23"/>
                    <a:pt x="9" y="23"/>
                  </a:cubicBezTo>
                  <a:cubicBezTo>
                    <a:pt x="10" y="23"/>
                    <a:pt x="11" y="23"/>
                    <a:pt x="12" y="23"/>
                  </a:cubicBezTo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2" name="Freeform 10755"/>
            <p:cNvSpPr>
              <a:spLocks noEditPoints="1"/>
            </p:cNvSpPr>
            <p:nvPr/>
          </p:nvSpPr>
          <p:spPr bwMode="auto">
            <a:xfrm>
              <a:off x="7620145" y="3813176"/>
              <a:ext cx="574675" cy="25400"/>
            </a:xfrm>
            <a:custGeom>
              <a:avLst/>
              <a:gdLst>
                <a:gd name="T0" fmla="*/ 148 w 153"/>
                <a:gd name="T1" fmla="*/ 7 h 7"/>
                <a:gd name="T2" fmla="*/ 144 w 153"/>
                <a:gd name="T3" fmla="*/ 7 h 7"/>
                <a:gd name="T4" fmla="*/ 141 w 153"/>
                <a:gd name="T5" fmla="*/ 3 h 7"/>
                <a:gd name="T6" fmla="*/ 145 w 153"/>
                <a:gd name="T7" fmla="*/ 2 h 7"/>
                <a:gd name="T8" fmla="*/ 145 w 153"/>
                <a:gd name="T9" fmla="*/ 1 h 7"/>
                <a:gd name="T10" fmla="*/ 141 w 153"/>
                <a:gd name="T11" fmla="*/ 4 h 7"/>
                <a:gd name="T12" fmla="*/ 145 w 153"/>
                <a:gd name="T13" fmla="*/ 7 h 7"/>
                <a:gd name="T14" fmla="*/ 137 w 153"/>
                <a:gd name="T15" fmla="*/ 7 h 7"/>
                <a:gd name="T16" fmla="*/ 133 w 153"/>
                <a:gd name="T17" fmla="*/ 7 h 7"/>
                <a:gd name="T18" fmla="*/ 130 w 153"/>
                <a:gd name="T19" fmla="*/ 7 h 7"/>
                <a:gd name="T20" fmla="*/ 123 w 153"/>
                <a:gd name="T21" fmla="*/ 7 h 7"/>
                <a:gd name="T22" fmla="*/ 118 w 153"/>
                <a:gd name="T23" fmla="*/ 1 h 7"/>
                <a:gd name="T24" fmla="*/ 111 w 153"/>
                <a:gd name="T25" fmla="*/ 7 h 7"/>
                <a:gd name="T26" fmla="*/ 106 w 153"/>
                <a:gd name="T27" fmla="*/ 1 h 7"/>
                <a:gd name="T28" fmla="*/ 101 w 153"/>
                <a:gd name="T29" fmla="*/ 3 h 7"/>
                <a:gd name="T30" fmla="*/ 102 w 153"/>
                <a:gd name="T31" fmla="*/ 2 h 7"/>
                <a:gd name="T32" fmla="*/ 101 w 153"/>
                <a:gd name="T33" fmla="*/ 0 h 7"/>
                <a:gd name="T34" fmla="*/ 103 w 153"/>
                <a:gd name="T35" fmla="*/ 7 h 7"/>
                <a:gd name="T36" fmla="*/ 91 w 153"/>
                <a:gd name="T37" fmla="*/ 6 h 7"/>
                <a:gd name="T38" fmla="*/ 91 w 153"/>
                <a:gd name="T39" fmla="*/ 1 h 7"/>
                <a:gd name="T40" fmla="*/ 95 w 153"/>
                <a:gd name="T41" fmla="*/ 4 h 7"/>
                <a:gd name="T42" fmla="*/ 92 w 153"/>
                <a:gd name="T43" fmla="*/ 0 h 7"/>
                <a:gd name="T44" fmla="*/ 90 w 153"/>
                <a:gd name="T45" fmla="*/ 6 h 7"/>
                <a:gd name="T46" fmla="*/ 95 w 153"/>
                <a:gd name="T47" fmla="*/ 5 h 7"/>
                <a:gd name="T48" fmla="*/ 85 w 153"/>
                <a:gd name="T49" fmla="*/ 4 h 7"/>
                <a:gd name="T50" fmla="*/ 81 w 153"/>
                <a:gd name="T51" fmla="*/ 4 h 7"/>
                <a:gd name="T52" fmla="*/ 78 w 153"/>
                <a:gd name="T53" fmla="*/ 1 h 7"/>
                <a:gd name="T54" fmla="*/ 79 w 153"/>
                <a:gd name="T55" fmla="*/ 0 h 7"/>
                <a:gd name="T56" fmla="*/ 81 w 153"/>
                <a:gd name="T57" fmla="*/ 4 h 7"/>
                <a:gd name="T58" fmla="*/ 77 w 153"/>
                <a:gd name="T59" fmla="*/ 6 h 7"/>
                <a:gd name="T60" fmla="*/ 82 w 153"/>
                <a:gd name="T61" fmla="*/ 5 h 7"/>
                <a:gd name="T62" fmla="*/ 70 w 153"/>
                <a:gd name="T63" fmla="*/ 7 h 7"/>
                <a:gd name="T64" fmla="*/ 67 w 153"/>
                <a:gd name="T65" fmla="*/ 7 h 7"/>
                <a:gd name="T66" fmla="*/ 60 w 153"/>
                <a:gd name="T67" fmla="*/ 3 h 7"/>
                <a:gd name="T68" fmla="*/ 59 w 153"/>
                <a:gd name="T69" fmla="*/ 1 h 7"/>
                <a:gd name="T70" fmla="*/ 60 w 153"/>
                <a:gd name="T71" fmla="*/ 1 h 7"/>
                <a:gd name="T72" fmla="*/ 58 w 153"/>
                <a:gd name="T73" fmla="*/ 4 h 7"/>
                <a:gd name="T74" fmla="*/ 51 w 153"/>
                <a:gd name="T75" fmla="*/ 7 h 7"/>
                <a:gd name="T76" fmla="*/ 38 w 153"/>
                <a:gd name="T77" fmla="*/ 0 h 7"/>
                <a:gd name="T78" fmla="*/ 34 w 153"/>
                <a:gd name="T79" fmla="*/ 6 h 7"/>
                <a:gd name="T80" fmla="*/ 31 w 153"/>
                <a:gd name="T81" fmla="*/ 5 h 7"/>
                <a:gd name="T82" fmla="*/ 33 w 153"/>
                <a:gd name="T83" fmla="*/ 1 h 7"/>
                <a:gd name="T84" fmla="*/ 35 w 153"/>
                <a:gd name="T85" fmla="*/ 2 h 7"/>
                <a:gd name="T86" fmla="*/ 30 w 153"/>
                <a:gd name="T87" fmla="*/ 2 h 7"/>
                <a:gd name="T88" fmla="*/ 32 w 153"/>
                <a:gd name="T89" fmla="*/ 7 h 7"/>
                <a:gd name="T90" fmla="*/ 27 w 153"/>
                <a:gd name="T91" fmla="*/ 0 h 7"/>
                <a:gd name="T92" fmla="*/ 23 w 153"/>
                <a:gd name="T93" fmla="*/ 4 h 7"/>
                <a:gd name="T94" fmla="*/ 22 w 153"/>
                <a:gd name="T95" fmla="*/ 1 h 7"/>
                <a:gd name="T96" fmla="*/ 20 w 153"/>
                <a:gd name="T97" fmla="*/ 1 h 7"/>
                <a:gd name="T98" fmla="*/ 23 w 153"/>
                <a:gd name="T99" fmla="*/ 4 h 7"/>
                <a:gd name="T100" fmla="*/ 19 w 153"/>
                <a:gd name="T101" fmla="*/ 6 h 7"/>
                <a:gd name="T102" fmla="*/ 17 w 153"/>
                <a:gd name="T103" fmla="*/ 5 h 7"/>
                <a:gd name="T104" fmla="*/ 14 w 153"/>
                <a:gd name="T105" fmla="*/ 3 h 7"/>
                <a:gd name="T106" fmla="*/ 17 w 153"/>
                <a:gd name="T107" fmla="*/ 1 h 7"/>
                <a:gd name="T108" fmla="*/ 16 w 153"/>
                <a:gd name="T109" fmla="*/ 4 h 7"/>
                <a:gd name="T110" fmla="*/ 14 w 153"/>
                <a:gd name="T111" fmla="*/ 7 h 7"/>
                <a:gd name="T112" fmla="*/ 17 w 153"/>
                <a:gd name="T113" fmla="*/ 7 h 7"/>
                <a:gd name="T114" fmla="*/ 6 w 153"/>
                <a:gd name="T115" fmla="*/ 7 h 7"/>
                <a:gd name="T116" fmla="*/ 1 w 153"/>
                <a:gd name="T11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3" h="7">
                  <a:moveTo>
                    <a:pt x="153" y="7"/>
                  </a:moveTo>
                  <a:cubicBezTo>
                    <a:pt x="153" y="0"/>
                    <a:pt x="153" y="0"/>
                    <a:pt x="153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48" y="7"/>
                    <a:pt x="148" y="7"/>
                    <a:pt x="148" y="7"/>
                  </a:cubicBezTo>
                  <a:cubicBezTo>
                    <a:pt x="148" y="7"/>
                    <a:pt x="148" y="7"/>
                    <a:pt x="148" y="7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52" y="7"/>
                    <a:pt x="152" y="7"/>
                    <a:pt x="152" y="7"/>
                  </a:cubicBezTo>
                  <a:lnTo>
                    <a:pt x="153" y="7"/>
                  </a:lnTo>
                  <a:close/>
                  <a:moveTo>
                    <a:pt x="145" y="5"/>
                  </a:moveTo>
                  <a:cubicBezTo>
                    <a:pt x="145" y="5"/>
                    <a:pt x="145" y="5"/>
                    <a:pt x="145" y="5"/>
                  </a:cubicBezTo>
                  <a:cubicBezTo>
                    <a:pt x="145" y="6"/>
                    <a:pt x="145" y="6"/>
                    <a:pt x="145" y="6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4"/>
                    <a:pt x="141" y="4"/>
                    <a:pt x="141" y="4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41" y="2"/>
                    <a:pt x="141" y="2"/>
                    <a:pt x="141" y="2"/>
                  </a:cubicBezTo>
                  <a:cubicBezTo>
                    <a:pt x="141" y="2"/>
                    <a:pt x="141" y="2"/>
                    <a:pt x="141" y="2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43" y="1"/>
                    <a:pt x="143" y="1"/>
                    <a:pt x="143" y="1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3"/>
                    <a:pt x="145" y="3"/>
                    <a:pt x="145" y="3"/>
                  </a:cubicBezTo>
                  <a:cubicBezTo>
                    <a:pt x="145" y="3"/>
                    <a:pt x="145" y="3"/>
                    <a:pt x="145" y="4"/>
                  </a:cubicBezTo>
                  <a:cubicBezTo>
                    <a:pt x="145" y="4"/>
                    <a:pt x="145" y="4"/>
                    <a:pt x="145" y="5"/>
                  </a:cubicBezTo>
                  <a:moveTo>
                    <a:pt x="145" y="3"/>
                  </a:moveTo>
                  <a:cubicBezTo>
                    <a:pt x="145" y="2"/>
                    <a:pt x="145" y="2"/>
                    <a:pt x="145" y="2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1" y="1"/>
                    <a:pt x="141" y="1"/>
                    <a:pt x="141" y="1"/>
                  </a:cubicBezTo>
                  <a:cubicBezTo>
                    <a:pt x="141" y="1"/>
                    <a:pt x="141" y="1"/>
                    <a:pt x="141" y="1"/>
                  </a:cubicBezTo>
                  <a:cubicBezTo>
                    <a:pt x="141" y="2"/>
                    <a:pt x="141" y="2"/>
                    <a:pt x="141" y="2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41" y="3"/>
                    <a:pt x="141" y="3"/>
                    <a:pt x="141" y="4"/>
                  </a:cubicBezTo>
                  <a:cubicBezTo>
                    <a:pt x="141" y="4"/>
                    <a:pt x="141" y="5"/>
                    <a:pt x="141" y="5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1" y="7"/>
                    <a:pt x="141" y="7"/>
                    <a:pt x="141" y="7"/>
                  </a:cubicBezTo>
                  <a:cubicBezTo>
                    <a:pt x="142" y="7"/>
                    <a:pt x="142" y="7"/>
                    <a:pt x="142" y="7"/>
                  </a:cubicBezTo>
                  <a:cubicBezTo>
                    <a:pt x="143" y="7"/>
                    <a:pt x="143" y="7"/>
                    <a:pt x="143" y="7"/>
                  </a:cubicBezTo>
                  <a:cubicBezTo>
                    <a:pt x="144" y="7"/>
                    <a:pt x="144" y="7"/>
                    <a:pt x="144" y="7"/>
                  </a:cubicBezTo>
                  <a:cubicBezTo>
                    <a:pt x="145" y="7"/>
                    <a:pt x="145" y="7"/>
                    <a:pt x="145" y="7"/>
                  </a:cubicBezTo>
                  <a:cubicBezTo>
                    <a:pt x="145" y="6"/>
                    <a:pt x="145" y="6"/>
                    <a:pt x="145" y="6"/>
                  </a:cubicBezTo>
                  <a:cubicBezTo>
                    <a:pt x="145" y="6"/>
                    <a:pt x="145" y="6"/>
                    <a:pt x="145" y="6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5"/>
                    <a:pt x="145" y="4"/>
                    <a:pt x="145" y="4"/>
                  </a:cubicBezTo>
                  <a:cubicBezTo>
                    <a:pt x="145" y="3"/>
                    <a:pt x="145" y="3"/>
                    <a:pt x="145" y="3"/>
                  </a:cubicBezTo>
                  <a:moveTo>
                    <a:pt x="138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38" y="7"/>
                    <a:pt x="138" y="7"/>
                    <a:pt x="138" y="7"/>
                  </a:cubicBezTo>
                  <a:lnTo>
                    <a:pt x="138" y="0"/>
                  </a:lnTo>
                  <a:close/>
                  <a:moveTo>
                    <a:pt x="135" y="1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1"/>
                    <a:pt x="131" y="1"/>
                    <a:pt x="131" y="1"/>
                  </a:cubicBezTo>
                  <a:cubicBezTo>
                    <a:pt x="133" y="1"/>
                    <a:pt x="133" y="1"/>
                    <a:pt x="133" y="1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3" y="1"/>
                    <a:pt x="133" y="1"/>
                    <a:pt x="133" y="1"/>
                  </a:cubicBezTo>
                  <a:lnTo>
                    <a:pt x="135" y="1"/>
                  </a:lnTo>
                  <a:close/>
                  <a:moveTo>
                    <a:pt x="129" y="5"/>
                  </a:moveTo>
                  <a:cubicBezTo>
                    <a:pt x="126" y="5"/>
                    <a:pt x="126" y="5"/>
                    <a:pt x="126" y="5"/>
                  </a:cubicBezTo>
                  <a:cubicBezTo>
                    <a:pt x="127" y="1"/>
                    <a:pt x="127" y="1"/>
                    <a:pt x="127" y="1"/>
                  </a:cubicBezTo>
                  <a:lnTo>
                    <a:pt x="129" y="5"/>
                  </a:lnTo>
                  <a:close/>
                  <a:moveTo>
                    <a:pt x="130" y="7"/>
                  </a:moveTo>
                  <a:cubicBezTo>
                    <a:pt x="128" y="0"/>
                    <a:pt x="128" y="0"/>
                    <a:pt x="128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5" y="7"/>
                    <a:pt x="125" y="7"/>
                    <a:pt x="125" y="7"/>
                  </a:cubicBezTo>
                  <a:cubicBezTo>
                    <a:pt x="125" y="7"/>
                    <a:pt x="125" y="7"/>
                    <a:pt x="125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9" y="6"/>
                    <a:pt x="129" y="6"/>
                    <a:pt x="129" y="6"/>
                  </a:cubicBezTo>
                  <a:cubicBezTo>
                    <a:pt x="130" y="7"/>
                    <a:pt x="130" y="7"/>
                    <a:pt x="130" y="7"/>
                  </a:cubicBezTo>
                  <a:close/>
                  <a:moveTo>
                    <a:pt x="123" y="7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8" y="1"/>
                    <a:pt x="118" y="1"/>
                    <a:pt x="118" y="1"/>
                  </a:cubicBezTo>
                  <a:cubicBezTo>
                    <a:pt x="122" y="7"/>
                    <a:pt x="122" y="7"/>
                    <a:pt x="122" y="7"/>
                  </a:cubicBezTo>
                  <a:lnTo>
                    <a:pt x="123" y="7"/>
                  </a:lnTo>
                  <a:close/>
                  <a:moveTo>
                    <a:pt x="116" y="4"/>
                  </a:moveTo>
                  <a:cubicBezTo>
                    <a:pt x="114" y="4"/>
                    <a:pt x="114" y="4"/>
                    <a:pt x="114" y="4"/>
                  </a:cubicBezTo>
                  <a:cubicBezTo>
                    <a:pt x="114" y="5"/>
                    <a:pt x="114" y="5"/>
                    <a:pt x="114" y="5"/>
                  </a:cubicBezTo>
                  <a:cubicBezTo>
                    <a:pt x="116" y="5"/>
                    <a:pt x="116" y="5"/>
                    <a:pt x="116" y="5"/>
                  </a:cubicBezTo>
                  <a:lnTo>
                    <a:pt x="116" y="4"/>
                  </a:lnTo>
                  <a:close/>
                  <a:moveTo>
                    <a:pt x="111" y="7"/>
                  </a:moveTo>
                  <a:cubicBezTo>
                    <a:pt x="111" y="0"/>
                    <a:pt x="111" y="0"/>
                    <a:pt x="111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6" y="7"/>
                    <a:pt x="106" y="7"/>
                    <a:pt x="106" y="7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7"/>
                    <a:pt x="110" y="7"/>
                    <a:pt x="110" y="7"/>
                  </a:cubicBezTo>
                  <a:lnTo>
                    <a:pt x="111" y="7"/>
                  </a:lnTo>
                  <a:close/>
                  <a:moveTo>
                    <a:pt x="102" y="3"/>
                  </a:moveTo>
                  <a:cubicBezTo>
                    <a:pt x="101" y="3"/>
                    <a:pt x="101" y="3"/>
                    <a:pt x="101" y="3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01" y="1"/>
                    <a:pt x="101" y="1"/>
                    <a:pt x="101" y="1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2" y="2"/>
                    <a:pt x="102" y="2"/>
                    <a:pt x="102" y="2"/>
                  </a:cubicBezTo>
                  <a:cubicBezTo>
                    <a:pt x="102" y="3"/>
                    <a:pt x="102" y="3"/>
                    <a:pt x="102" y="3"/>
                  </a:cubicBezTo>
                  <a:moveTo>
                    <a:pt x="103" y="7"/>
                  </a:moveTo>
                  <a:cubicBezTo>
                    <a:pt x="101" y="4"/>
                    <a:pt x="101" y="4"/>
                    <a:pt x="101" y="4"/>
                  </a:cubicBezTo>
                  <a:cubicBezTo>
                    <a:pt x="101" y="4"/>
                    <a:pt x="102" y="4"/>
                    <a:pt x="102" y="3"/>
                  </a:cubicBezTo>
                  <a:cubicBezTo>
                    <a:pt x="102" y="3"/>
                    <a:pt x="102" y="3"/>
                    <a:pt x="102" y="2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102" y="1"/>
                    <a:pt x="102" y="1"/>
                    <a:pt x="102" y="1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100" y="4"/>
                    <a:pt x="100" y="4"/>
                    <a:pt x="100" y="4"/>
                  </a:cubicBezTo>
                  <a:cubicBezTo>
                    <a:pt x="102" y="7"/>
                    <a:pt x="102" y="7"/>
                    <a:pt x="102" y="7"/>
                  </a:cubicBezTo>
                  <a:lnTo>
                    <a:pt x="103" y="7"/>
                  </a:lnTo>
                  <a:close/>
                  <a:moveTo>
                    <a:pt x="95" y="5"/>
                  </a:moveTo>
                  <a:cubicBezTo>
                    <a:pt x="94" y="5"/>
                    <a:pt x="94" y="5"/>
                    <a:pt x="94" y="5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4" y="6"/>
                    <a:pt x="94" y="6"/>
                    <a:pt x="94" y="6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2"/>
                    <a:pt x="91" y="2"/>
                    <a:pt x="91" y="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5" y="3"/>
                    <a:pt x="95" y="3"/>
                    <a:pt x="95" y="4"/>
                  </a:cubicBezTo>
                  <a:cubicBezTo>
                    <a:pt x="95" y="4"/>
                    <a:pt x="95" y="4"/>
                    <a:pt x="95" y="5"/>
                  </a:cubicBezTo>
                  <a:moveTo>
                    <a:pt x="95" y="3"/>
                  </a:move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90" y="2"/>
                    <a:pt x="90" y="2"/>
                    <a:pt x="90" y="2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0" y="3"/>
                    <a:pt x="90" y="3"/>
                    <a:pt x="90" y="4"/>
                  </a:cubicBezTo>
                  <a:cubicBezTo>
                    <a:pt x="90" y="4"/>
                    <a:pt x="90" y="5"/>
                    <a:pt x="90" y="5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5" y="5"/>
                    <a:pt x="95" y="4"/>
                    <a:pt x="95" y="4"/>
                  </a:cubicBezTo>
                  <a:cubicBezTo>
                    <a:pt x="95" y="3"/>
                    <a:pt x="95" y="3"/>
                    <a:pt x="95" y="3"/>
                  </a:cubicBezTo>
                  <a:moveTo>
                    <a:pt x="88" y="1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1"/>
                    <a:pt x="85" y="1"/>
                    <a:pt x="85" y="1"/>
                  </a:cubicBezTo>
                  <a:lnTo>
                    <a:pt x="88" y="1"/>
                  </a:lnTo>
                  <a:close/>
                  <a:moveTo>
                    <a:pt x="82" y="5"/>
                  </a:moveTo>
                  <a:cubicBezTo>
                    <a:pt x="81" y="4"/>
                    <a:pt x="81" y="4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8" y="3"/>
                    <a:pt x="78" y="3"/>
                    <a:pt x="78" y="3"/>
                  </a:cubicBezTo>
                  <a:cubicBezTo>
                    <a:pt x="78" y="3"/>
                    <a:pt x="78" y="3"/>
                    <a:pt x="78" y="2"/>
                  </a:cubicBezTo>
                  <a:cubicBezTo>
                    <a:pt x="78" y="2"/>
                    <a:pt x="78" y="1"/>
                    <a:pt x="78" y="1"/>
                  </a:cubicBezTo>
                  <a:cubicBezTo>
                    <a:pt x="78" y="1"/>
                    <a:pt x="79" y="1"/>
                    <a:pt x="79" y="1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0"/>
                    <a:pt x="80" y="0"/>
                    <a:pt x="79" y="0"/>
                  </a:cubicBezTo>
                  <a:cubicBezTo>
                    <a:pt x="79" y="0"/>
                    <a:pt x="78" y="0"/>
                    <a:pt x="78" y="1"/>
                  </a:cubicBezTo>
                  <a:cubicBezTo>
                    <a:pt x="77" y="1"/>
                    <a:pt x="77" y="2"/>
                    <a:pt x="77" y="2"/>
                  </a:cubicBezTo>
                  <a:cubicBezTo>
                    <a:pt x="77" y="3"/>
                    <a:pt x="77" y="3"/>
                    <a:pt x="78" y="3"/>
                  </a:cubicBezTo>
                  <a:cubicBezTo>
                    <a:pt x="78" y="4"/>
                    <a:pt x="78" y="4"/>
                    <a:pt x="79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0" y="7"/>
                    <a:pt x="80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6"/>
                    <a:pt x="78" y="6"/>
                    <a:pt x="78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0" y="7"/>
                    <a:pt x="81" y="7"/>
                    <a:pt x="81" y="7"/>
                  </a:cubicBezTo>
                  <a:cubicBezTo>
                    <a:pt x="82" y="6"/>
                    <a:pt x="82" y="6"/>
                    <a:pt x="82" y="5"/>
                  </a:cubicBezTo>
                  <a:cubicBezTo>
                    <a:pt x="82" y="5"/>
                    <a:pt x="82" y="5"/>
                    <a:pt x="82" y="5"/>
                  </a:cubicBezTo>
                  <a:moveTo>
                    <a:pt x="75" y="7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4" y="7"/>
                    <a:pt x="74" y="7"/>
                    <a:pt x="74" y="7"/>
                  </a:cubicBezTo>
                  <a:lnTo>
                    <a:pt x="75" y="7"/>
                  </a:lnTo>
                  <a:close/>
                  <a:moveTo>
                    <a:pt x="66" y="5"/>
                  </a:moveTo>
                  <a:cubicBezTo>
                    <a:pt x="63" y="5"/>
                    <a:pt x="63" y="5"/>
                    <a:pt x="63" y="5"/>
                  </a:cubicBezTo>
                  <a:cubicBezTo>
                    <a:pt x="65" y="1"/>
                    <a:pt x="65" y="1"/>
                    <a:pt x="65" y="1"/>
                  </a:cubicBezTo>
                  <a:lnTo>
                    <a:pt x="66" y="5"/>
                  </a:lnTo>
                  <a:close/>
                  <a:moveTo>
                    <a:pt x="67" y="7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7" y="7"/>
                    <a:pt x="67" y="7"/>
                    <a:pt x="67" y="7"/>
                  </a:cubicBezTo>
                  <a:close/>
                  <a:moveTo>
                    <a:pt x="60" y="3"/>
                  </a:moveTo>
                  <a:cubicBezTo>
                    <a:pt x="59" y="3"/>
                    <a:pt x="59" y="3"/>
                    <a:pt x="59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3"/>
                    <a:pt x="60" y="3"/>
                    <a:pt x="60" y="3"/>
                  </a:cubicBezTo>
                  <a:moveTo>
                    <a:pt x="60" y="7"/>
                  </a:moveTo>
                  <a:cubicBezTo>
                    <a:pt x="59" y="4"/>
                    <a:pt x="59" y="4"/>
                    <a:pt x="59" y="4"/>
                  </a:cubicBezTo>
                  <a:cubicBezTo>
                    <a:pt x="59" y="4"/>
                    <a:pt x="59" y="4"/>
                    <a:pt x="60" y="3"/>
                  </a:cubicBezTo>
                  <a:cubicBezTo>
                    <a:pt x="60" y="3"/>
                    <a:pt x="60" y="3"/>
                    <a:pt x="60" y="2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60" y="7"/>
                    <a:pt x="60" y="7"/>
                    <a:pt x="60" y="7"/>
                  </a:cubicBezTo>
                  <a:close/>
                  <a:moveTo>
                    <a:pt x="53" y="1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1"/>
                    <a:pt x="51" y="1"/>
                    <a:pt x="51" y="1"/>
                  </a:cubicBezTo>
                  <a:lnTo>
                    <a:pt x="53" y="1"/>
                  </a:lnTo>
                  <a:close/>
                  <a:moveTo>
                    <a:pt x="43" y="7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42" y="7"/>
                    <a:pt x="42" y="7"/>
                    <a:pt x="42" y="7"/>
                  </a:cubicBezTo>
                  <a:lnTo>
                    <a:pt x="43" y="7"/>
                  </a:lnTo>
                  <a:close/>
                  <a:moveTo>
                    <a:pt x="34" y="5"/>
                  </a:moveTo>
                  <a:cubicBezTo>
                    <a:pt x="34" y="5"/>
                    <a:pt x="34" y="5"/>
                    <a:pt x="34" y="5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"/>
                    <a:pt x="34" y="3"/>
                    <a:pt x="34" y="4"/>
                  </a:cubicBezTo>
                  <a:cubicBezTo>
                    <a:pt x="34" y="4"/>
                    <a:pt x="34" y="4"/>
                    <a:pt x="34" y="5"/>
                  </a:cubicBezTo>
                  <a:moveTo>
                    <a:pt x="35" y="3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30" y="3"/>
                    <a:pt x="30" y="4"/>
                  </a:cubicBezTo>
                  <a:cubicBezTo>
                    <a:pt x="30" y="4"/>
                    <a:pt x="30" y="5"/>
                    <a:pt x="30" y="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4"/>
                    <a:pt x="35" y="4"/>
                  </a:cubicBezTo>
                  <a:cubicBezTo>
                    <a:pt x="35" y="3"/>
                    <a:pt x="35" y="3"/>
                    <a:pt x="35" y="3"/>
                  </a:cubicBezTo>
                  <a:moveTo>
                    <a:pt x="27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lnTo>
                    <a:pt x="27" y="0"/>
                  </a:lnTo>
                  <a:close/>
                  <a:moveTo>
                    <a:pt x="24" y="5"/>
                  </a:move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20" y="3"/>
                    <a:pt x="20" y="2"/>
                  </a:cubicBezTo>
                  <a:cubicBezTo>
                    <a:pt x="20" y="2"/>
                    <a:pt x="20" y="1"/>
                    <a:pt x="20" y="1"/>
                  </a:cubicBezTo>
                  <a:cubicBezTo>
                    <a:pt x="21" y="1"/>
                    <a:pt x="21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0" y="0"/>
                    <a:pt x="20" y="1"/>
                  </a:cubicBezTo>
                  <a:cubicBezTo>
                    <a:pt x="20" y="1"/>
                    <a:pt x="19" y="2"/>
                    <a:pt x="19" y="2"/>
                  </a:cubicBezTo>
                  <a:cubicBezTo>
                    <a:pt x="19" y="3"/>
                    <a:pt x="20" y="3"/>
                    <a:pt x="20" y="3"/>
                  </a:cubicBezTo>
                  <a:cubicBezTo>
                    <a:pt x="20" y="4"/>
                    <a:pt x="21" y="4"/>
                    <a:pt x="21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7"/>
                    <a:pt x="22" y="7"/>
                    <a:pt x="22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3" y="7"/>
                    <a:pt x="23" y="7"/>
                  </a:cubicBezTo>
                  <a:cubicBezTo>
                    <a:pt x="24" y="6"/>
                    <a:pt x="24" y="6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moveTo>
                    <a:pt x="17" y="5"/>
                  </a:moveTo>
                  <a:cubicBezTo>
                    <a:pt x="17" y="4"/>
                    <a:pt x="17" y="4"/>
                    <a:pt x="17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3" y="1"/>
                    <a:pt x="14" y="1"/>
                  </a:cubicBezTo>
                  <a:cubicBezTo>
                    <a:pt x="14" y="1"/>
                    <a:pt x="14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4" y="0"/>
                    <a:pt x="14" y="0"/>
                    <a:pt x="13" y="1"/>
                  </a:cubicBezTo>
                  <a:cubicBezTo>
                    <a:pt x="13" y="1"/>
                    <a:pt x="13" y="2"/>
                    <a:pt x="13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6"/>
                    <a:pt x="17" y="6"/>
                    <a:pt x="16" y="6"/>
                  </a:cubicBezTo>
                  <a:cubicBezTo>
                    <a:pt x="16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6" y="7"/>
                    <a:pt x="16" y="7"/>
                    <a:pt x="17" y="7"/>
                  </a:cubicBezTo>
                  <a:cubicBezTo>
                    <a:pt x="17" y="6"/>
                    <a:pt x="17" y="6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moveTo>
                    <a:pt x="1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0"/>
                  </a:lnTo>
                  <a:close/>
                  <a:moveTo>
                    <a:pt x="6" y="7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7"/>
                    <a:pt x="6" y="7"/>
                    <a:pt x="6" y="7"/>
                  </a:cubicBez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3" name="Rectangle 10756"/>
            <p:cNvSpPr>
              <a:spLocks noChangeArrowheads="1"/>
            </p:cNvSpPr>
            <p:nvPr/>
          </p:nvSpPr>
          <p:spPr bwMode="auto">
            <a:xfrm>
              <a:off x="8067820" y="3676651"/>
              <a:ext cx="14288" cy="19050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4" name="Rectangle 10757"/>
            <p:cNvSpPr>
              <a:spLocks noChangeArrowheads="1"/>
            </p:cNvSpPr>
            <p:nvPr/>
          </p:nvSpPr>
          <p:spPr bwMode="auto">
            <a:xfrm>
              <a:off x="8067820" y="3702051"/>
              <a:ext cx="14288" cy="1905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5" name="Rectangle 10758"/>
            <p:cNvSpPr>
              <a:spLocks noChangeArrowheads="1"/>
            </p:cNvSpPr>
            <p:nvPr/>
          </p:nvSpPr>
          <p:spPr bwMode="auto">
            <a:xfrm>
              <a:off x="8067820" y="3725863"/>
              <a:ext cx="14288" cy="1905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6" name="Rectangle 10759"/>
            <p:cNvSpPr>
              <a:spLocks noChangeArrowheads="1"/>
            </p:cNvSpPr>
            <p:nvPr/>
          </p:nvSpPr>
          <p:spPr bwMode="auto">
            <a:xfrm>
              <a:off x="8067820" y="3744913"/>
              <a:ext cx="14288" cy="19050"/>
            </a:xfrm>
            <a:prstGeom prst="rect">
              <a:avLst/>
            </a:prstGeom>
            <a:solidFill>
              <a:srgbClr val="8082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0720" name="Group 50719"/>
          <p:cNvGrpSpPr/>
          <p:nvPr/>
        </p:nvGrpSpPr>
        <p:grpSpPr>
          <a:xfrm>
            <a:off x="291811" y="1767753"/>
            <a:ext cx="1911570" cy="445510"/>
            <a:chOff x="5611957" y="3357563"/>
            <a:chExt cx="1546226" cy="360363"/>
          </a:xfrm>
        </p:grpSpPr>
        <p:sp>
          <p:nvSpPr>
            <p:cNvPr id="34287" name="Freeform 10761"/>
            <p:cNvSpPr>
              <a:spLocks/>
            </p:cNvSpPr>
            <p:nvPr/>
          </p:nvSpPr>
          <p:spPr bwMode="auto">
            <a:xfrm>
              <a:off x="6385070" y="3486151"/>
              <a:ext cx="19050" cy="49213"/>
            </a:xfrm>
            <a:custGeom>
              <a:avLst/>
              <a:gdLst>
                <a:gd name="T0" fmla="*/ 5 w 5"/>
                <a:gd name="T1" fmla="*/ 0 h 13"/>
                <a:gd name="T2" fmla="*/ 5 w 5"/>
                <a:gd name="T3" fmla="*/ 1 h 13"/>
                <a:gd name="T4" fmla="*/ 4 w 5"/>
                <a:gd name="T5" fmla="*/ 3 h 13"/>
                <a:gd name="T6" fmla="*/ 4 w 5"/>
                <a:gd name="T7" fmla="*/ 10 h 13"/>
                <a:gd name="T8" fmla="*/ 5 w 5"/>
                <a:gd name="T9" fmla="*/ 12 h 13"/>
                <a:gd name="T10" fmla="*/ 5 w 5"/>
                <a:gd name="T11" fmla="*/ 13 h 13"/>
                <a:gd name="T12" fmla="*/ 0 w 5"/>
                <a:gd name="T13" fmla="*/ 13 h 13"/>
                <a:gd name="T14" fmla="*/ 0 w 5"/>
                <a:gd name="T15" fmla="*/ 12 h 13"/>
                <a:gd name="T16" fmla="*/ 2 w 5"/>
                <a:gd name="T17" fmla="*/ 10 h 13"/>
                <a:gd name="T18" fmla="*/ 2 w 5"/>
                <a:gd name="T19" fmla="*/ 3 h 13"/>
                <a:gd name="T20" fmla="*/ 0 w 5"/>
                <a:gd name="T21" fmla="*/ 1 h 13"/>
                <a:gd name="T22" fmla="*/ 0 w 5"/>
                <a:gd name="T23" fmla="*/ 0 h 13"/>
                <a:gd name="T24" fmla="*/ 5 w 5"/>
                <a:gd name="T2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13">
                  <a:moveTo>
                    <a:pt x="5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2" y="12"/>
                    <a:pt x="2" y="1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8" name="Freeform 10762"/>
            <p:cNvSpPr>
              <a:spLocks/>
            </p:cNvSpPr>
            <p:nvPr/>
          </p:nvSpPr>
          <p:spPr bwMode="auto">
            <a:xfrm>
              <a:off x="6418407" y="3486151"/>
              <a:ext cx="52388" cy="49213"/>
            </a:xfrm>
            <a:custGeom>
              <a:avLst/>
              <a:gdLst>
                <a:gd name="T0" fmla="*/ 3 w 14"/>
                <a:gd name="T1" fmla="*/ 0 h 13"/>
                <a:gd name="T2" fmla="*/ 11 w 14"/>
                <a:gd name="T3" fmla="*/ 9 h 13"/>
                <a:gd name="T4" fmla="*/ 11 w 14"/>
                <a:gd name="T5" fmla="*/ 9 h 13"/>
                <a:gd name="T6" fmla="*/ 11 w 14"/>
                <a:gd name="T7" fmla="*/ 6 h 13"/>
                <a:gd name="T8" fmla="*/ 11 w 14"/>
                <a:gd name="T9" fmla="*/ 2 h 13"/>
                <a:gd name="T10" fmla="*/ 9 w 14"/>
                <a:gd name="T11" fmla="*/ 1 h 13"/>
                <a:gd name="T12" fmla="*/ 9 w 14"/>
                <a:gd name="T13" fmla="*/ 0 h 13"/>
                <a:gd name="T14" fmla="*/ 14 w 14"/>
                <a:gd name="T15" fmla="*/ 0 h 13"/>
                <a:gd name="T16" fmla="*/ 14 w 14"/>
                <a:gd name="T17" fmla="*/ 1 h 13"/>
                <a:gd name="T18" fmla="*/ 12 w 14"/>
                <a:gd name="T19" fmla="*/ 2 h 13"/>
                <a:gd name="T20" fmla="*/ 12 w 14"/>
                <a:gd name="T21" fmla="*/ 6 h 13"/>
                <a:gd name="T22" fmla="*/ 12 w 14"/>
                <a:gd name="T23" fmla="*/ 13 h 13"/>
                <a:gd name="T24" fmla="*/ 11 w 14"/>
                <a:gd name="T25" fmla="*/ 13 h 13"/>
                <a:gd name="T26" fmla="*/ 3 w 14"/>
                <a:gd name="T27" fmla="*/ 3 h 13"/>
                <a:gd name="T28" fmla="*/ 3 w 14"/>
                <a:gd name="T29" fmla="*/ 3 h 13"/>
                <a:gd name="T30" fmla="*/ 3 w 14"/>
                <a:gd name="T31" fmla="*/ 7 h 13"/>
                <a:gd name="T32" fmla="*/ 3 w 14"/>
                <a:gd name="T33" fmla="*/ 11 h 13"/>
                <a:gd name="T34" fmla="*/ 5 w 14"/>
                <a:gd name="T35" fmla="*/ 12 h 13"/>
                <a:gd name="T36" fmla="*/ 5 w 14"/>
                <a:gd name="T37" fmla="*/ 13 h 13"/>
                <a:gd name="T38" fmla="*/ 0 w 14"/>
                <a:gd name="T39" fmla="*/ 13 h 13"/>
                <a:gd name="T40" fmla="*/ 0 w 14"/>
                <a:gd name="T41" fmla="*/ 12 h 13"/>
                <a:gd name="T42" fmla="*/ 2 w 14"/>
                <a:gd name="T43" fmla="*/ 11 h 13"/>
                <a:gd name="T44" fmla="*/ 2 w 14"/>
                <a:gd name="T45" fmla="*/ 7 h 13"/>
                <a:gd name="T46" fmla="*/ 2 w 14"/>
                <a:gd name="T47" fmla="*/ 4 h 13"/>
                <a:gd name="T48" fmla="*/ 0 w 14"/>
                <a:gd name="T49" fmla="*/ 1 h 13"/>
                <a:gd name="T50" fmla="*/ 0 w 14"/>
                <a:gd name="T51" fmla="*/ 0 h 13"/>
                <a:gd name="T52" fmla="*/ 3 w 14"/>
                <a:gd name="T5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" h="13">
                  <a:moveTo>
                    <a:pt x="3" y="0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1"/>
                    <a:pt x="10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2" y="1"/>
                    <a:pt x="12" y="2"/>
                  </a:cubicBezTo>
                  <a:cubicBezTo>
                    <a:pt x="12" y="2"/>
                    <a:pt x="12" y="3"/>
                    <a:pt x="12" y="6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2"/>
                    <a:pt x="4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2" y="12"/>
                    <a:pt x="2" y="11"/>
                  </a:cubicBezTo>
                  <a:cubicBezTo>
                    <a:pt x="2" y="11"/>
                    <a:pt x="2" y="10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89" name="Freeform 10763"/>
            <p:cNvSpPr>
              <a:spLocks/>
            </p:cNvSpPr>
            <p:nvPr/>
          </p:nvSpPr>
          <p:spPr bwMode="auto">
            <a:xfrm>
              <a:off x="6483495" y="3486151"/>
              <a:ext cx="28575" cy="49213"/>
            </a:xfrm>
            <a:custGeom>
              <a:avLst/>
              <a:gdLst>
                <a:gd name="T0" fmla="*/ 7 w 8"/>
                <a:gd name="T1" fmla="*/ 3 h 13"/>
                <a:gd name="T2" fmla="*/ 5 w 8"/>
                <a:gd name="T3" fmla="*/ 1 h 13"/>
                <a:gd name="T4" fmla="*/ 3 w 8"/>
                <a:gd name="T5" fmla="*/ 3 h 13"/>
                <a:gd name="T6" fmla="*/ 5 w 8"/>
                <a:gd name="T7" fmla="*/ 5 h 13"/>
                <a:gd name="T8" fmla="*/ 5 w 8"/>
                <a:gd name="T9" fmla="*/ 5 h 13"/>
                <a:gd name="T10" fmla="*/ 8 w 8"/>
                <a:gd name="T11" fmla="*/ 9 h 13"/>
                <a:gd name="T12" fmla="*/ 4 w 8"/>
                <a:gd name="T13" fmla="*/ 13 h 13"/>
                <a:gd name="T14" fmla="*/ 2 w 8"/>
                <a:gd name="T15" fmla="*/ 13 h 13"/>
                <a:gd name="T16" fmla="*/ 1 w 8"/>
                <a:gd name="T17" fmla="*/ 12 h 13"/>
                <a:gd name="T18" fmla="*/ 0 w 8"/>
                <a:gd name="T19" fmla="*/ 9 h 13"/>
                <a:gd name="T20" fmla="*/ 1 w 8"/>
                <a:gd name="T21" fmla="*/ 9 h 13"/>
                <a:gd name="T22" fmla="*/ 4 w 8"/>
                <a:gd name="T23" fmla="*/ 12 h 13"/>
                <a:gd name="T24" fmla="*/ 6 w 8"/>
                <a:gd name="T25" fmla="*/ 10 h 13"/>
                <a:gd name="T26" fmla="*/ 4 w 8"/>
                <a:gd name="T27" fmla="*/ 7 h 13"/>
                <a:gd name="T28" fmla="*/ 4 w 8"/>
                <a:gd name="T29" fmla="*/ 7 h 13"/>
                <a:gd name="T30" fmla="*/ 1 w 8"/>
                <a:gd name="T31" fmla="*/ 4 h 13"/>
                <a:gd name="T32" fmla="*/ 5 w 8"/>
                <a:gd name="T33" fmla="*/ 0 h 13"/>
                <a:gd name="T34" fmla="*/ 7 w 8"/>
                <a:gd name="T35" fmla="*/ 0 h 13"/>
                <a:gd name="T36" fmla="*/ 7 w 8"/>
                <a:gd name="T37" fmla="*/ 0 h 13"/>
                <a:gd name="T38" fmla="*/ 8 w 8"/>
                <a:gd name="T39" fmla="*/ 3 h 13"/>
                <a:gd name="T40" fmla="*/ 7 w 8"/>
                <a:gd name="T4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13">
                  <a:moveTo>
                    <a:pt x="7" y="3"/>
                  </a:moveTo>
                  <a:cubicBezTo>
                    <a:pt x="7" y="2"/>
                    <a:pt x="6" y="1"/>
                    <a:pt x="5" y="1"/>
                  </a:cubicBezTo>
                  <a:cubicBezTo>
                    <a:pt x="3" y="1"/>
                    <a:pt x="3" y="2"/>
                    <a:pt x="3" y="3"/>
                  </a:cubicBezTo>
                  <a:cubicBezTo>
                    <a:pt x="3" y="4"/>
                    <a:pt x="3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7" y="6"/>
                    <a:pt x="8" y="7"/>
                    <a:pt x="8" y="9"/>
                  </a:cubicBezTo>
                  <a:cubicBezTo>
                    <a:pt x="8" y="11"/>
                    <a:pt x="7" y="13"/>
                    <a:pt x="4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1" y="12"/>
                    <a:pt x="0" y="11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2" y="12"/>
                    <a:pt x="4" y="12"/>
                  </a:cubicBezTo>
                  <a:cubicBezTo>
                    <a:pt x="6" y="12"/>
                    <a:pt x="6" y="11"/>
                    <a:pt x="6" y="10"/>
                  </a:cubicBezTo>
                  <a:cubicBezTo>
                    <a:pt x="6" y="9"/>
                    <a:pt x="6" y="8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1" y="5"/>
                    <a:pt x="1" y="4"/>
                  </a:cubicBezTo>
                  <a:cubicBezTo>
                    <a:pt x="1" y="2"/>
                    <a:pt x="2" y="0"/>
                    <a:pt x="5" y="0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8" y="2"/>
                    <a:pt x="8" y="3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0" name="Freeform 10764"/>
            <p:cNvSpPr>
              <a:spLocks/>
            </p:cNvSpPr>
            <p:nvPr/>
          </p:nvSpPr>
          <p:spPr bwMode="auto">
            <a:xfrm>
              <a:off x="6527945" y="3486151"/>
              <a:ext cx="41275" cy="49213"/>
            </a:xfrm>
            <a:custGeom>
              <a:avLst/>
              <a:gdLst>
                <a:gd name="T0" fmla="*/ 0 w 11"/>
                <a:gd name="T1" fmla="*/ 3 h 13"/>
                <a:gd name="T2" fmla="*/ 0 w 11"/>
                <a:gd name="T3" fmla="*/ 0 h 13"/>
                <a:gd name="T4" fmla="*/ 1 w 11"/>
                <a:gd name="T5" fmla="*/ 0 h 13"/>
                <a:gd name="T6" fmla="*/ 2 w 11"/>
                <a:gd name="T7" fmla="*/ 0 h 13"/>
                <a:gd name="T8" fmla="*/ 10 w 11"/>
                <a:gd name="T9" fmla="*/ 0 h 13"/>
                <a:gd name="T10" fmla="*/ 11 w 11"/>
                <a:gd name="T11" fmla="*/ 0 h 13"/>
                <a:gd name="T12" fmla="*/ 11 w 11"/>
                <a:gd name="T13" fmla="*/ 0 h 13"/>
                <a:gd name="T14" fmla="*/ 11 w 11"/>
                <a:gd name="T15" fmla="*/ 3 h 13"/>
                <a:gd name="T16" fmla="*/ 11 w 11"/>
                <a:gd name="T17" fmla="*/ 3 h 13"/>
                <a:gd name="T18" fmla="*/ 10 w 11"/>
                <a:gd name="T19" fmla="*/ 1 h 13"/>
                <a:gd name="T20" fmla="*/ 8 w 11"/>
                <a:gd name="T21" fmla="*/ 1 h 13"/>
                <a:gd name="T22" fmla="*/ 7 w 11"/>
                <a:gd name="T23" fmla="*/ 1 h 13"/>
                <a:gd name="T24" fmla="*/ 7 w 11"/>
                <a:gd name="T25" fmla="*/ 10 h 13"/>
                <a:gd name="T26" fmla="*/ 9 w 11"/>
                <a:gd name="T27" fmla="*/ 12 h 13"/>
                <a:gd name="T28" fmla="*/ 9 w 11"/>
                <a:gd name="T29" fmla="*/ 13 h 13"/>
                <a:gd name="T30" fmla="*/ 3 w 11"/>
                <a:gd name="T31" fmla="*/ 13 h 13"/>
                <a:gd name="T32" fmla="*/ 3 w 11"/>
                <a:gd name="T33" fmla="*/ 12 h 13"/>
                <a:gd name="T34" fmla="*/ 4 w 11"/>
                <a:gd name="T35" fmla="*/ 10 h 13"/>
                <a:gd name="T36" fmla="*/ 4 w 11"/>
                <a:gd name="T37" fmla="*/ 1 h 13"/>
                <a:gd name="T38" fmla="*/ 4 w 11"/>
                <a:gd name="T39" fmla="*/ 1 h 13"/>
                <a:gd name="T40" fmla="*/ 1 w 11"/>
                <a:gd name="T41" fmla="*/ 1 h 13"/>
                <a:gd name="T42" fmla="*/ 1 w 11"/>
                <a:gd name="T43" fmla="*/ 3 h 13"/>
                <a:gd name="T44" fmla="*/ 0 w 11"/>
                <a:gd name="T4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" h="1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7" y="12"/>
                    <a:pt x="9" y="12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1" name="Freeform 10765"/>
            <p:cNvSpPr>
              <a:spLocks/>
            </p:cNvSpPr>
            <p:nvPr/>
          </p:nvSpPr>
          <p:spPr bwMode="auto">
            <a:xfrm>
              <a:off x="6583507" y="3486151"/>
              <a:ext cx="19050" cy="49213"/>
            </a:xfrm>
            <a:custGeom>
              <a:avLst/>
              <a:gdLst>
                <a:gd name="T0" fmla="*/ 5 w 5"/>
                <a:gd name="T1" fmla="*/ 0 h 13"/>
                <a:gd name="T2" fmla="*/ 5 w 5"/>
                <a:gd name="T3" fmla="*/ 1 h 13"/>
                <a:gd name="T4" fmla="*/ 4 w 5"/>
                <a:gd name="T5" fmla="*/ 3 h 13"/>
                <a:gd name="T6" fmla="*/ 4 w 5"/>
                <a:gd name="T7" fmla="*/ 10 h 13"/>
                <a:gd name="T8" fmla="*/ 5 w 5"/>
                <a:gd name="T9" fmla="*/ 12 h 13"/>
                <a:gd name="T10" fmla="*/ 5 w 5"/>
                <a:gd name="T11" fmla="*/ 13 h 13"/>
                <a:gd name="T12" fmla="*/ 0 w 5"/>
                <a:gd name="T13" fmla="*/ 13 h 13"/>
                <a:gd name="T14" fmla="*/ 0 w 5"/>
                <a:gd name="T15" fmla="*/ 12 h 13"/>
                <a:gd name="T16" fmla="*/ 1 w 5"/>
                <a:gd name="T17" fmla="*/ 10 h 13"/>
                <a:gd name="T18" fmla="*/ 1 w 5"/>
                <a:gd name="T19" fmla="*/ 3 h 13"/>
                <a:gd name="T20" fmla="*/ 0 w 5"/>
                <a:gd name="T21" fmla="*/ 1 h 13"/>
                <a:gd name="T22" fmla="*/ 0 w 5"/>
                <a:gd name="T23" fmla="*/ 0 h 13"/>
                <a:gd name="T24" fmla="*/ 5 w 5"/>
                <a:gd name="T2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13">
                  <a:moveTo>
                    <a:pt x="5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2" name="Freeform 10766"/>
            <p:cNvSpPr>
              <a:spLocks/>
            </p:cNvSpPr>
            <p:nvPr/>
          </p:nvSpPr>
          <p:spPr bwMode="auto">
            <a:xfrm>
              <a:off x="6618432" y="3486151"/>
              <a:ext cx="41275" cy="49213"/>
            </a:xfrm>
            <a:custGeom>
              <a:avLst/>
              <a:gdLst>
                <a:gd name="T0" fmla="*/ 0 w 11"/>
                <a:gd name="T1" fmla="*/ 3 h 13"/>
                <a:gd name="T2" fmla="*/ 0 w 11"/>
                <a:gd name="T3" fmla="*/ 0 h 13"/>
                <a:gd name="T4" fmla="*/ 0 w 11"/>
                <a:gd name="T5" fmla="*/ 0 h 13"/>
                <a:gd name="T6" fmla="*/ 1 w 11"/>
                <a:gd name="T7" fmla="*/ 0 h 13"/>
                <a:gd name="T8" fmla="*/ 9 w 11"/>
                <a:gd name="T9" fmla="*/ 0 h 13"/>
                <a:gd name="T10" fmla="*/ 10 w 11"/>
                <a:gd name="T11" fmla="*/ 0 h 13"/>
                <a:gd name="T12" fmla="*/ 11 w 11"/>
                <a:gd name="T13" fmla="*/ 0 h 13"/>
                <a:gd name="T14" fmla="*/ 11 w 11"/>
                <a:gd name="T15" fmla="*/ 3 h 13"/>
                <a:gd name="T16" fmla="*/ 10 w 11"/>
                <a:gd name="T17" fmla="*/ 3 h 13"/>
                <a:gd name="T18" fmla="*/ 10 w 11"/>
                <a:gd name="T19" fmla="*/ 1 h 13"/>
                <a:gd name="T20" fmla="*/ 7 w 11"/>
                <a:gd name="T21" fmla="*/ 1 h 13"/>
                <a:gd name="T22" fmla="*/ 6 w 11"/>
                <a:gd name="T23" fmla="*/ 1 h 13"/>
                <a:gd name="T24" fmla="*/ 6 w 11"/>
                <a:gd name="T25" fmla="*/ 10 h 13"/>
                <a:gd name="T26" fmla="*/ 8 w 11"/>
                <a:gd name="T27" fmla="*/ 12 h 13"/>
                <a:gd name="T28" fmla="*/ 8 w 11"/>
                <a:gd name="T29" fmla="*/ 13 h 13"/>
                <a:gd name="T30" fmla="*/ 2 w 11"/>
                <a:gd name="T31" fmla="*/ 13 h 13"/>
                <a:gd name="T32" fmla="*/ 2 w 11"/>
                <a:gd name="T33" fmla="*/ 12 h 13"/>
                <a:gd name="T34" fmla="*/ 4 w 11"/>
                <a:gd name="T35" fmla="*/ 10 h 13"/>
                <a:gd name="T36" fmla="*/ 4 w 11"/>
                <a:gd name="T37" fmla="*/ 1 h 13"/>
                <a:gd name="T38" fmla="*/ 4 w 11"/>
                <a:gd name="T39" fmla="*/ 1 h 13"/>
                <a:gd name="T40" fmla="*/ 1 w 11"/>
                <a:gd name="T41" fmla="*/ 1 h 13"/>
                <a:gd name="T42" fmla="*/ 0 w 11"/>
                <a:gd name="T4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9" y="1"/>
                    <a:pt x="9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2"/>
                    <a:pt x="7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3" name="Freeform 10767"/>
            <p:cNvSpPr>
              <a:spLocks/>
            </p:cNvSpPr>
            <p:nvPr/>
          </p:nvSpPr>
          <p:spPr bwMode="auto">
            <a:xfrm>
              <a:off x="6670820" y="3486151"/>
              <a:ext cx="52388" cy="49213"/>
            </a:xfrm>
            <a:custGeom>
              <a:avLst/>
              <a:gdLst>
                <a:gd name="T0" fmla="*/ 6 w 14"/>
                <a:gd name="T1" fmla="*/ 0 h 13"/>
                <a:gd name="T2" fmla="*/ 6 w 14"/>
                <a:gd name="T3" fmla="*/ 1 h 13"/>
                <a:gd name="T4" fmla="*/ 4 w 14"/>
                <a:gd name="T5" fmla="*/ 3 h 13"/>
                <a:gd name="T6" fmla="*/ 4 w 14"/>
                <a:gd name="T7" fmla="*/ 7 h 13"/>
                <a:gd name="T8" fmla="*/ 8 w 14"/>
                <a:gd name="T9" fmla="*/ 12 h 13"/>
                <a:gd name="T10" fmla="*/ 11 w 14"/>
                <a:gd name="T11" fmla="*/ 7 h 13"/>
                <a:gd name="T12" fmla="*/ 11 w 14"/>
                <a:gd name="T13" fmla="*/ 6 h 13"/>
                <a:gd name="T14" fmla="*/ 11 w 14"/>
                <a:gd name="T15" fmla="*/ 2 h 13"/>
                <a:gd name="T16" fmla="*/ 9 w 14"/>
                <a:gd name="T17" fmla="*/ 1 h 13"/>
                <a:gd name="T18" fmla="*/ 9 w 14"/>
                <a:gd name="T19" fmla="*/ 0 h 13"/>
                <a:gd name="T20" fmla="*/ 14 w 14"/>
                <a:gd name="T21" fmla="*/ 0 h 13"/>
                <a:gd name="T22" fmla="*/ 14 w 14"/>
                <a:gd name="T23" fmla="*/ 1 h 13"/>
                <a:gd name="T24" fmla="*/ 12 w 14"/>
                <a:gd name="T25" fmla="*/ 2 h 13"/>
                <a:gd name="T26" fmla="*/ 12 w 14"/>
                <a:gd name="T27" fmla="*/ 6 h 13"/>
                <a:gd name="T28" fmla="*/ 12 w 14"/>
                <a:gd name="T29" fmla="*/ 7 h 13"/>
                <a:gd name="T30" fmla="*/ 11 w 14"/>
                <a:gd name="T31" fmla="*/ 12 h 13"/>
                <a:gd name="T32" fmla="*/ 7 w 14"/>
                <a:gd name="T33" fmla="*/ 13 h 13"/>
                <a:gd name="T34" fmla="*/ 3 w 14"/>
                <a:gd name="T35" fmla="*/ 12 h 13"/>
                <a:gd name="T36" fmla="*/ 2 w 14"/>
                <a:gd name="T37" fmla="*/ 8 h 13"/>
                <a:gd name="T38" fmla="*/ 2 w 14"/>
                <a:gd name="T39" fmla="*/ 3 h 13"/>
                <a:gd name="T40" fmla="*/ 0 w 14"/>
                <a:gd name="T41" fmla="*/ 1 h 13"/>
                <a:gd name="T42" fmla="*/ 0 w 14"/>
                <a:gd name="T43" fmla="*/ 0 h 13"/>
                <a:gd name="T44" fmla="*/ 6 w 14"/>
                <a:gd name="T4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" h="13">
                  <a:moveTo>
                    <a:pt x="6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4" y="1"/>
                    <a:pt x="4" y="3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5" y="12"/>
                    <a:pt x="8" y="12"/>
                  </a:cubicBezTo>
                  <a:cubicBezTo>
                    <a:pt x="10" y="12"/>
                    <a:pt x="11" y="10"/>
                    <a:pt x="11" y="7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1"/>
                    <a:pt x="10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2" y="1"/>
                    <a:pt x="12" y="2"/>
                  </a:cubicBezTo>
                  <a:cubicBezTo>
                    <a:pt x="12" y="2"/>
                    <a:pt x="12" y="3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9"/>
                    <a:pt x="12" y="11"/>
                    <a:pt x="11" y="12"/>
                  </a:cubicBezTo>
                  <a:cubicBezTo>
                    <a:pt x="10" y="13"/>
                    <a:pt x="8" y="13"/>
                    <a:pt x="7" y="13"/>
                  </a:cubicBezTo>
                  <a:cubicBezTo>
                    <a:pt x="6" y="13"/>
                    <a:pt x="4" y="13"/>
                    <a:pt x="3" y="12"/>
                  </a:cubicBezTo>
                  <a:cubicBezTo>
                    <a:pt x="2" y="11"/>
                    <a:pt x="2" y="10"/>
                    <a:pt x="2" y="8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4" name="Freeform 10768"/>
            <p:cNvSpPr>
              <a:spLocks/>
            </p:cNvSpPr>
            <p:nvPr/>
          </p:nvSpPr>
          <p:spPr bwMode="auto">
            <a:xfrm>
              <a:off x="6734320" y="3486151"/>
              <a:ext cx="41275" cy="49213"/>
            </a:xfrm>
            <a:custGeom>
              <a:avLst/>
              <a:gdLst>
                <a:gd name="T0" fmla="*/ 0 w 11"/>
                <a:gd name="T1" fmla="*/ 3 h 13"/>
                <a:gd name="T2" fmla="*/ 0 w 11"/>
                <a:gd name="T3" fmla="*/ 0 h 13"/>
                <a:gd name="T4" fmla="*/ 0 w 11"/>
                <a:gd name="T5" fmla="*/ 0 h 13"/>
                <a:gd name="T6" fmla="*/ 1 w 11"/>
                <a:gd name="T7" fmla="*/ 0 h 13"/>
                <a:gd name="T8" fmla="*/ 10 w 11"/>
                <a:gd name="T9" fmla="*/ 0 h 13"/>
                <a:gd name="T10" fmla="*/ 10 w 11"/>
                <a:gd name="T11" fmla="*/ 0 h 13"/>
                <a:gd name="T12" fmla="*/ 11 w 11"/>
                <a:gd name="T13" fmla="*/ 0 h 13"/>
                <a:gd name="T14" fmla="*/ 11 w 11"/>
                <a:gd name="T15" fmla="*/ 3 h 13"/>
                <a:gd name="T16" fmla="*/ 10 w 11"/>
                <a:gd name="T17" fmla="*/ 3 h 13"/>
                <a:gd name="T18" fmla="*/ 10 w 11"/>
                <a:gd name="T19" fmla="*/ 1 h 13"/>
                <a:gd name="T20" fmla="*/ 8 w 11"/>
                <a:gd name="T21" fmla="*/ 1 h 13"/>
                <a:gd name="T22" fmla="*/ 7 w 11"/>
                <a:gd name="T23" fmla="*/ 1 h 13"/>
                <a:gd name="T24" fmla="*/ 7 w 11"/>
                <a:gd name="T25" fmla="*/ 10 h 13"/>
                <a:gd name="T26" fmla="*/ 8 w 11"/>
                <a:gd name="T27" fmla="*/ 12 h 13"/>
                <a:gd name="T28" fmla="*/ 8 w 11"/>
                <a:gd name="T29" fmla="*/ 13 h 13"/>
                <a:gd name="T30" fmla="*/ 2 w 11"/>
                <a:gd name="T31" fmla="*/ 13 h 13"/>
                <a:gd name="T32" fmla="*/ 2 w 11"/>
                <a:gd name="T33" fmla="*/ 12 h 13"/>
                <a:gd name="T34" fmla="*/ 4 w 11"/>
                <a:gd name="T35" fmla="*/ 10 h 13"/>
                <a:gd name="T36" fmla="*/ 4 w 11"/>
                <a:gd name="T37" fmla="*/ 1 h 13"/>
                <a:gd name="T38" fmla="*/ 4 w 11"/>
                <a:gd name="T39" fmla="*/ 1 h 13"/>
                <a:gd name="T40" fmla="*/ 1 w 11"/>
                <a:gd name="T41" fmla="*/ 1 h 13"/>
                <a:gd name="T42" fmla="*/ 0 w 11"/>
                <a:gd name="T4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5" name="Freeform 10769"/>
            <p:cNvSpPr>
              <a:spLocks/>
            </p:cNvSpPr>
            <p:nvPr/>
          </p:nvSpPr>
          <p:spPr bwMode="auto">
            <a:xfrm>
              <a:off x="6786707" y="3486151"/>
              <a:ext cx="41275" cy="49213"/>
            </a:xfrm>
            <a:custGeom>
              <a:avLst/>
              <a:gdLst>
                <a:gd name="T0" fmla="*/ 9 w 11"/>
                <a:gd name="T1" fmla="*/ 0 h 13"/>
                <a:gd name="T2" fmla="*/ 10 w 11"/>
                <a:gd name="T3" fmla="*/ 3 h 13"/>
                <a:gd name="T4" fmla="*/ 9 w 11"/>
                <a:gd name="T5" fmla="*/ 3 h 13"/>
                <a:gd name="T6" fmla="*/ 8 w 11"/>
                <a:gd name="T7" fmla="*/ 1 h 13"/>
                <a:gd name="T8" fmla="*/ 6 w 11"/>
                <a:gd name="T9" fmla="*/ 1 h 13"/>
                <a:gd name="T10" fmla="*/ 5 w 11"/>
                <a:gd name="T11" fmla="*/ 1 h 13"/>
                <a:gd name="T12" fmla="*/ 4 w 11"/>
                <a:gd name="T13" fmla="*/ 2 h 13"/>
                <a:gd name="T14" fmla="*/ 4 w 11"/>
                <a:gd name="T15" fmla="*/ 6 h 13"/>
                <a:gd name="T16" fmla="*/ 6 w 11"/>
                <a:gd name="T17" fmla="*/ 6 h 13"/>
                <a:gd name="T18" fmla="*/ 8 w 11"/>
                <a:gd name="T19" fmla="*/ 4 h 13"/>
                <a:gd name="T20" fmla="*/ 9 w 11"/>
                <a:gd name="T21" fmla="*/ 4 h 13"/>
                <a:gd name="T22" fmla="*/ 9 w 11"/>
                <a:gd name="T23" fmla="*/ 8 h 13"/>
                <a:gd name="T24" fmla="*/ 8 w 11"/>
                <a:gd name="T25" fmla="*/ 8 h 13"/>
                <a:gd name="T26" fmla="*/ 6 w 11"/>
                <a:gd name="T27" fmla="*/ 7 h 13"/>
                <a:gd name="T28" fmla="*/ 4 w 11"/>
                <a:gd name="T29" fmla="*/ 7 h 13"/>
                <a:gd name="T30" fmla="*/ 4 w 11"/>
                <a:gd name="T31" fmla="*/ 10 h 13"/>
                <a:gd name="T32" fmla="*/ 5 w 11"/>
                <a:gd name="T33" fmla="*/ 12 h 13"/>
                <a:gd name="T34" fmla="*/ 7 w 11"/>
                <a:gd name="T35" fmla="*/ 12 h 13"/>
                <a:gd name="T36" fmla="*/ 9 w 11"/>
                <a:gd name="T37" fmla="*/ 11 h 13"/>
                <a:gd name="T38" fmla="*/ 10 w 11"/>
                <a:gd name="T39" fmla="*/ 10 h 13"/>
                <a:gd name="T40" fmla="*/ 11 w 11"/>
                <a:gd name="T41" fmla="*/ 10 h 13"/>
                <a:gd name="T42" fmla="*/ 10 w 11"/>
                <a:gd name="T43" fmla="*/ 13 h 13"/>
                <a:gd name="T44" fmla="*/ 0 w 11"/>
                <a:gd name="T45" fmla="*/ 13 h 13"/>
                <a:gd name="T46" fmla="*/ 0 w 11"/>
                <a:gd name="T47" fmla="*/ 12 h 13"/>
                <a:gd name="T48" fmla="*/ 2 w 11"/>
                <a:gd name="T49" fmla="*/ 10 h 13"/>
                <a:gd name="T50" fmla="*/ 2 w 11"/>
                <a:gd name="T51" fmla="*/ 3 h 13"/>
                <a:gd name="T52" fmla="*/ 1 w 11"/>
                <a:gd name="T53" fmla="*/ 1 h 13"/>
                <a:gd name="T54" fmla="*/ 1 w 11"/>
                <a:gd name="T55" fmla="*/ 0 h 13"/>
                <a:gd name="T56" fmla="*/ 9 w 11"/>
                <a:gd name="T5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cubicBezTo>
                    <a:pt x="9" y="0"/>
                    <a:pt x="10" y="2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8" y="1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8" y="6"/>
                    <a:pt x="8" y="6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6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2"/>
                    <a:pt x="5" y="12"/>
                  </a:cubicBezTo>
                  <a:cubicBezTo>
                    <a:pt x="5" y="12"/>
                    <a:pt x="6" y="12"/>
                    <a:pt x="7" y="12"/>
                  </a:cubicBezTo>
                  <a:cubicBezTo>
                    <a:pt x="8" y="12"/>
                    <a:pt x="9" y="12"/>
                    <a:pt x="9" y="11"/>
                  </a:cubicBezTo>
                  <a:cubicBezTo>
                    <a:pt x="9" y="11"/>
                    <a:pt x="10" y="10"/>
                    <a:pt x="10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0" y="12"/>
                    <a:pt x="1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2"/>
                    <a:pt x="2" y="12"/>
                    <a:pt x="2" y="1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6" name="Freeform 10770"/>
            <p:cNvSpPr>
              <a:spLocks/>
            </p:cNvSpPr>
            <p:nvPr/>
          </p:nvSpPr>
          <p:spPr bwMode="auto">
            <a:xfrm>
              <a:off x="6850207" y="3467101"/>
              <a:ext cx="52388" cy="90488"/>
            </a:xfrm>
            <a:custGeom>
              <a:avLst/>
              <a:gdLst>
                <a:gd name="T0" fmla="*/ 6 w 14"/>
                <a:gd name="T1" fmla="*/ 7 h 24"/>
                <a:gd name="T2" fmla="*/ 8 w 14"/>
                <a:gd name="T3" fmla="*/ 2 h 24"/>
                <a:gd name="T4" fmla="*/ 12 w 14"/>
                <a:gd name="T5" fmla="*/ 0 h 24"/>
                <a:gd name="T6" fmla="*/ 14 w 14"/>
                <a:gd name="T7" fmla="*/ 1 h 24"/>
                <a:gd name="T8" fmla="*/ 13 w 14"/>
                <a:gd name="T9" fmla="*/ 2 h 24"/>
                <a:gd name="T10" fmla="*/ 12 w 14"/>
                <a:gd name="T11" fmla="*/ 2 h 24"/>
                <a:gd name="T12" fmla="*/ 10 w 14"/>
                <a:gd name="T13" fmla="*/ 1 h 24"/>
                <a:gd name="T14" fmla="*/ 8 w 14"/>
                <a:gd name="T15" fmla="*/ 7 h 24"/>
                <a:gd name="T16" fmla="*/ 11 w 14"/>
                <a:gd name="T17" fmla="*/ 7 h 24"/>
                <a:gd name="T18" fmla="*/ 10 w 14"/>
                <a:gd name="T19" fmla="*/ 8 h 24"/>
                <a:gd name="T20" fmla="*/ 8 w 14"/>
                <a:gd name="T21" fmla="*/ 8 h 24"/>
                <a:gd name="T22" fmla="*/ 7 w 14"/>
                <a:gd name="T23" fmla="*/ 13 h 24"/>
                <a:gd name="T24" fmla="*/ 4 w 14"/>
                <a:gd name="T25" fmla="*/ 22 h 24"/>
                <a:gd name="T26" fmla="*/ 1 w 14"/>
                <a:gd name="T27" fmla="*/ 24 h 24"/>
                <a:gd name="T28" fmla="*/ 0 w 14"/>
                <a:gd name="T29" fmla="*/ 23 h 24"/>
                <a:gd name="T30" fmla="*/ 1 w 14"/>
                <a:gd name="T31" fmla="*/ 22 h 24"/>
                <a:gd name="T32" fmla="*/ 1 w 14"/>
                <a:gd name="T33" fmla="*/ 22 h 24"/>
                <a:gd name="T34" fmla="*/ 3 w 14"/>
                <a:gd name="T35" fmla="*/ 22 h 24"/>
                <a:gd name="T36" fmla="*/ 3 w 14"/>
                <a:gd name="T37" fmla="*/ 22 h 24"/>
                <a:gd name="T38" fmla="*/ 5 w 14"/>
                <a:gd name="T39" fmla="*/ 16 h 24"/>
                <a:gd name="T40" fmla="*/ 6 w 14"/>
                <a:gd name="T41" fmla="*/ 8 h 24"/>
                <a:gd name="T42" fmla="*/ 4 w 14"/>
                <a:gd name="T43" fmla="*/ 8 h 24"/>
                <a:gd name="T44" fmla="*/ 4 w 14"/>
                <a:gd name="T45" fmla="*/ 8 h 24"/>
                <a:gd name="T46" fmla="*/ 5 w 14"/>
                <a:gd name="T47" fmla="*/ 7 h 24"/>
                <a:gd name="T48" fmla="*/ 6 w 14"/>
                <a:gd name="T49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" h="24">
                  <a:moveTo>
                    <a:pt x="6" y="7"/>
                  </a:moveTo>
                  <a:cubicBezTo>
                    <a:pt x="6" y="5"/>
                    <a:pt x="7" y="3"/>
                    <a:pt x="8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1"/>
                    <a:pt x="14" y="1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9" y="1"/>
                    <a:pt x="9" y="3"/>
                    <a:pt x="8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11"/>
                    <a:pt x="7" y="12"/>
                    <a:pt x="7" y="13"/>
                  </a:cubicBezTo>
                  <a:cubicBezTo>
                    <a:pt x="6" y="19"/>
                    <a:pt x="5" y="21"/>
                    <a:pt x="4" y="22"/>
                  </a:cubicBezTo>
                  <a:cubicBezTo>
                    <a:pt x="3" y="23"/>
                    <a:pt x="2" y="24"/>
                    <a:pt x="1" y="24"/>
                  </a:cubicBezTo>
                  <a:cubicBezTo>
                    <a:pt x="1" y="24"/>
                    <a:pt x="0" y="24"/>
                    <a:pt x="0" y="23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4" y="22"/>
                    <a:pt x="4" y="20"/>
                    <a:pt x="5" y="16"/>
                  </a:cubicBezTo>
                  <a:cubicBezTo>
                    <a:pt x="5" y="12"/>
                    <a:pt x="6" y="10"/>
                    <a:pt x="6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7"/>
                    <a:pt x="5" y="7"/>
                    <a:pt x="5" y="7"/>
                  </a:cubicBezTo>
                  <a:lnTo>
                    <a:pt x="6" y="7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7" name="Freeform 10771"/>
            <p:cNvSpPr>
              <a:spLocks noEditPoints="1"/>
            </p:cNvSpPr>
            <p:nvPr/>
          </p:nvSpPr>
          <p:spPr bwMode="auto">
            <a:xfrm>
              <a:off x="6891482" y="3494088"/>
              <a:ext cx="34925" cy="41275"/>
            </a:xfrm>
            <a:custGeom>
              <a:avLst/>
              <a:gdLst>
                <a:gd name="T0" fmla="*/ 9 w 9"/>
                <a:gd name="T1" fmla="*/ 3 h 11"/>
                <a:gd name="T2" fmla="*/ 7 w 9"/>
                <a:gd name="T3" fmla="*/ 9 h 11"/>
                <a:gd name="T4" fmla="*/ 3 w 9"/>
                <a:gd name="T5" fmla="*/ 11 h 11"/>
                <a:gd name="T6" fmla="*/ 0 w 9"/>
                <a:gd name="T7" fmla="*/ 7 h 11"/>
                <a:gd name="T8" fmla="*/ 4 w 9"/>
                <a:gd name="T9" fmla="*/ 1 h 11"/>
                <a:gd name="T10" fmla="*/ 6 w 9"/>
                <a:gd name="T11" fmla="*/ 0 h 11"/>
                <a:gd name="T12" fmla="*/ 9 w 9"/>
                <a:gd name="T13" fmla="*/ 3 h 11"/>
                <a:gd name="T14" fmla="*/ 4 w 9"/>
                <a:gd name="T15" fmla="*/ 10 h 11"/>
                <a:gd name="T16" fmla="*/ 5 w 9"/>
                <a:gd name="T17" fmla="*/ 10 h 11"/>
                <a:gd name="T18" fmla="*/ 7 w 9"/>
                <a:gd name="T19" fmla="*/ 4 h 11"/>
                <a:gd name="T20" fmla="*/ 5 w 9"/>
                <a:gd name="T21" fmla="*/ 1 h 11"/>
                <a:gd name="T22" fmla="*/ 5 w 9"/>
                <a:gd name="T23" fmla="*/ 1 h 11"/>
                <a:gd name="T24" fmla="*/ 2 w 9"/>
                <a:gd name="T25" fmla="*/ 7 h 11"/>
                <a:gd name="T26" fmla="*/ 4 w 9"/>
                <a:gd name="T27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11">
                  <a:moveTo>
                    <a:pt x="9" y="3"/>
                  </a:moveTo>
                  <a:cubicBezTo>
                    <a:pt x="9" y="5"/>
                    <a:pt x="8" y="8"/>
                    <a:pt x="7" y="9"/>
                  </a:cubicBezTo>
                  <a:cubicBezTo>
                    <a:pt x="6" y="10"/>
                    <a:pt x="4" y="11"/>
                    <a:pt x="3" y="11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4"/>
                    <a:pt x="2" y="2"/>
                    <a:pt x="4" y="1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8" y="0"/>
                    <a:pt x="9" y="1"/>
                    <a:pt x="9" y="3"/>
                  </a:cubicBezTo>
                  <a:close/>
                  <a:moveTo>
                    <a:pt x="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7" y="7"/>
                    <a:pt x="7" y="4"/>
                  </a:cubicBezTo>
                  <a:cubicBezTo>
                    <a:pt x="7" y="2"/>
                    <a:pt x="7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3"/>
                    <a:pt x="2" y="7"/>
                  </a:cubicBezTo>
                  <a:cubicBezTo>
                    <a:pt x="2" y="9"/>
                    <a:pt x="3" y="10"/>
                    <a:pt x="4" y="10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8" name="Freeform 10772"/>
            <p:cNvSpPr>
              <a:spLocks/>
            </p:cNvSpPr>
            <p:nvPr/>
          </p:nvSpPr>
          <p:spPr bwMode="auto">
            <a:xfrm>
              <a:off x="6937520" y="3494088"/>
              <a:ext cx="30163" cy="41275"/>
            </a:xfrm>
            <a:custGeom>
              <a:avLst/>
              <a:gdLst>
                <a:gd name="T0" fmla="*/ 4 w 8"/>
                <a:gd name="T1" fmla="*/ 2 h 11"/>
                <a:gd name="T2" fmla="*/ 3 w 8"/>
                <a:gd name="T3" fmla="*/ 4 h 11"/>
                <a:gd name="T4" fmla="*/ 3 w 8"/>
                <a:gd name="T5" fmla="*/ 4 h 11"/>
                <a:gd name="T6" fmla="*/ 7 w 8"/>
                <a:gd name="T7" fmla="*/ 0 h 11"/>
                <a:gd name="T8" fmla="*/ 8 w 8"/>
                <a:gd name="T9" fmla="*/ 0 h 11"/>
                <a:gd name="T10" fmla="*/ 8 w 8"/>
                <a:gd name="T11" fmla="*/ 1 h 11"/>
                <a:gd name="T12" fmla="*/ 7 w 8"/>
                <a:gd name="T13" fmla="*/ 2 h 11"/>
                <a:gd name="T14" fmla="*/ 7 w 8"/>
                <a:gd name="T15" fmla="*/ 2 h 11"/>
                <a:gd name="T16" fmla="*/ 6 w 8"/>
                <a:gd name="T17" fmla="*/ 2 h 11"/>
                <a:gd name="T18" fmla="*/ 5 w 8"/>
                <a:gd name="T19" fmla="*/ 3 h 11"/>
                <a:gd name="T20" fmla="*/ 3 w 8"/>
                <a:gd name="T21" fmla="*/ 5 h 11"/>
                <a:gd name="T22" fmla="*/ 2 w 8"/>
                <a:gd name="T23" fmla="*/ 10 h 11"/>
                <a:gd name="T24" fmla="*/ 0 w 8"/>
                <a:gd name="T25" fmla="*/ 11 h 11"/>
                <a:gd name="T26" fmla="*/ 1 w 8"/>
                <a:gd name="T27" fmla="*/ 7 h 11"/>
                <a:gd name="T28" fmla="*/ 2 w 8"/>
                <a:gd name="T29" fmla="*/ 3 h 11"/>
                <a:gd name="T30" fmla="*/ 2 w 8"/>
                <a:gd name="T31" fmla="*/ 2 h 11"/>
                <a:gd name="T32" fmla="*/ 0 w 8"/>
                <a:gd name="T33" fmla="*/ 3 h 11"/>
                <a:gd name="T34" fmla="*/ 0 w 8"/>
                <a:gd name="T35" fmla="*/ 2 h 11"/>
                <a:gd name="T36" fmla="*/ 3 w 8"/>
                <a:gd name="T37" fmla="*/ 0 h 11"/>
                <a:gd name="T38" fmla="*/ 4 w 8"/>
                <a:gd name="T3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11">
                  <a:moveTo>
                    <a:pt x="4" y="2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4" y="4"/>
                    <a:pt x="4" y="5"/>
                    <a:pt x="3" y="5"/>
                  </a:cubicBezTo>
                  <a:cubicBezTo>
                    <a:pt x="3" y="8"/>
                    <a:pt x="2" y="10"/>
                    <a:pt x="2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0"/>
                    <a:pt x="1" y="9"/>
                    <a:pt x="1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3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99" name="Freeform 10773"/>
            <p:cNvSpPr>
              <a:spLocks/>
            </p:cNvSpPr>
            <p:nvPr/>
          </p:nvSpPr>
          <p:spPr bwMode="auto">
            <a:xfrm>
              <a:off x="6385070" y="3584576"/>
              <a:ext cx="44450" cy="49213"/>
            </a:xfrm>
            <a:custGeom>
              <a:avLst/>
              <a:gdLst>
                <a:gd name="T0" fmla="*/ 11 w 12"/>
                <a:gd name="T1" fmla="*/ 4 h 13"/>
                <a:gd name="T2" fmla="*/ 7 w 12"/>
                <a:gd name="T3" fmla="*/ 1 h 13"/>
                <a:gd name="T4" fmla="*/ 3 w 12"/>
                <a:gd name="T5" fmla="*/ 6 h 13"/>
                <a:gd name="T6" fmla="*/ 7 w 12"/>
                <a:gd name="T7" fmla="*/ 12 h 13"/>
                <a:gd name="T8" fmla="*/ 11 w 12"/>
                <a:gd name="T9" fmla="*/ 9 h 13"/>
                <a:gd name="T10" fmla="*/ 12 w 12"/>
                <a:gd name="T11" fmla="*/ 9 h 13"/>
                <a:gd name="T12" fmla="*/ 11 w 12"/>
                <a:gd name="T13" fmla="*/ 13 h 13"/>
                <a:gd name="T14" fmla="*/ 7 w 12"/>
                <a:gd name="T15" fmla="*/ 13 h 13"/>
                <a:gd name="T16" fmla="*/ 0 w 12"/>
                <a:gd name="T17" fmla="*/ 7 h 13"/>
                <a:gd name="T18" fmla="*/ 8 w 12"/>
                <a:gd name="T19" fmla="*/ 0 h 13"/>
                <a:gd name="T20" fmla="*/ 11 w 12"/>
                <a:gd name="T21" fmla="*/ 0 h 13"/>
                <a:gd name="T22" fmla="*/ 11 w 12"/>
                <a:gd name="T23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13">
                  <a:moveTo>
                    <a:pt x="11" y="4"/>
                  </a:moveTo>
                  <a:cubicBezTo>
                    <a:pt x="10" y="1"/>
                    <a:pt x="9" y="1"/>
                    <a:pt x="7" y="1"/>
                  </a:cubicBezTo>
                  <a:cubicBezTo>
                    <a:pt x="4" y="1"/>
                    <a:pt x="3" y="3"/>
                    <a:pt x="3" y="6"/>
                  </a:cubicBezTo>
                  <a:cubicBezTo>
                    <a:pt x="3" y="10"/>
                    <a:pt x="4" y="12"/>
                    <a:pt x="7" y="12"/>
                  </a:cubicBezTo>
                  <a:cubicBezTo>
                    <a:pt x="9" y="12"/>
                    <a:pt x="10" y="11"/>
                    <a:pt x="11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10"/>
                    <a:pt x="11" y="12"/>
                    <a:pt x="11" y="13"/>
                  </a:cubicBezTo>
                  <a:cubicBezTo>
                    <a:pt x="10" y="13"/>
                    <a:pt x="9" y="13"/>
                    <a:pt x="7" y="13"/>
                  </a:cubicBezTo>
                  <a:cubicBezTo>
                    <a:pt x="2" y="13"/>
                    <a:pt x="0" y="10"/>
                    <a:pt x="0" y="7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2"/>
                    <a:pt x="11" y="2"/>
                    <a:pt x="11" y="4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00" name="Freeform 10774"/>
            <p:cNvSpPr>
              <a:spLocks noEditPoints="1"/>
            </p:cNvSpPr>
            <p:nvPr/>
          </p:nvSpPr>
          <p:spPr bwMode="auto">
            <a:xfrm>
              <a:off x="6440632" y="3584576"/>
              <a:ext cx="49213" cy="49213"/>
            </a:xfrm>
            <a:custGeom>
              <a:avLst/>
              <a:gdLst>
                <a:gd name="T0" fmla="*/ 13 w 13"/>
                <a:gd name="T1" fmla="*/ 6 h 13"/>
                <a:gd name="T2" fmla="*/ 7 w 13"/>
                <a:gd name="T3" fmla="*/ 13 h 13"/>
                <a:gd name="T4" fmla="*/ 0 w 13"/>
                <a:gd name="T5" fmla="*/ 7 h 13"/>
                <a:gd name="T6" fmla="*/ 7 w 13"/>
                <a:gd name="T7" fmla="*/ 0 h 13"/>
                <a:gd name="T8" fmla="*/ 13 w 13"/>
                <a:gd name="T9" fmla="*/ 6 h 13"/>
                <a:gd name="T10" fmla="*/ 3 w 13"/>
                <a:gd name="T11" fmla="*/ 6 h 13"/>
                <a:gd name="T12" fmla="*/ 7 w 13"/>
                <a:gd name="T13" fmla="*/ 12 h 13"/>
                <a:gd name="T14" fmla="*/ 11 w 13"/>
                <a:gd name="T15" fmla="*/ 7 h 13"/>
                <a:gd name="T16" fmla="*/ 7 w 13"/>
                <a:gd name="T17" fmla="*/ 1 h 13"/>
                <a:gd name="T18" fmla="*/ 3 w 13"/>
                <a:gd name="T1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3">
                  <a:moveTo>
                    <a:pt x="13" y="6"/>
                  </a:moveTo>
                  <a:cubicBezTo>
                    <a:pt x="13" y="10"/>
                    <a:pt x="11" y="13"/>
                    <a:pt x="7" y="13"/>
                  </a:cubicBezTo>
                  <a:cubicBezTo>
                    <a:pt x="3" y="13"/>
                    <a:pt x="0" y="10"/>
                    <a:pt x="0" y="7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3" y="3"/>
                    <a:pt x="13" y="6"/>
                  </a:cubicBezTo>
                  <a:close/>
                  <a:moveTo>
                    <a:pt x="3" y="6"/>
                  </a:moveTo>
                  <a:cubicBezTo>
                    <a:pt x="3" y="10"/>
                    <a:pt x="5" y="12"/>
                    <a:pt x="7" y="12"/>
                  </a:cubicBezTo>
                  <a:cubicBezTo>
                    <a:pt x="9" y="12"/>
                    <a:pt x="11" y="11"/>
                    <a:pt x="11" y="7"/>
                  </a:cubicBezTo>
                  <a:cubicBezTo>
                    <a:pt x="11" y="3"/>
                    <a:pt x="9" y="1"/>
                    <a:pt x="7" y="1"/>
                  </a:cubicBezTo>
                  <a:cubicBezTo>
                    <a:pt x="5" y="1"/>
                    <a:pt x="3" y="3"/>
                    <a:pt x="3" y="6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01" name="Freeform 10775"/>
            <p:cNvSpPr>
              <a:spLocks/>
            </p:cNvSpPr>
            <p:nvPr/>
          </p:nvSpPr>
          <p:spPr bwMode="auto">
            <a:xfrm>
              <a:off x="6505720" y="3584576"/>
              <a:ext cx="60325" cy="49213"/>
            </a:xfrm>
            <a:custGeom>
              <a:avLst/>
              <a:gdLst>
                <a:gd name="T0" fmla="*/ 4 w 16"/>
                <a:gd name="T1" fmla="*/ 0 h 13"/>
                <a:gd name="T2" fmla="*/ 8 w 16"/>
                <a:gd name="T3" fmla="*/ 10 h 13"/>
                <a:gd name="T4" fmla="*/ 13 w 16"/>
                <a:gd name="T5" fmla="*/ 0 h 13"/>
                <a:gd name="T6" fmla="*/ 16 w 16"/>
                <a:gd name="T7" fmla="*/ 0 h 13"/>
                <a:gd name="T8" fmla="*/ 16 w 16"/>
                <a:gd name="T9" fmla="*/ 1 h 13"/>
                <a:gd name="T10" fmla="*/ 15 w 16"/>
                <a:gd name="T11" fmla="*/ 3 h 13"/>
                <a:gd name="T12" fmla="*/ 15 w 16"/>
                <a:gd name="T13" fmla="*/ 10 h 13"/>
                <a:gd name="T14" fmla="*/ 16 w 16"/>
                <a:gd name="T15" fmla="*/ 12 h 13"/>
                <a:gd name="T16" fmla="*/ 16 w 16"/>
                <a:gd name="T17" fmla="*/ 13 h 13"/>
                <a:gd name="T18" fmla="*/ 11 w 16"/>
                <a:gd name="T19" fmla="*/ 13 h 13"/>
                <a:gd name="T20" fmla="*/ 11 w 16"/>
                <a:gd name="T21" fmla="*/ 12 h 13"/>
                <a:gd name="T22" fmla="*/ 13 w 16"/>
                <a:gd name="T23" fmla="*/ 10 h 13"/>
                <a:gd name="T24" fmla="*/ 13 w 16"/>
                <a:gd name="T25" fmla="*/ 2 h 13"/>
                <a:gd name="T26" fmla="*/ 12 w 16"/>
                <a:gd name="T27" fmla="*/ 2 h 13"/>
                <a:gd name="T28" fmla="*/ 8 w 16"/>
                <a:gd name="T29" fmla="*/ 13 h 13"/>
                <a:gd name="T30" fmla="*/ 7 w 16"/>
                <a:gd name="T31" fmla="*/ 13 h 13"/>
                <a:gd name="T32" fmla="*/ 3 w 16"/>
                <a:gd name="T33" fmla="*/ 3 h 13"/>
                <a:gd name="T34" fmla="*/ 3 w 16"/>
                <a:gd name="T35" fmla="*/ 3 h 13"/>
                <a:gd name="T36" fmla="*/ 3 w 16"/>
                <a:gd name="T37" fmla="*/ 8 h 13"/>
                <a:gd name="T38" fmla="*/ 3 w 16"/>
                <a:gd name="T39" fmla="*/ 11 h 13"/>
                <a:gd name="T40" fmla="*/ 5 w 16"/>
                <a:gd name="T41" fmla="*/ 12 h 13"/>
                <a:gd name="T42" fmla="*/ 5 w 16"/>
                <a:gd name="T43" fmla="*/ 13 h 13"/>
                <a:gd name="T44" fmla="*/ 0 w 16"/>
                <a:gd name="T45" fmla="*/ 13 h 13"/>
                <a:gd name="T46" fmla="*/ 0 w 16"/>
                <a:gd name="T47" fmla="*/ 12 h 13"/>
                <a:gd name="T48" fmla="*/ 2 w 16"/>
                <a:gd name="T49" fmla="*/ 11 h 13"/>
                <a:gd name="T50" fmla="*/ 2 w 16"/>
                <a:gd name="T51" fmla="*/ 8 h 13"/>
                <a:gd name="T52" fmla="*/ 2 w 16"/>
                <a:gd name="T53" fmla="*/ 4 h 13"/>
                <a:gd name="T54" fmla="*/ 0 w 16"/>
                <a:gd name="T55" fmla="*/ 1 h 13"/>
                <a:gd name="T56" fmla="*/ 0 w 16"/>
                <a:gd name="T57" fmla="*/ 0 h 13"/>
                <a:gd name="T58" fmla="*/ 4 w 16"/>
                <a:gd name="T5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" h="13">
                  <a:moveTo>
                    <a:pt x="4" y="0"/>
                  </a:moveTo>
                  <a:cubicBezTo>
                    <a:pt x="8" y="10"/>
                    <a:pt x="8" y="10"/>
                    <a:pt x="8" y="1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1"/>
                    <a:pt x="15" y="1"/>
                    <a:pt x="15" y="3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2"/>
                    <a:pt x="15" y="12"/>
                    <a:pt x="16" y="12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3" y="12"/>
                    <a:pt x="13" y="12"/>
                    <a:pt x="13" y="10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2"/>
                    <a:pt x="3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2" y="11"/>
                  </a:cubicBezTo>
                  <a:cubicBezTo>
                    <a:pt x="2" y="11"/>
                    <a:pt x="2" y="10"/>
                    <a:pt x="2" y="8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02" name="Freeform 10776"/>
            <p:cNvSpPr>
              <a:spLocks noEditPoints="1"/>
            </p:cNvSpPr>
            <p:nvPr/>
          </p:nvSpPr>
          <p:spPr bwMode="auto">
            <a:xfrm>
              <a:off x="6580332" y="3584576"/>
              <a:ext cx="38100" cy="49213"/>
            </a:xfrm>
            <a:custGeom>
              <a:avLst/>
              <a:gdLst>
                <a:gd name="T0" fmla="*/ 5 w 10"/>
                <a:gd name="T1" fmla="*/ 0 h 13"/>
                <a:gd name="T2" fmla="*/ 9 w 10"/>
                <a:gd name="T3" fmla="*/ 1 h 13"/>
                <a:gd name="T4" fmla="*/ 10 w 10"/>
                <a:gd name="T5" fmla="*/ 4 h 13"/>
                <a:gd name="T6" fmla="*/ 6 w 10"/>
                <a:gd name="T7" fmla="*/ 8 h 13"/>
                <a:gd name="T8" fmla="*/ 5 w 10"/>
                <a:gd name="T9" fmla="*/ 8 h 13"/>
                <a:gd name="T10" fmla="*/ 4 w 10"/>
                <a:gd name="T11" fmla="*/ 7 h 13"/>
                <a:gd name="T12" fmla="*/ 4 w 10"/>
                <a:gd name="T13" fmla="*/ 10 h 13"/>
                <a:gd name="T14" fmla="*/ 6 w 10"/>
                <a:gd name="T15" fmla="*/ 12 h 13"/>
                <a:gd name="T16" fmla="*/ 6 w 10"/>
                <a:gd name="T17" fmla="*/ 13 h 13"/>
                <a:gd name="T18" fmla="*/ 0 w 10"/>
                <a:gd name="T19" fmla="*/ 13 h 13"/>
                <a:gd name="T20" fmla="*/ 0 w 10"/>
                <a:gd name="T21" fmla="*/ 12 h 13"/>
                <a:gd name="T22" fmla="*/ 2 w 10"/>
                <a:gd name="T23" fmla="*/ 10 h 13"/>
                <a:gd name="T24" fmla="*/ 2 w 10"/>
                <a:gd name="T25" fmla="*/ 3 h 13"/>
                <a:gd name="T26" fmla="*/ 0 w 10"/>
                <a:gd name="T27" fmla="*/ 1 h 13"/>
                <a:gd name="T28" fmla="*/ 0 w 10"/>
                <a:gd name="T29" fmla="*/ 0 h 13"/>
                <a:gd name="T30" fmla="*/ 5 w 10"/>
                <a:gd name="T31" fmla="*/ 0 h 13"/>
                <a:gd name="T32" fmla="*/ 4 w 10"/>
                <a:gd name="T33" fmla="*/ 7 h 13"/>
                <a:gd name="T34" fmla="*/ 5 w 10"/>
                <a:gd name="T35" fmla="*/ 7 h 13"/>
                <a:gd name="T36" fmla="*/ 8 w 10"/>
                <a:gd name="T37" fmla="*/ 4 h 13"/>
                <a:gd name="T38" fmla="*/ 5 w 10"/>
                <a:gd name="T39" fmla="*/ 1 h 13"/>
                <a:gd name="T40" fmla="*/ 4 w 10"/>
                <a:gd name="T41" fmla="*/ 2 h 13"/>
                <a:gd name="T42" fmla="*/ 4 w 10"/>
                <a:gd name="T4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13">
                  <a:moveTo>
                    <a:pt x="5" y="0"/>
                  </a:moveTo>
                  <a:cubicBezTo>
                    <a:pt x="7" y="0"/>
                    <a:pt x="8" y="0"/>
                    <a:pt x="9" y="1"/>
                  </a:cubicBezTo>
                  <a:cubicBezTo>
                    <a:pt x="10" y="2"/>
                    <a:pt x="10" y="2"/>
                    <a:pt x="10" y="4"/>
                  </a:cubicBezTo>
                  <a:cubicBezTo>
                    <a:pt x="10" y="6"/>
                    <a:pt x="8" y="7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2"/>
                    <a:pt x="4" y="12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2"/>
                    <a:pt x="2" y="12"/>
                    <a:pt x="2" y="1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" y="0"/>
                  </a:lnTo>
                  <a:close/>
                  <a:moveTo>
                    <a:pt x="4" y="7"/>
                  </a:moveTo>
                  <a:cubicBezTo>
                    <a:pt x="4" y="7"/>
                    <a:pt x="5" y="7"/>
                    <a:pt x="5" y="7"/>
                  </a:cubicBezTo>
                  <a:cubicBezTo>
                    <a:pt x="6" y="7"/>
                    <a:pt x="8" y="6"/>
                    <a:pt x="8" y="4"/>
                  </a:cubicBezTo>
                  <a:cubicBezTo>
                    <a:pt x="8" y="2"/>
                    <a:pt x="7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lnTo>
                    <a:pt x="4" y="7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03" name="Freeform 10777"/>
            <p:cNvSpPr>
              <a:spLocks/>
            </p:cNvSpPr>
            <p:nvPr/>
          </p:nvSpPr>
          <p:spPr bwMode="auto">
            <a:xfrm>
              <a:off x="6632720" y="3584576"/>
              <a:ext cx="38100" cy="49213"/>
            </a:xfrm>
            <a:custGeom>
              <a:avLst/>
              <a:gdLst>
                <a:gd name="T0" fmla="*/ 9 w 10"/>
                <a:gd name="T1" fmla="*/ 0 h 13"/>
                <a:gd name="T2" fmla="*/ 9 w 10"/>
                <a:gd name="T3" fmla="*/ 3 h 13"/>
                <a:gd name="T4" fmla="*/ 8 w 10"/>
                <a:gd name="T5" fmla="*/ 3 h 13"/>
                <a:gd name="T6" fmla="*/ 8 w 10"/>
                <a:gd name="T7" fmla="*/ 1 h 13"/>
                <a:gd name="T8" fmla="*/ 5 w 10"/>
                <a:gd name="T9" fmla="*/ 1 h 13"/>
                <a:gd name="T10" fmla="*/ 4 w 10"/>
                <a:gd name="T11" fmla="*/ 1 h 13"/>
                <a:gd name="T12" fmla="*/ 4 w 10"/>
                <a:gd name="T13" fmla="*/ 2 h 13"/>
                <a:gd name="T14" fmla="*/ 4 w 10"/>
                <a:gd name="T15" fmla="*/ 6 h 13"/>
                <a:gd name="T16" fmla="*/ 5 w 10"/>
                <a:gd name="T17" fmla="*/ 6 h 13"/>
                <a:gd name="T18" fmla="*/ 7 w 10"/>
                <a:gd name="T19" fmla="*/ 4 h 13"/>
                <a:gd name="T20" fmla="*/ 8 w 10"/>
                <a:gd name="T21" fmla="*/ 4 h 13"/>
                <a:gd name="T22" fmla="*/ 8 w 10"/>
                <a:gd name="T23" fmla="*/ 8 h 13"/>
                <a:gd name="T24" fmla="*/ 7 w 10"/>
                <a:gd name="T25" fmla="*/ 8 h 13"/>
                <a:gd name="T26" fmla="*/ 5 w 10"/>
                <a:gd name="T27" fmla="*/ 7 h 13"/>
                <a:gd name="T28" fmla="*/ 4 w 10"/>
                <a:gd name="T29" fmla="*/ 7 h 13"/>
                <a:gd name="T30" fmla="*/ 4 w 10"/>
                <a:gd name="T31" fmla="*/ 10 h 13"/>
                <a:gd name="T32" fmla="*/ 4 w 10"/>
                <a:gd name="T33" fmla="*/ 12 h 13"/>
                <a:gd name="T34" fmla="*/ 6 w 10"/>
                <a:gd name="T35" fmla="*/ 12 h 13"/>
                <a:gd name="T36" fmla="*/ 8 w 10"/>
                <a:gd name="T37" fmla="*/ 12 h 13"/>
                <a:gd name="T38" fmla="*/ 9 w 10"/>
                <a:gd name="T39" fmla="*/ 10 h 13"/>
                <a:gd name="T40" fmla="*/ 10 w 10"/>
                <a:gd name="T41" fmla="*/ 10 h 13"/>
                <a:gd name="T42" fmla="*/ 9 w 10"/>
                <a:gd name="T43" fmla="*/ 13 h 13"/>
                <a:gd name="T44" fmla="*/ 0 w 10"/>
                <a:gd name="T45" fmla="*/ 13 h 13"/>
                <a:gd name="T46" fmla="*/ 0 w 10"/>
                <a:gd name="T47" fmla="*/ 12 h 13"/>
                <a:gd name="T48" fmla="*/ 1 w 10"/>
                <a:gd name="T49" fmla="*/ 10 h 13"/>
                <a:gd name="T50" fmla="*/ 1 w 10"/>
                <a:gd name="T51" fmla="*/ 3 h 13"/>
                <a:gd name="T52" fmla="*/ 0 w 10"/>
                <a:gd name="T53" fmla="*/ 1 h 13"/>
                <a:gd name="T54" fmla="*/ 0 w 10"/>
                <a:gd name="T55" fmla="*/ 0 h 13"/>
                <a:gd name="T56" fmla="*/ 9 w 10"/>
                <a:gd name="T5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cubicBezTo>
                    <a:pt x="9" y="1"/>
                    <a:pt x="9" y="2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7" y="1"/>
                    <a:pt x="7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7" y="6"/>
                    <a:pt x="7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2"/>
                    <a:pt x="4" y="12"/>
                  </a:cubicBezTo>
                  <a:cubicBezTo>
                    <a:pt x="4" y="12"/>
                    <a:pt x="5" y="12"/>
                    <a:pt x="6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8" y="11"/>
                    <a:pt x="9" y="11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9" y="12"/>
                    <a:pt x="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88" name="Freeform 10778"/>
            <p:cNvSpPr>
              <a:spLocks/>
            </p:cNvSpPr>
            <p:nvPr/>
          </p:nvSpPr>
          <p:spPr bwMode="auto">
            <a:xfrm>
              <a:off x="6681932" y="3584576"/>
              <a:ext cx="41275" cy="49213"/>
            </a:xfrm>
            <a:custGeom>
              <a:avLst/>
              <a:gdLst>
                <a:gd name="T0" fmla="*/ 0 w 11"/>
                <a:gd name="T1" fmla="*/ 3 h 13"/>
                <a:gd name="T2" fmla="*/ 0 w 11"/>
                <a:gd name="T3" fmla="*/ 0 h 13"/>
                <a:gd name="T4" fmla="*/ 0 w 11"/>
                <a:gd name="T5" fmla="*/ 0 h 13"/>
                <a:gd name="T6" fmla="*/ 1 w 11"/>
                <a:gd name="T7" fmla="*/ 0 h 13"/>
                <a:gd name="T8" fmla="*/ 10 w 11"/>
                <a:gd name="T9" fmla="*/ 0 h 13"/>
                <a:gd name="T10" fmla="*/ 10 w 11"/>
                <a:gd name="T11" fmla="*/ 0 h 13"/>
                <a:gd name="T12" fmla="*/ 11 w 11"/>
                <a:gd name="T13" fmla="*/ 0 h 13"/>
                <a:gd name="T14" fmla="*/ 11 w 11"/>
                <a:gd name="T15" fmla="*/ 3 h 13"/>
                <a:gd name="T16" fmla="*/ 10 w 11"/>
                <a:gd name="T17" fmla="*/ 3 h 13"/>
                <a:gd name="T18" fmla="*/ 10 w 11"/>
                <a:gd name="T19" fmla="*/ 1 h 13"/>
                <a:gd name="T20" fmla="*/ 8 w 11"/>
                <a:gd name="T21" fmla="*/ 1 h 13"/>
                <a:gd name="T22" fmla="*/ 7 w 11"/>
                <a:gd name="T23" fmla="*/ 1 h 13"/>
                <a:gd name="T24" fmla="*/ 7 w 11"/>
                <a:gd name="T25" fmla="*/ 10 h 13"/>
                <a:gd name="T26" fmla="*/ 8 w 11"/>
                <a:gd name="T27" fmla="*/ 12 h 13"/>
                <a:gd name="T28" fmla="*/ 8 w 11"/>
                <a:gd name="T29" fmla="*/ 13 h 13"/>
                <a:gd name="T30" fmla="*/ 2 w 11"/>
                <a:gd name="T31" fmla="*/ 13 h 13"/>
                <a:gd name="T32" fmla="*/ 2 w 11"/>
                <a:gd name="T33" fmla="*/ 12 h 13"/>
                <a:gd name="T34" fmla="*/ 4 w 11"/>
                <a:gd name="T35" fmla="*/ 10 h 13"/>
                <a:gd name="T36" fmla="*/ 4 w 11"/>
                <a:gd name="T37" fmla="*/ 1 h 13"/>
                <a:gd name="T38" fmla="*/ 4 w 11"/>
                <a:gd name="T39" fmla="*/ 1 h 13"/>
                <a:gd name="T40" fmla="*/ 1 w 11"/>
                <a:gd name="T41" fmla="*/ 2 h 13"/>
                <a:gd name="T42" fmla="*/ 0 w 11"/>
                <a:gd name="T4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89" name="Freeform 10779"/>
            <p:cNvSpPr>
              <a:spLocks/>
            </p:cNvSpPr>
            <p:nvPr/>
          </p:nvSpPr>
          <p:spPr bwMode="auto">
            <a:xfrm>
              <a:off x="6737495" y="3584576"/>
              <a:ext cx="19050" cy="49213"/>
            </a:xfrm>
            <a:custGeom>
              <a:avLst/>
              <a:gdLst>
                <a:gd name="T0" fmla="*/ 5 w 5"/>
                <a:gd name="T1" fmla="*/ 0 h 13"/>
                <a:gd name="T2" fmla="*/ 5 w 5"/>
                <a:gd name="T3" fmla="*/ 1 h 13"/>
                <a:gd name="T4" fmla="*/ 3 w 5"/>
                <a:gd name="T5" fmla="*/ 3 h 13"/>
                <a:gd name="T6" fmla="*/ 3 w 5"/>
                <a:gd name="T7" fmla="*/ 10 h 13"/>
                <a:gd name="T8" fmla="*/ 5 w 5"/>
                <a:gd name="T9" fmla="*/ 12 h 13"/>
                <a:gd name="T10" fmla="*/ 5 w 5"/>
                <a:gd name="T11" fmla="*/ 13 h 13"/>
                <a:gd name="T12" fmla="*/ 0 w 5"/>
                <a:gd name="T13" fmla="*/ 13 h 13"/>
                <a:gd name="T14" fmla="*/ 0 w 5"/>
                <a:gd name="T15" fmla="*/ 12 h 13"/>
                <a:gd name="T16" fmla="*/ 1 w 5"/>
                <a:gd name="T17" fmla="*/ 10 h 13"/>
                <a:gd name="T18" fmla="*/ 1 w 5"/>
                <a:gd name="T19" fmla="*/ 3 h 13"/>
                <a:gd name="T20" fmla="*/ 0 w 5"/>
                <a:gd name="T21" fmla="*/ 1 h 13"/>
                <a:gd name="T22" fmla="*/ 0 w 5"/>
                <a:gd name="T23" fmla="*/ 0 h 13"/>
                <a:gd name="T24" fmla="*/ 5 w 5"/>
                <a:gd name="T2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13">
                  <a:moveTo>
                    <a:pt x="5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3" y="1"/>
                    <a:pt x="3" y="3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2"/>
                    <a:pt x="4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0" name="Freeform 10780"/>
            <p:cNvSpPr>
              <a:spLocks/>
            </p:cNvSpPr>
            <p:nvPr/>
          </p:nvSpPr>
          <p:spPr bwMode="auto">
            <a:xfrm>
              <a:off x="6772420" y="3584576"/>
              <a:ext cx="41275" cy="49213"/>
            </a:xfrm>
            <a:custGeom>
              <a:avLst/>
              <a:gdLst>
                <a:gd name="T0" fmla="*/ 0 w 11"/>
                <a:gd name="T1" fmla="*/ 3 h 13"/>
                <a:gd name="T2" fmla="*/ 0 w 11"/>
                <a:gd name="T3" fmla="*/ 0 h 13"/>
                <a:gd name="T4" fmla="*/ 0 w 11"/>
                <a:gd name="T5" fmla="*/ 0 h 13"/>
                <a:gd name="T6" fmla="*/ 1 w 11"/>
                <a:gd name="T7" fmla="*/ 0 h 13"/>
                <a:gd name="T8" fmla="*/ 9 w 11"/>
                <a:gd name="T9" fmla="*/ 0 h 13"/>
                <a:gd name="T10" fmla="*/ 10 w 11"/>
                <a:gd name="T11" fmla="*/ 0 h 13"/>
                <a:gd name="T12" fmla="*/ 11 w 11"/>
                <a:gd name="T13" fmla="*/ 0 h 13"/>
                <a:gd name="T14" fmla="*/ 11 w 11"/>
                <a:gd name="T15" fmla="*/ 3 h 13"/>
                <a:gd name="T16" fmla="*/ 10 w 11"/>
                <a:gd name="T17" fmla="*/ 3 h 13"/>
                <a:gd name="T18" fmla="*/ 10 w 11"/>
                <a:gd name="T19" fmla="*/ 1 h 13"/>
                <a:gd name="T20" fmla="*/ 7 w 11"/>
                <a:gd name="T21" fmla="*/ 1 h 13"/>
                <a:gd name="T22" fmla="*/ 6 w 11"/>
                <a:gd name="T23" fmla="*/ 1 h 13"/>
                <a:gd name="T24" fmla="*/ 6 w 11"/>
                <a:gd name="T25" fmla="*/ 10 h 13"/>
                <a:gd name="T26" fmla="*/ 8 w 11"/>
                <a:gd name="T27" fmla="*/ 12 h 13"/>
                <a:gd name="T28" fmla="*/ 8 w 11"/>
                <a:gd name="T29" fmla="*/ 13 h 13"/>
                <a:gd name="T30" fmla="*/ 2 w 11"/>
                <a:gd name="T31" fmla="*/ 13 h 13"/>
                <a:gd name="T32" fmla="*/ 2 w 11"/>
                <a:gd name="T33" fmla="*/ 12 h 13"/>
                <a:gd name="T34" fmla="*/ 4 w 11"/>
                <a:gd name="T35" fmla="*/ 10 h 13"/>
                <a:gd name="T36" fmla="*/ 4 w 11"/>
                <a:gd name="T37" fmla="*/ 1 h 13"/>
                <a:gd name="T38" fmla="*/ 3 w 11"/>
                <a:gd name="T39" fmla="*/ 1 h 13"/>
                <a:gd name="T40" fmla="*/ 1 w 11"/>
                <a:gd name="T41" fmla="*/ 2 h 13"/>
                <a:gd name="T42" fmla="*/ 0 w 11"/>
                <a:gd name="T4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3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2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9" y="1"/>
                    <a:pt x="9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2"/>
                    <a:pt x="6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0" y="3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1" name="Freeform 10781"/>
            <p:cNvSpPr>
              <a:spLocks/>
            </p:cNvSpPr>
            <p:nvPr/>
          </p:nvSpPr>
          <p:spPr bwMode="auto">
            <a:xfrm>
              <a:off x="6824807" y="3584576"/>
              <a:ext cx="22225" cy="49213"/>
            </a:xfrm>
            <a:custGeom>
              <a:avLst/>
              <a:gdLst>
                <a:gd name="T0" fmla="*/ 6 w 6"/>
                <a:gd name="T1" fmla="*/ 0 h 13"/>
                <a:gd name="T2" fmla="*/ 6 w 6"/>
                <a:gd name="T3" fmla="*/ 1 h 13"/>
                <a:gd name="T4" fmla="*/ 4 w 6"/>
                <a:gd name="T5" fmla="*/ 3 h 13"/>
                <a:gd name="T6" fmla="*/ 4 w 6"/>
                <a:gd name="T7" fmla="*/ 10 h 13"/>
                <a:gd name="T8" fmla="*/ 6 w 6"/>
                <a:gd name="T9" fmla="*/ 12 h 13"/>
                <a:gd name="T10" fmla="*/ 6 w 6"/>
                <a:gd name="T11" fmla="*/ 13 h 13"/>
                <a:gd name="T12" fmla="*/ 0 w 6"/>
                <a:gd name="T13" fmla="*/ 13 h 13"/>
                <a:gd name="T14" fmla="*/ 0 w 6"/>
                <a:gd name="T15" fmla="*/ 12 h 13"/>
                <a:gd name="T16" fmla="*/ 2 w 6"/>
                <a:gd name="T17" fmla="*/ 10 h 13"/>
                <a:gd name="T18" fmla="*/ 2 w 6"/>
                <a:gd name="T19" fmla="*/ 3 h 13"/>
                <a:gd name="T20" fmla="*/ 0 w 6"/>
                <a:gd name="T21" fmla="*/ 1 h 13"/>
                <a:gd name="T22" fmla="*/ 0 w 6"/>
                <a:gd name="T23" fmla="*/ 0 h 13"/>
                <a:gd name="T24" fmla="*/ 6 w 6"/>
                <a:gd name="T2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13">
                  <a:moveTo>
                    <a:pt x="6" y="0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4" y="1"/>
                    <a:pt x="4" y="1"/>
                    <a:pt x="4" y="3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2"/>
                    <a:pt x="4" y="12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2"/>
                    <a:pt x="2" y="12"/>
                    <a:pt x="2" y="1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2" name="Freeform 10782"/>
            <p:cNvSpPr>
              <a:spLocks/>
            </p:cNvSpPr>
            <p:nvPr/>
          </p:nvSpPr>
          <p:spPr bwMode="auto">
            <a:xfrm>
              <a:off x="6858145" y="3584576"/>
              <a:ext cx="49213" cy="49213"/>
            </a:xfrm>
            <a:custGeom>
              <a:avLst/>
              <a:gdLst>
                <a:gd name="T0" fmla="*/ 5 w 13"/>
                <a:gd name="T1" fmla="*/ 0 h 13"/>
                <a:gd name="T2" fmla="*/ 5 w 13"/>
                <a:gd name="T3" fmla="*/ 1 h 13"/>
                <a:gd name="T4" fmla="*/ 5 w 13"/>
                <a:gd name="T5" fmla="*/ 1 h 13"/>
                <a:gd name="T6" fmla="*/ 4 w 13"/>
                <a:gd name="T7" fmla="*/ 2 h 13"/>
                <a:gd name="T8" fmla="*/ 7 w 13"/>
                <a:gd name="T9" fmla="*/ 10 h 13"/>
                <a:gd name="T10" fmla="*/ 10 w 13"/>
                <a:gd name="T11" fmla="*/ 2 h 13"/>
                <a:gd name="T12" fmla="*/ 9 w 13"/>
                <a:gd name="T13" fmla="*/ 1 h 13"/>
                <a:gd name="T14" fmla="*/ 9 w 13"/>
                <a:gd name="T15" fmla="*/ 1 h 13"/>
                <a:gd name="T16" fmla="*/ 9 w 13"/>
                <a:gd name="T17" fmla="*/ 0 h 13"/>
                <a:gd name="T18" fmla="*/ 13 w 13"/>
                <a:gd name="T19" fmla="*/ 0 h 13"/>
                <a:gd name="T20" fmla="*/ 13 w 13"/>
                <a:gd name="T21" fmla="*/ 1 h 13"/>
                <a:gd name="T22" fmla="*/ 11 w 13"/>
                <a:gd name="T23" fmla="*/ 3 h 13"/>
                <a:gd name="T24" fmla="*/ 7 w 13"/>
                <a:gd name="T25" fmla="*/ 13 h 13"/>
                <a:gd name="T26" fmla="*/ 6 w 13"/>
                <a:gd name="T27" fmla="*/ 13 h 13"/>
                <a:gd name="T28" fmla="*/ 2 w 13"/>
                <a:gd name="T29" fmla="*/ 3 h 13"/>
                <a:gd name="T30" fmla="*/ 0 w 13"/>
                <a:gd name="T31" fmla="*/ 1 h 13"/>
                <a:gd name="T32" fmla="*/ 0 w 13"/>
                <a:gd name="T33" fmla="*/ 0 h 13"/>
                <a:gd name="T34" fmla="*/ 5 w 13"/>
                <a:gd name="T3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13">
                  <a:moveTo>
                    <a:pt x="5" y="0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5" y="3"/>
                    <a:pt x="6" y="7"/>
                    <a:pt x="7" y="10"/>
                  </a:cubicBezTo>
                  <a:cubicBezTo>
                    <a:pt x="8" y="8"/>
                    <a:pt x="10" y="3"/>
                    <a:pt x="10" y="2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2" y="1"/>
                    <a:pt x="11" y="3"/>
                  </a:cubicBezTo>
                  <a:cubicBezTo>
                    <a:pt x="11" y="3"/>
                    <a:pt x="8" y="9"/>
                    <a:pt x="7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0"/>
                    <a:pt x="3" y="5"/>
                    <a:pt x="2" y="3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3" name="Freeform 10783"/>
            <p:cNvSpPr>
              <a:spLocks/>
            </p:cNvSpPr>
            <p:nvPr/>
          </p:nvSpPr>
          <p:spPr bwMode="auto">
            <a:xfrm>
              <a:off x="6918470" y="3584576"/>
              <a:ext cx="38100" cy="49213"/>
            </a:xfrm>
            <a:custGeom>
              <a:avLst/>
              <a:gdLst>
                <a:gd name="T0" fmla="*/ 9 w 10"/>
                <a:gd name="T1" fmla="*/ 0 h 13"/>
                <a:gd name="T2" fmla="*/ 9 w 10"/>
                <a:gd name="T3" fmla="*/ 3 h 13"/>
                <a:gd name="T4" fmla="*/ 9 w 10"/>
                <a:gd name="T5" fmla="*/ 3 h 13"/>
                <a:gd name="T6" fmla="*/ 8 w 10"/>
                <a:gd name="T7" fmla="*/ 1 h 13"/>
                <a:gd name="T8" fmla="*/ 6 w 10"/>
                <a:gd name="T9" fmla="*/ 1 h 13"/>
                <a:gd name="T10" fmla="*/ 5 w 10"/>
                <a:gd name="T11" fmla="*/ 1 h 13"/>
                <a:gd name="T12" fmla="*/ 4 w 10"/>
                <a:gd name="T13" fmla="*/ 2 h 13"/>
                <a:gd name="T14" fmla="*/ 4 w 10"/>
                <a:gd name="T15" fmla="*/ 6 h 13"/>
                <a:gd name="T16" fmla="*/ 6 w 10"/>
                <a:gd name="T17" fmla="*/ 6 h 13"/>
                <a:gd name="T18" fmla="*/ 8 w 10"/>
                <a:gd name="T19" fmla="*/ 4 h 13"/>
                <a:gd name="T20" fmla="*/ 8 w 10"/>
                <a:gd name="T21" fmla="*/ 4 h 13"/>
                <a:gd name="T22" fmla="*/ 8 w 10"/>
                <a:gd name="T23" fmla="*/ 8 h 13"/>
                <a:gd name="T24" fmla="*/ 8 w 10"/>
                <a:gd name="T25" fmla="*/ 8 h 13"/>
                <a:gd name="T26" fmla="*/ 6 w 10"/>
                <a:gd name="T27" fmla="*/ 7 h 13"/>
                <a:gd name="T28" fmla="*/ 4 w 10"/>
                <a:gd name="T29" fmla="*/ 7 h 13"/>
                <a:gd name="T30" fmla="*/ 4 w 10"/>
                <a:gd name="T31" fmla="*/ 10 h 13"/>
                <a:gd name="T32" fmla="*/ 5 w 10"/>
                <a:gd name="T33" fmla="*/ 12 h 13"/>
                <a:gd name="T34" fmla="*/ 7 w 10"/>
                <a:gd name="T35" fmla="*/ 12 h 13"/>
                <a:gd name="T36" fmla="*/ 9 w 10"/>
                <a:gd name="T37" fmla="*/ 12 h 13"/>
                <a:gd name="T38" fmla="*/ 10 w 10"/>
                <a:gd name="T39" fmla="*/ 10 h 13"/>
                <a:gd name="T40" fmla="*/ 10 w 10"/>
                <a:gd name="T41" fmla="*/ 10 h 13"/>
                <a:gd name="T42" fmla="*/ 10 w 10"/>
                <a:gd name="T43" fmla="*/ 13 h 13"/>
                <a:gd name="T44" fmla="*/ 0 w 10"/>
                <a:gd name="T45" fmla="*/ 13 h 13"/>
                <a:gd name="T46" fmla="*/ 0 w 10"/>
                <a:gd name="T47" fmla="*/ 12 h 13"/>
                <a:gd name="T48" fmla="*/ 2 w 10"/>
                <a:gd name="T49" fmla="*/ 10 h 13"/>
                <a:gd name="T50" fmla="*/ 2 w 10"/>
                <a:gd name="T51" fmla="*/ 3 h 13"/>
                <a:gd name="T52" fmla="*/ 0 w 10"/>
                <a:gd name="T53" fmla="*/ 1 h 13"/>
                <a:gd name="T54" fmla="*/ 0 w 10"/>
                <a:gd name="T55" fmla="*/ 0 h 13"/>
                <a:gd name="T56" fmla="*/ 9 w 10"/>
                <a:gd name="T5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cubicBezTo>
                    <a:pt x="9" y="1"/>
                    <a:pt x="9" y="2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8" y="2"/>
                    <a:pt x="8" y="1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8" y="6"/>
                    <a:pt x="8" y="6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6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2"/>
                    <a:pt x="5" y="12"/>
                  </a:cubicBezTo>
                  <a:cubicBezTo>
                    <a:pt x="5" y="12"/>
                    <a:pt x="6" y="12"/>
                    <a:pt x="7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9" y="11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2"/>
                    <a:pt x="1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2"/>
                    <a:pt x="2" y="12"/>
                    <a:pt x="2" y="10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4" name="Freeform 10784"/>
            <p:cNvSpPr>
              <a:spLocks/>
            </p:cNvSpPr>
            <p:nvPr/>
          </p:nvSpPr>
          <p:spPr bwMode="auto">
            <a:xfrm>
              <a:off x="6967682" y="3584576"/>
              <a:ext cx="52388" cy="49213"/>
            </a:xfrm>
            <a:custGeom>
              <a:avLst/>
              <a:gdLst>
                <a:gd name="T0" fmla="*/ 4 w 14"/>
                <a:gd name="T1" fmla="*/ 0 h 13"/>
                <a:gd name="T2" fmla="*/ 11 w 14"/>
                <a:gd name="T3" fmla="*/ 9 h 13"/>
                <a:gd name="T4" fmla="*/ 11 w 14"/>
                <a:gd name="T5" fmla="*/ 9 h 13"/>
                <a:gd name="T6" fmla="*/ 11 w 14"/>
                <a:gd name="T7" fmla="*/ 6 h 13"/>
                <a:gd name="T8" fmla="*/ 11 w 14"/>
                <a:gd name="T9" fmla="*/ 2 h 13"/>
                <a:gd name="T10" fmla="*/ 9 w 14"/>
                <a:gd name="T11" fmla="*/ 1 h 13"/>
                <a:gd name="T12" fmla="*/ 9 w 14"/>
                <a:gd name="T13" fmla="*/ 0 h 13"/>
                <a:gd name="T14" fmla="*/ 14 w 14"/>
                <a:gd name="T15" fmla="*/ 0 h 13"/>
                <a:gd name="T16" fmla="*/ 14 w 14"/>
                <a:gd name="T17" fmla="*/ 1 h 13"/>
                <a:gd name="T18" fmla="*/ 13 w 14"/>
                <a:gd name="T19" fmla="*/ 2 h 13"/>
                <a:gd name="T20" fmla="*/ 12 w 14"/>
                <a:gd name="T21" fmla="*/ 6 h 13"/>
                <a:gd name="T22" fmla="*/ 12 w 14"/>
                <a:gd name="T23" fmla="*/ 13 h 13"/>
                <a:gd name="T24" fmla="*/ 11 w 14"/>
                <a:gd name="T25" fmla="*/ 13 h 13"/>
                <a:gd name="T26" fmla="*/ 3 w 14"/>
                <a:gd name="T27" fmla="*/ 3 h 13"/>
                <a:gd name="T28" fmla="*/ 3 w 14"/>
                <a:gd name="T29" fmla="*/ 3 h 13"/>
                <a:gd name="T30" fmla="*/ 3 w 14"/>
                <a:gd name="T31" fmla="*/ 7 h 13"/>
                <a:gd name="T32" fmla="*/ 4 w 14"/>
                <a:gd name="T33" fmla="*/ 11 h 13"/>
                <a:gd name="T34" fmla="*/ 5 w 14"/>
                <a:gd name="T35" fmla="*/ 12 h 13"/>
                <a:gd name="T36" fmla="*/ 5 w 14"/>
                <a:gd name="T37" fmla="*/ 13 h 13"/>
                <a:gd name="T38" fmla="*/ 1 w 14"/>
                <a:gd name="T39" fmla="*/ 13 h 13"/>
                <a:gd name="T40" fmla="*/ 1 w 14"/>
                <a:gd name="T41" fmla="*/ 12 h 13"/>
                <a:gd name="T42" fmla="*/ 2 w 14"/>
                <a:gd name="T43" fmla="*/ 11 h 13"/>
                <a:gd name="T44" fmla="*/ 2 w 14"/>
                <a:gd name="T45" fmla="*/ 7 h 13"/>
                <a:gd name="T46" fmla="*/ 2 w 14"/>
                <a:gd name="T47" fmla="*/ 4 h 13"/>
                <a:gd name="T48" fmla="*/ 0 w 14"/>
                <a:gd name="T49" fmla="*/ 1 h 13"/>
                <a:gd name="T50" fmla="*/ 0 w 14"/>
                <a:gd name="T51" fmla="*/ 0 h 13"/>
                <a:gd name="T52" fmla="*/ 4 w 14"/>
                <a:gd name="T5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" h="13">
                  <a:moveTo>
                    <a:pt x="4" y="0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1"/>
                    <a:pt x="11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2" y="2"/>
                    <a:pt x="12" y="3"/>
                    <a:pt x="12" y="6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10"/>
                    <a:pt x="4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2" y="12"/>
                    <a:pt x="2" y="12"/>
                    <a:pt x="2" y="11"/>
                  </a:cubicBezTo>
                  <a:cubicBezTo>
                    <a:pt x="2" y="11"/>
                    <a:pt x="2" y="10"/>
                    <a:pt x="2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1"/>
                    <a:pt x="2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5" name="Freeform 10785"/>
            <p:cNvSpPr>
              <a:spLocks/>
            </p:cNvSpPr>
            <p:nvPr/>
          </p:nvSpPr>
          <p:spPr bwMode="auto">
            <a:xfrm>
              <a:off x="7034357" y="3584576"/>
              <a:ext cx="38100" cy="49213"/>
            </a:xfrm>
            <a:custGeom>
              <a:avLst/>
              <a:gdLst>
                <a:gd name="T0" fmla="*/ 9 w 10"/>
                <a:gd name="T1" fmla="*/ 0 h 13"/>
                <a:gd name="T2" fmla="*/ 9 w 10"/>
                <a:gd name="T3" fmla="*/ 3 h 13"/>
                <a:gd name="T4" fmla="*/ 8 w 10"/>
                <a:gd name="T5" fmla="*/ 3 h 13"/>
                <a:gd name="T6" fmla="*/ 7 w 10"/>
                <a:gd name="T7" fmla="*/ 1 h 13"/>
                <a:gd name="T8" fmla="*/ 5 w 10"/>
                <a:gd name="T9" fmla="*/ 1 h 13"/>
                <a:gd name="T10" fmla="*/ 4 w 10"/>
                <a:gd name="T11" fmla="*/ 1 h 13"/>
                <a:gd name="T12" fmla="*/ 4 w 10"/>
                <a:gd name="T13" fmla="*/ 2 h 13"/>
                <a:gd name="T14" fmla="*/ 4 w 10"/>
                <a:gd name="T15" fmla="*/ 6 h 13"/>
                <a:gd name="T16" fmla="*/ 5 w 10"/>
                <a:gd name="T17" fmla="*/ 6 h 13"/>
                <a:gd name="T18" fmla="*/ 7 w 10"/>
                <a:gd name="T19" fmla="*/ 4 h 13"/>
                <a:gd name="T20" fmla="*/ 8 w 10"/>
                <a:gd name="T21" fmla="*/ 4 h 13"/>
                <a:gd name="T22" fmla="*/ 8 w 10"/>
                <a:gd name="T23" fmla="*/ 8 h 13"/>
                <a:gd name="T24" fmla="*/ 7 w 10"/>
                <a:gd name="T25" fmla="*/ 8 h 13"/>
                <a:gd name="T26" fmla="*/ 5 w 10"/>
                <a:gd name="T27" fmla="*/ 7 h 13"/>
                <a:gd name="T28" fmla="*/ 4 w 10"/>
                <a:gd name="T29" fmla="*/ 7 h 13"/>
                <a:gd name="T30" fmla="*/ 4 w 10"/>
                <a:gd name="T31" fmla="*/ 10 h 13"/>
                <a:gd name="T32" fmla="*/ 4 w 10"/>
                <a:gd name="T33" fmla="*/ 12 h 13"/>
                <a:gd name="T34" fmla="*/ 6 w 10"/>
                <a:gd name="T35" fmla="*/ 12 h 13"/>
                <a:gd name="T36" fmla="*/ 8 w 10"/>
                <a:gd name="T37" fmla="*/ 12 h 13"/>
                <a:gd name="T38" fmla="*/ 9 w 10"/>
                <a:gd name="T39" fmla="*/ 10 h 13"/>
                <a:gd name="T40" fmla="*/ 10 w 10"/>
                <a:gd name="T41" fmla="*/ 10 h 13"/>
                <a:gd name="T42" fmla="*/ 9 w 10"/>
                <a:gd name="T43" fmla="*/ 13 h 13"/>
                <a:gd name="T44" fmla="*/ 0 w 10"/>
                <a:gd name="T45" fmla="*/ 13 h 13"/>
                <a:gd name="T46" fmla="*/ 0 w 10"/>
                <a:gd name="T47" fmla="*/ 12 h 13"/>
                <a:gd name="T48" fmla="*/ 1 w 10"/>
                <a:gd name="T49" fmla="*/ 10 h 13"/>
                <a:gd name="T50" fmla="*/ 1 w 10"/>
                <a:gd name="T51" fmla="*/ 3 h 13"/>
                <a:gd name="T52" fmla="*/ 0 w 10"/>
                <a:gd name="T53" fmla="*/ 1 h 13"/>
                <a:gd name="T54" fmla="*/ 0 w 10"/>
                <a:gd name="T55" fmla="*/ 0 h 13"/>
                <a:gd name="T56" fmla="*/ 9 w 10"/>
                <a:gd name="T5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" h="13">
                  <a:moveTo>
                    <a:pt x="9" y="0"/>
                  </a:moveTo>
                  <a:cubicBezTo>
                    <a:pt x="9" y="1"/>
                    <a:pt x="9" y="2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2"/>
                    <a:pt x="8" y="2"/>
                    <a:pt x="7" y="1"/>
                  </a:cubicBezTo>
                  <a:cubicBezTo>
                    <a:pt x="7" y="1"/>
                    <a:pt x="7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7" y="6"/>
                    <a:pt x="7" y="6"/>
                    <a:pt x="7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7"/>
                    <a:pt x="7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4" y="12"/>
                    <a:pt x="4" y="12"/>
                  </a:cubicBezTo>
                  <a:cubicBezTo>
                    <a:pt x="4" y="12"/>
                    <a:pt x="5" y="12"/>
                    <a:pt x="6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8" y="11"/>
                    <a:pt x="9" y="11"/>
                    <a:pt x="9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9" y="12"/>
                    <a:pt x="9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" y="12"/>
                    <a:pt x="1" y="12"/>
                    <a:pt x="1" y="1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7" name="Freeform 10786"/>
            <p:cNvSpPr>
              <a:spLocks/>
            </p:cNvSpPr>
            <p:nvPr/>
          </p:nvSpPr>
          <p:spPr bwMode="auto">
            <a:xfrm>
              <a:off x="7083570" y="3584576"/>
              <a:ext cx="30163" cy="49213"/>
            </a:xfrm>
            <a:custGeom>
              <a:avLst/>
              <a:gdLst>
                <a:gd name="T0" fmla="*/ 7 w 8"/>
                <a:gd name="T1" fmla="*/ 3 h 13"/>
                <a:gd name="T2" fmla="*/ 4 w 8"/>
                <a:gd name="T3" fmla="*/ 1 h 13"/>
                <a:gd name="T4" fmla="*/ 3 w 8"/>
                <a:gd name="T5" fmla="*/ 3 h 13"/>
                <a:gd name="T6" fmla="*/ 5 w 8"/>
                <a:gd name="T7" fmla="*/ 5 h 13"/>
                <a:gd name="T8" fmla="*/ 5 w 8"/>
                <a:gd name="T9" fmla="*/ 5 h 13"/>
                <a:gd name="T10" fmla="*/ 8 w 8"/>
                <a:gd name="T11" fmla="*/ 9 h 13"/>
                <a:gd name="T12" fmla="*/ 4 w 8"/>
                <a:gd name="T13" fmla="*/ 13 h 13"/>
                <a:gd name="T14" fmla="*/ 2 w 8"/>
                <a:gd name="T15" fmla="*/ 13 h 13"/>
                <a:gd name="T16" fmla="*/ 1 w 8"/>
                <a:gd name="T17" fmla="*/ 12 h 13"/>
                <a:gd name="T18" fmla="*/ 0 w 8"/>
                <a:gd name="T19" fmla="*/ 9 h 13"/>
                <a:gd name="T20" fmla="*/ 1 w 8"/>
                <a:gd name="T21" fmla="*/ 9 h 13"/>
                <a:gd name="T22" fmla="*/ 4 w 8"/>
                <a:gd name="T23" fmla="*/ 12 h 13"/>
                <a:gd name="T24" fmla="*/ 6 w 8"/>
                <a:gd name="T25" fmla="*/ 10 h 13"/>
                <a:gd name="T26" fmla="*/ 4 w 8"/>
                <a:gd name="T27" fmla="*/ 8 h 13"/>
                <a:gd name="T28" fmla="*/ 3 w 8"/>
                <a:gd name="T29" fmla="*/ 7 h 13"/>
                <a:gd name="T30" fmla="*/ 1 w 8"/>
                <a:gd name="T31" fmla="*/ 4 h 13"/>
                <a:gd name="T32" fmla="*/ 5 w 8"/>
                <a:gd name="T33" fmla="*/ 0 h 13"/>
                <a:gd name="T34" fmla="*/ 7 w 8"/>
                <a:gd name="T35" fmla="*/ 0 h 13"/>
                <a:gd name="T36" fmla="*/ 7 w 8"/>
                <a:gd name="T37" fmla="*/ 0 h 13"/>
                <a:gd name="T38" fmla="*/ 8 w 8"/>
                <a:gd name="T39" fmla="*/ 3 h 13"/>
                <a:gd name="T40" fmla="*/ 7 w 8"/>
                <a:gd name="T4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13">
                  <a:moveTo>
                    <a:pt x="7" y="3"/>
                  </a:moveTo>
                  <a:cubicBezTo>
                    <a:pt x="7" y="2"/>
                    <a:pt x="6" y="1"/>
                    <a:pt x="4" y="1"/>
                  </a:cubicBezTo>
                  <a:cubicBezTo>
                    <a:pt x="3" y="1"/>
                    <a:pt x="3" y="2"/>
                    <a:pt x="3" y="3"/>
                  </a:cubicBezTo>
                  <a:cubicBezTo>
                    <a:pt x="3" y="4"/>
                    <a:pt x="3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7" y="6"/>
                    <a:pt x="8" y="7"/>
                    <a:pt x="8" y="9"/>
                  </a:cubicBezTo>
                  <a:cubicBezTo>
                    <a:pt x="8" y="12"/>
                    <a:pt x="6" y="13"/>
                    <a:pt x="4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1" y="13"/>
                    <a:pt x="1" y="13"/>
                    <a:pt x="1" y="12"/>
                  </a:cubicBezTo>
                  <a:cubicBezTo>
                    <a:pt x="1" y="12"/>
                    <a:pt x="0" y="11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2" y="12"/>
                    <a:pt x="4" y="12"/>
                  </a:cubicBezTo>
                  <a:cubicBezTo>
                    <a:pt x="5" y="12"/>
                    <a:pt x="6" y="11"/>
                    <a:pt x="6" y="10"/>
                  </a:cubicBezTo>
                  <a:cubicBezTo>
                    <a:pt x="6" y="9"/>
                    <a:pt x="6" y="8"/>
                    <a:pt x="4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1" y="6"/>
                    <a:pt x="1" y="4"/>
                  </a:cubicBezTo>
                  <a:cubicBezTo>
                    <a:pt x="1" y="2"/>
                    <a:pt x="2" y="0"/>
                    <a:pt x="5" y="0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8" y="2"/>
                    <a:pt x="8" y="3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8" name="Freeform 10787"/>
            <p:cNvSpPr>
              <a:spLocks/>
            </p:cNvSpPr>
            <p:nvPr/>
          </p:nvSpPr>
          <p:spPr bwMode="auto">
            <a:xfrm>
              <a:off x="7128020" y="3584576"/>
              <a:ext cx="30163" cy="49213"/>
            </a:xfrm>
            <a:custGeom>
              <a:avLst/>
              <a:gdLst>
                <a:gd name="T0" fmla="*/ 7 w 8"/>
                <a:gd name="T1" fmla="*/ 3 h 13"/>
                <a:gd name="T2" fmla="*/ 4 w 8"/>
                <a:gd name="T3" fmla="*/ 1 h 13"/>
                <a:gd name="T4" fmla="*/ 2 w 8"/>
                <a:gd name="T5" fmla="*/ 3 h 13"/>
                <a:gd name="T6" fmla="*/ 5 w 8"/>
                <a:gd name="T7" fmla="*/ 5 h 13"/>
                <a:gd name="T8" fmla="*/ 5 w 8"/>
                <a:gd name="T9" fmla="*/ 5 h 13"/>
                <a:gd name="T10" fmla="*/ 8 w 8"/>
                <a:gd name="T11" fmla="*/ 9 h 13"/>
                <a:gd name="T12" fmla="*/ 4 w 8"/>
                <a:gd name="T13" fmla="*/ 13 h 13"/>
                <a:gd name="T14" fmla="*/ 2 w 8"/>
                <a:gd name="T15" fmla="*/ 13 h 13"/>
                <a:gd name="T16" fmla="*/ 1 w 8"/>
                <a:gd name="T17" fmla="*/ 12 h 13"/>
                <a:gd name="T18" fmla="*/ 0 w 8"/>
                <a:gd name="T19" fmla="*/ 9 h 13"/>
                <a:gd name="T20" fmla="*/ 1 w 8"/>
                <a:gd name="T21" fmla="*/ 9 h 13"/>
                <a:gd name="T22" fmla="*/ 4 w 8"/>
                <a:gd name="T23" fmla="*/ 12 h 13"/>
                <a:gd name="T24" fmla="*/ 6 w 8"/>
                <a:gd name="T25" fmla="*/ 10 h 13"/>
                <a:gd name="T26" fmla="*/ 4 w 8"/>
                <a:gd name="T27" fmla="*/ 8 h 13"/>
                <a:gd name="T28" fmla="*/ 3 w 8"/>
                <a:gd name="T29" fmla="*/ 7 h 13"/>
                <a:gd name="T30" fmla="*/ 1 w 8"/>
                <a:gd name="T31" fmla="*/ 4 h 13"/>
                <a:gd name="T32" fmla="*/ 5 w 8"/>
                <a:gd name="T33" fmla="*/ 0 h 13"/>
                <a:gd name="T34" fmla="*/ 7 w 8"/>
                <a:gd name="T35" fmla="*/ 0 h 13"/>
                <a:gd name="T36" fmla="*/ 7 w 8"/>
                <a:gd name="T37" fmla="*/ 0 h 13"/>
                <a:gd name="T38" fmla="*/ 8 w 8"/>
                <a:gd name="T39" fmla="*/ 3 h 13"/>
                <a:gd name="T40" fmla="*/ 7 w 8"/>
                <a:gd name="T41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13">
                  <a:moveTo>
                    <a:pt x="7" y="3"/>
                  </a:moveTo>
                  <a:cubicBezTo>
                    <a:pt x="7" y="2"/>
                    <a:pt x="6" y="1"/>
                    <a:pt x="4" y="1"/>
                  </a:cubicBezTo>
                  <a:cubicBezTo>
                    <a:pt x="3" y="1"/>
                    <a:pt x="2" y="2"/>
                    <a:pt x="2" y="3"/>
                  </a:cubicBezTo>
                  <a:cubicBezTo>
                    <a:pt x="2" y="4"/>
                    <a:pt x="3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7" y="6"/>
                    <a:pt x="8" y="7"/>
                    <a:pt x="8" y="9"/>
                  </a:cubicBezTo>
                  <a:cubicBezTo>
                    <a:pt x="8" y="12"/>
                    <a:pt x="6" y="13"/>
                    <a:pt x="4" y="13"/>
                  </a:cubicBezTo>
                  <a:cubicBezTo>
                    <a:pt x="3" y="13"/>
                    <a:pt x="2" y="13"/>
                    <a:pt x="2" y="13"/>
                  </a:cubicBezTo>
                  <a:cubicBezTo>
                    <a:pt x="1" y="13"/>
                    <a:pt x="1" y="13"/>
                    <a:pt x="1" y="12"/>
                  </a:cubicBezTo>
                  <a:cubicBezTo>
                    <a:pt x="1" y="12"/>
                    <a:pt x="0" y="11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2" y="12"/>
                    <a:pt x="4" y="12"/>
                  </a:cubicBezTo>
                  <a:cubicBezTo>
                    <a:pt x="5" y="12"/>
                    <a:pt x="6" y="11"/>
                    <a:pt x="6" y="10"/>
                  </a:cubicBezTo>
                  <a:cubicBezTo>
                    <a:pt x="6" y="9"/>
                    <a:pt x="6" y="8"/>
                    <a:pt x="4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1" y="6"/>
                    <a:pt x="1" y="4"/>
                  </a:cubicBezTo>
                  <a:cubicBezTo>
                    <a:pt x="1" y="2"/>
                    <a:pt x="2" y="0"/>
                    <a:pt x="5" y="0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8" y="2"/>
                    <a:pt x="8" y="3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99" name="Rectangle 10788"/>
            <p:cNvSpPr>
              <a:spLocks noChangeArrowheads="1"/>
            </p:cNvSpPr>
            <p:nvPr/>
          </p:nvSpPr>
          <p:spPr bwMode="auto">
            <a:xfrm>
              <a:off x="5904057" y="3475038"/>
              <a:ext cx="26988" cy="163513"/>
            </a:xfrm>
            <a:prstGeom prst="rect">
              <a:avLst/>
            </a:pr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0" name="Freeform 10789"/>
            <p:cNvSpPr>
              <a:spLocks/>
            </p:cNvSpPr>
            <p:nvPr/>
          </p:nvSpPr>
          <p:spPr bwMode="auto">
            <a:xfrm>
              <a:off x="5967557" y="3475038"/>
              <a:ext cx="101600" cy="163513"/>
            </a:xfrm>
            <a:custGeom>
              <a:avLst/>
              <a:gdLst>
                <a:gd name="T0" fmla="*/ 0 w 64"/>
                <a:gd name="T1" fmla="*/ 0 h 103"/>
                <a:gd name="T2" fmla="*/ 64 w 64"/>
                <a:gd name="T3" fmla="*/ 0 h 103"/>
                <a:gd name="T4" fmla="*/ 64 w 64"/>
                <a:gd name="T5" fmla="*/ 14 h 103"/>
                <a:gd name="T6" fmla="*/ 17 w 64"/>
                <a:gd name="T7" fmla="*/ 14 h 103"/>
                <a:gd name="T8" fmla="*/ 17 w 64"/>
                <a:gd name="T9" fmla="*/ 55 h 103"/>
                <a:gd name="T10" fmla="*/ 60 w 64"/>
                <a:gd name="T11" fmla="*/ 55 h 103"/>
                <a:gd name="T12" fmla="*/ 60 w 64"/>
                <a:gd name="T13" fmla="*/ 69 h 103"/>
                <a:gd name="T14" fmla="*/ 17 w 64"/>
                <a:gd name="T15" fmla="*/ 69 h 103"/>
                <a:gd name="T16" fmla="*/ 17 w 64"/>
                <a:gd name="T17" fmla="*/ 103 h 103"/>
                <a:gd name="T18" fmla="*/ 0 w 64"/>
                <a:gd name="T19" fmla="*/ 103 h 103"/>
                <a:gd name="T20" fmla="*/ 0 w 64"/>
                <a:gd name="T2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103">
                  <a:moveTo>
                    <a:pt x="0" y="0"/>
                  </a:moveTo>
                  <a:lnTo>
                    <a:pt x="64" y="0"/>
                  </a:lnTo>
                  <a:lnTo>
                    <a:pt x="64" y="14"/>
                  </a:lnTo>
                  <a:lnTo>
                    <a:pt x="17" y="14"/>
                  </a:lnTo>
                  <a:lnTo>
                    <a:pt x="17" y="55"/>
                  </a:lnTo>
                  <a:lnTo>
                    <a:pt x="60" y="55"/>
                  </a:lnTo>
                  <a:lnTo>
                    <a:pt x="60" y="69"/>
                  </a:lnTo>
                  <a:lnTo>
                    <a:pt x="17" y="69"/>
                  </a:lnTo>
                  <a:lnTo>
                    <a:pt x="17" y="103"/>
                  </a:lnTo>
                  <a:lnTo>
                    <a:pt x="0" y="1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1" name="Freeform 10790"/>
            <p:cNvSpPr>
              <a:spLocks/>
            </p:cNvSpPr>
            <p:nvPr/>
          </p:nvSpPr>
          <p:spPr bwMode="auto">
            <a:xfrm>
              <a:off x="6091382" y="3475038"/>
              <a:ext cx="147638" cy="166688"/>
            </a:xfrm>
            <a:custGeom>
              <a:avLst/>
              <a:gdLst>
                <a:gd name="T0" fmla="*/ 0 w 39"/>
                <a:gd name="T1" fmla="*/ 22 h 44"/>
                <a:gd name="T2" fmla="*/ 21 w 39"/>
                <a:gd name="T3" fmla="*/ 0 h 44"/>
                <a:gd name="T4" fmla="*/ 39 w 39"/>
                <a:gd name="T5" fmla="*/ 8 h 44"/>
                <a:gd name="T6" fmla="*/ 33 w 39"/>
                <a:gd name="T7" fmla="*/ 12 h 44"/>
                <a:gd name="T8" fmla="*/ 21 w 39"/>
                <a:gd name="T9" fmla="*/ 6 h 44"/>
                <a:gd name="T10" fmla="*/ 6 w 39"/>
                <a:gd name="T11" fmla="*/ 22 h 44"/>
                <a:gd name="T12" fmla="*/ 21 w 39"/>
                <a:gd name="T13" fmla="*/ 38 h 44"/>
                <a:gd name="T14" fmla="*/ 34 w 39"/>
                <a:gd name="T15" fmla="*/ 31 h 44"/>
                <a:gd name="T16" fmla="*/ 39 w 39"/>
                <a:gd name="T17" fmla="*/ 34 h 44"/>
                <a:gd name="T18" fmla="*/ 21 w 39"/>
                <a:gd name="T19" fmla="*/ 44 h 44"/>
                <a:gd name="T20" fmla="*/ 0 w 39"/>
                <a:gd name="T21" fmla="*/ 2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44">
                  <a:moveTo>
                    <a:pt x="0" y="22"/>
                  </a:moveTo>
                  <a:cubicBezTo>
                    <a:pt x="0" y="9"/>
                    <a:pt x="9" y="0"/>
                    <a:pt x="21" y="0"/>
                  </a:cubicBezTo>
                  <a:cubicBezTo>
                    <a:pt x="29" y="0"/>
                    <a:pt x="35" y="3"/>
                    <a:pt x="39" y="8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1" y="8"/>
                    <a:pt x="27" y="6"/>
                    <a:pt x="21" y="6"/>
                  </a:cubicBezTo>
                  <a:cubicBezTo>
                    <a:pt x="13" y="6"/>
                    <a:pt x="6" y="13"/>
                    <a:pt x="6" y="22"/>
                  </a:cubicBezTo>
                  <a:cubicBezTo>
                    <a:pt x="6" y="31"/>
                    <a:pt x="13" y="38"/>
                    <a:pt x="21" y="38"/>
                  </a:cubicBezTo>
                  <a:cubicBezTo>
                    <a:pt x="27" y="38"/>
                    <a:pt x="31" y="35"/>
                    <a:pt x="34" y="31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5" y="40"/>
                    <a:pt x="29" y="44"/>
                    <a:pt x="21" y="44"/>
                  </a:cubicBezTo>
                  <a:cubicBezTo>
                    <a:pt x="9" y="44"/>
                    <a:pt x="0" y="34"/>
                    <a:pt x="0" y="22"/>
                  </a:cubicBezTo>
                  <a:close/>
                </a:path>
              </a:pathLst>
            </a:cu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2" name="Rectangle 10791"/>
            <p:cNvSpPr>
              <a:spLocks noChangeArrowheads="1"/>
            </p:cNvSpPr>
            <p:nvPr/>
          </p:nvSpPr>
          <p:spPr bwMode="auto">
            <a:xfrm>
              <a:off x="6310457" y="3395663"/>
              <a:ext cx="6350" cy="322263"/>
            </a:xfrm>
            <a:prstGeom prst="rect">
              <a:avLst/>
            </a:prstGeom>
            <a:solidFill>
              <a:srgbClr val="6D6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3" name="Freeform 10792"/>
            <p:cNvSpPr>
              <a:spLocks/>
            </p:cNvSpPr>
            <p:nvPr/>
          </p:nvSpPr>
          <p:spPr bwMode="auto">
            <a:xfrm>
              <a:off x="6310457" y="3395663"/>
              <a:ext cx="6350" cy="322263"/>
            </a:xfrm>
            <a:custGeom>
              <a:avLst/>
              <a:gdLst>
                <a:gd name="T0" fmla="*/ 0 w 4"/>
                <a:gd name="T1" fmla="*/ 0 h 203"/>
                <a:gd name="T2" fmla="*/ 0 w 4"/>
                <a:gd name="T3" fmla="*/ 203 h 203"/>
                <a:gd name="T4" fmla="*/ 4 w 4"/>
                <a:gd name="T5" fmla="*/ 203 h 203"/>
                <a:gd name="T6" fmla="*/ 4 w 4"/>
                <a:gd name="T7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03">
                  <a:moveTo>
                    <a:pt x="0" y="0"/>
                  </a:moveTo>
                  <a:lnTo>
                    <a:pt x="0" y="203"/>
                  </a:lnTo>
                  <a:lnTo>
                    <a:pt x="4" y="203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4" name="Freeform 10793"/>
            <p:cNvSpPr>
              <a:spLocks/>
            </p:cNvSpPr>
            <p:nvPr/>
          </p:nvSpPr>
          <p:spPr bwMode="auto">
            <a:xfrm>
              <a:off x="5611957" y="3538538"/>
              <a:ext cx="228600" cy="141288"/>
            </a:xfrm>
            <a:custGeom>
              <a:avLst/>
              <a:gdLst>
                <a:gd name="T0" fmla="*/ 30 w 61"/>
                <a:gd name="T1" fmla="*/ 37 h 37"/>
                <a:gd name="T2" fmla="*/ 43 w 61"/>
                <a:gd name="T3" fmla="*/ 31 h 37"/>
                <a:gd name="T4" fmla="*/ 59 w 61"/>
                <a:gd name="T5" fmla="*/ 10 h 37"/>
                <a:gd name="T6" fmla="*/ 46 w 61"/>
                <a:gd name="T7" fmla="*/ 23 h 37"/>
                <a:gd name="T8" fmla="*/ 33 w 61"/>
                <a:gd name="T9" fmla="*/ 28 h 37"/>
                <a:gd name="T10" fmla="*/ 19 w 61"/>
                <a:gd name="T11" fmla="*/ 16 h 37"/>
                <a:gd name="T12" fmla="*/ 7 w 61"/>
                <a:gd name="T13" fmla="*/ 0 h 37"/>
                <a:gd name="T14" fmla="*/ 15 w 61"/>
                <a:gd name="T15" fmla="*/ 24 h 37"/>
                <a:gd name="T16" fmla="*/ 30 w 61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7">
                  <a:moveTo>
                    <a:pt x="30" y="37"/>
                  </a:moveTo>
                  <a:cubicBezTo>
                    <a:pt x="31" y="37"/>
                    <a:pt x="35" y="32"/>
                    <a:pt x="43" y="31"/>
                  </a:cubicBezTo>
                  <a:cubicBezTo>
                    <a:pt x="61" y="27"/>
                    <a:pt x="59" y="10"/>
                    <a:pt x="59" y="10"/>
                  </a:cubicBezTo>
                  <a:cubicBezTo>
                    <a:pt x="58" y="10"/>
                    <a:pt x="57" y="21"/>
                    <a:pt x="46" y="23"/>
                  </a:cubicBezTo>
                  <a:cubicBezTo>
                    <a:pt x="36" y="25"/>
                    <a:pt x="33" y="28"/>
                    <a:pt x="33" y="28"/>
                  </a:cubicBezTo>
                  <a:cubicBezTo>
                    <a:pt x="33" y="28"/>
                    <a:pt x="31" y="21"/>
                    <a:pt x="19" y="16"/>
                  </a:cubicBezTo>
                  <a:cubicBezTo>
                    <a:pt x="6" y="12"/>
                    <a:pt x="8" y="1"/>
                    <a:pt x="7" y="0"/>
                  </a:cubicBezTo>
                  <a:cubicBezTo>
                    <a:pt x="6" y="0"/>
                    <a:pt x="0" y="18"/>
                    <a:pt x="15" y="24"/>
                  </a:cubicBezTo>
                  <a:cubicBezTo>
                    <a:pt x="31" y="30"/>
                    <a:pt x="29" y="36"/>
                    <a:pt x="30" y="37"/>
                  </a:cubicBezTo>
                </a:path>
              </a:pathLst>
            </a:custGeom>
            <a:solidFill>
              <a:srgbClr val="5087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5" name="Freeform 10794"/>
            <p:cNvSpPr>
              <a:spLocks/>
            </p:cNvSpPr>
            <p:nvPr/>
          </p:nvSpPr>
          <p:spPr bwMode="auto">
            <a:xfrm>
              <a:off x="5634182" y="3482976"/>
              <a:ext cx="206375" cy="125413"/>
            </a:xfrm>
            <a:custGeom>
              <a:avLst/>
              <a:gdLst>
                <a:gd name="T0" fmla="*/ 9 w 55"/>
                <a:gd name="T1" fmla="*/ 0 h 33"/>
                <a:gd name="T2" fmla="*/ 15 w 55"/>
                <a:gd name="T3" fmla="*/ 21 h 33"/>
                <a:gd name="T4" fmla="*/ 30 w 55"/>
                <a:gd name="T5" fmla="*/ 33 h 33"/>
                <a:gd name="T6" fmla="*/ 30 w 55"/>
                <a:gd name="T7" fmla="*/ 33 h 33"/>
                <a:gd name="T8" fmla="*/ 44 w 55"/>
                <a:gd name="T9" fmla="*/ 22 h 33"/>
                <a:gd name="T10" fmla="*/ 50 w 55"/>
                <a:gd name="T11" fmla="*/ 1 h 33"/>
                <a:gd name="T12" fmla="*/ 50 w 55"/>
                <a:gd name="T13" fmla="*/ 1 h 33"/>
                <a:gd name="T14" fmla="*/ 44 w 55"/>
                <a:gd name="T15" fmla="*/ 15 h 33"/>
                <a:gd name="T16" fmla="*/ 32 w 55"/>
                <a:gd name="T17" fmla="*/ 23 h 33"/>
                <a:gd name="T18" fmla="*/ 18 w 55"/>
                <a:gd name="T19" fmla="*/ 14 h 33"/>
                <a:gd name="T20" fmla="*/ 9 w 55"/>
                <a:gd name="T21" fmla="*/ 0 h 33"/>
                <a:gd name="T22" fmla="*/ 9 w 55"/>
                <a:gd name="T2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33">
                  <a:moveTo>
                    <a:pt x="9" y="0"/>
                  </a:moveTo>
                  <a:cubicBezTo>
                    <a:pt x="8" y="0"/>
                    <a:pt x="0" y="15"/>
                    <a:pt x="15" y="21"/>
                  </a:cubicBezTo>
                  <a:cubicBezTo>
                    <a:pt x="29" y="27"/>
                    <a:pt x="29" y="32"/>
                    <a:pt x="30" y="3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1" y="33"/>
                    <a:pt x="35" y="28"/>
                    <a:pt x="44" y="22"/>
                  </a:cubicBezTo>
                  <a:cubicBezTo>
                    <a:pt x="55" y="16"/>
                    <a:pt x="51" y="1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1"/>
                    <a:pt x="51" y="11"/>
                    <a:pt x="44" y="15"/>
                  </a:cubicBezTo>
                  <a:cubicBezTo>
                    <a:pt x="33" y="21"/>
                    <a:pt x="32" y="23"/>
                    <a:pt x="32" y="23"/>
                  </a:cubicBezTo>
                  <a:cubicBezTo>
                    <a:pt x="32" y="23"/>
                    <a:pt x="31" y="19"/>
                    <a:pt x="18" y="14"/>
                  </a:cubicBezTo>
                  <a:cubicBezTo>
                    <a:pt x="5" y="10"/>
                    <a:pt x="9" y="1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7299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6" name="Freeform 10795"/>
            <p:cNvSpPr>
              <a:spLocks/>
            </p:cNvSpPr>
            <p:nvPr/>
          </p:nvSpPr>
          <p:spPr bwMode="auto">
            <a:xfrm>
              <a:off x="5675457" y="3417888"/>
              <a:ext cx="138113" cy="109538"/>
            </a:xfrm>
            <a:custGeom>
              <a:avLst/>
              <a:gdLst>
                <a:gd name="T0" fmla="*/ 31 w 37"/>
                <a:gd name="T1" fmla="*/ 0 h 29"/>
                <a:gd name="T2" fmla="*/ 31 w 37"/>
                <a:gd name="T3" fmla="*/ 0 h 29"/>
                <a:gd name="T4" fmla="*/ 28 w 37"/>
                <a:gd name="T5" fmla="*/ 11 h 29"/>
                <a:gd name="T6" fmla="*/ 21 w 37"/>
                <a:gd name="T7" fmla="*/ 19 h 29"/>
                <a:gd name="T8" fmla="*/ 11 w 37"/>
                <a:gd name="T9" fmla="*/ 15 h 29"/>
                <a:gd name="T10" fmla="*/ 2 w 37"/>
                <a:gd name="T11" fmla="*/ 7 h 29"/>
                <a:gd name="T12" fmla="*/ 2 w 37"/>
                <a:gd name="T13" fmla="*/ 7 h 29"/>
                <a:gd name="T14" fmla="*/ 11 w 37"/>
                <a:gd name="T15" fmla="*/ 21 h 29"/>
                <a:gd name="T16" fmla="*/ 21 w 37"/>
                <a:gd name="T17" fmla="*/ 29 h 29"/>
                <a:gd name="T18" fmla="*/ 21 w 37"/>
                <a:gd name="T19" fmla="*/ 29 h 29"/>
                <a:gd name="T20" fmla="*/ 30 w 37"/>
                <a:gd name="T21" fmla="*/ 17 h 29"/>
                <a:gd name="T22" fmla="*/ 31 w 37"/>
                <a:gd name="T2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9">
                  <a:moveTo>
                    <a:pt x="31" y="0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3" y="7"/>
                    <a:pt x="28" y="11"/>
                  </a:cubicBezTo>
                  <a:cubicBezTo>
                    <a:pt x="21" y="17"/>
                    <a:pt x="21" y="19"/>
                    <a:pt x="21" y="19"/>
                  </a:cubicBezTo>
                  <a:cubicBezTo>
                    <a:pt x="21" y="19"/>
                    <a:pt x="20" y="16"/>
                    <a:pt x="11" y="15"/>
                  </a:cubicBezTo>
                  <a:cubicBezTo>
                    <a:pt x="4" y="14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18"/>
                    <a:pt x="11" y="21"/>
                  </a:cubicBezTo>
                  <a:cubicBezTo>
                    <a:pt x="21" y="24"/>
                    <a:pt x="21" y="28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2" y="29"/>
                    <a:pt x="21" y="25"/>
                    <a:pt x="30" y="17"/>
                  </a:cubicBezTo>
                  <a:cubicBezTo>
                    <a:pt x="37" y="10"/>
                    <a:pt x="32" y="0"/>
                    <a:pt x="31" y="0"/>
                  </a:cubicBezTo>
                </a:path>
              </a:pathLst>
            </a:custGeom>
            <a:solidFill>
              <a:srgbClr val="8AA8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7" name="Freeform 10796"/>
            <p:cNvSpPr>
              <a:spLocks/>
            </p:cNvSpPr>
            <p:nvPr/>
          </p:nvSpPr>
          <p:spPr bwMode="auto">
            <a:xfrm>
              <a:off x="5683395" y="3376613"/>
              <a:ext cx="85725" cy="79375"/>
            </a:xfrm>
            <a:custGeom>
              <a:avLst/>
              <a:gdLst>
                <a:gd name="T0" fmla="*/ 18 w 23"/>
                <a:gd name="T1" fmla="*/ 0 h 21"/>
                <a:gd name="T2" fmla="*/ 18 w 23"/>
                <a:gd name="T3" fmla="*/ 0 h 21"/>
                <a:gd name="T4" fmla="*/ 17 w 23"/>
                <a:gd name="T5" fmla="*/ 7 h 21"/>
                <a:gd name="T6" fmla="*/ 15 w 23"/>
                <a:gd name="T7" fmla="*/ 13 h 21"/>
                <a:gd name="T8" fmla="*/ 9 w 23"/>
                <a:gd name="T9" fmla="*/ 11 h 21"/>
                <a:gd name="T10" fmla="*/ 8 w 23"/>
                <a:gd name="T11" fmla="*/ 11 h 21"/>
                <a:gd name="T12" fmla="*/ 8 w 23"/>
                <a:gd name="T13" fmla="*/ 11 h 21"/>
                <a:gd name="T14" fmla="*/ 1 w 23"/>
                <a:gd name="T15" fmla="*/ 8 h 21"/>
                <a:gd name="T16" fmla="*/ 1 w 23"/>
                <a:gd name="T17" fmla="*/ 8 h 21"/>
                <a:gd name="T18" fmla="*/ 8 w 23"/>
                <a:gd name="T19" fmla="*/ 16 h 21"/>
                <a:gd name="T20" fmla="*/ 17 w 23"/>
                <a:gd name="T21" fmla="*/ 21 h 21"/>
                <a:gd name="T22" fmla="*/ 17 w 23"/>
                <a:gd name="T23" fmla="*/ 21 h 21"/>
                <a:gd name="T24" fmla="*/ 20 w 23"/>
                <a:gd name="T25" fmla="*/ 12 h 21"/>
                <a:gd name="T26" fmla="*/ 18 w 23"/>
                <a:gd name="T2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1"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20" y="4"/>
                    <a:pt x="17" y="7"/>
                  </a:cubicBezTo>
                  <a:cubicBezTo>
                    <a:pt x="15" y="11"/>
                    <a:pt x="15" y="13"/>
                    <a:pt x="15" y="13"/>
                  </a:cubicBezTo>
                  <a:cubicBezTo>
                    <a:pt x="15" y="13"/>
                    <a:pt x="13" y="11"/>
                    <a:pt x="9" y="11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2" y="11"/>
                    <a:pt x="2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1" y="15"/>
                    <a:pt x="8" y="16"/>
                  </a:cubicBezTo>
                  <a:cubicBezTo>
                    <a:pt x="15" y="17"/>
                    <a:pt x="16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7" y="16"/>
                    <a:pt x="20" y="12"/>
                  </a:cubicBezTo>
                  <a:cubicBezTo>
                    <a:pt x="23" y="6"/>
                    <a:pt x="19" y="0"/>
                    <a:pt x="18" y="0"/>
                  </a:cubicBezTo>
                </a:path>
              </a:pathLst>
            </a:custGeom>
            <a:solidFill>
              <a:srgbClr val="A2B9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08" name="Freeform 10797"/>
            <p:cNvSpPr>
              <a:spLocks/>
            </p:cNvSpPr>
            <p:nvPr/>
          </p:nvSpPr>
          <p:spPr bwMode="auto">
            <a:xfrm>
              <a:off x="5686570" y="3357563"/>
              <a:ext cx="38100" cy="33338"/>
            </a:xfrm>
            <a:custGeom>
              <a:avLst/>
              <a:gdLst>
                <a:gd name="T0" fmla="*/ 6 w 10"/>
                <a:gd name="T1" fmla="*/ 0 h 9"/>
                <a:gd name="T2" fmla="*/ 5 w 10"/>
                <a:gd name="T3" fmla="*/ 1 h 9"/>
                <a:gd name="T4" fmla="*/ 7 w 10"/>
                <a:gd name="T5" fmla="*/ 3 h 9"/>
                <a:gd name="T6" fmla="*/ 7 w 10"/>
                <a:gd name="T7" fmla="*/ 6 h 9"/>
                <a:gd name="T8" fmla="*/ 5 w 10"/>
                <a:gd name="T9" fmla="*/ 5 h 9"/>
                <a:gd name="T10" fmla="*/ 4 w 10"/>
                <a:gd name="T11" fmla="*/ 5 h 9"/>
                <a:gd name="T12" fmla="*/ 4 w 10"/>
                <a:gd name="T13" fmla="*/ 5 h 9"/>
                <a:gd name="T14" fmla="*/ 1 w 10"/>
                <a:gd name="T15" fmla="*/ 3 h 9"/>
                <a:gd name="T16" fmla="*/ 4 w 10"/>
                <a:gd name="T17" fmla="*/ 8 h 9"/>
                <a:gd name="T18" fmla="*/ 9 w 10"/>
                <a:gd name="T19" fmla="*/ 9 h 9"/>
                <a:gd name="T20" fmla="*/ 9 w 10"/>
                <a:gd name="T21" fmla="*/ 5 h 9"/>
                <a:gd name="T22" fmla="*/ 6 w 10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9">
                  <a:moveTo>
                    <a:pt x="6" y="0"/>
                  </a:move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7" y="1"/>
                    <a:pt x="7" y="3"/>
                  </a:cubicBezTo>
                  <a:cubicBezTo>
                    <a:pt x="6" y="5"/>
                    <a:pt x="7" y="6"/>
                    <a:pt x="7" y="6"/>
                  </a:cubicBezTo>
                  <a:cubicBezTo>
                    <a:pt x="7" y="6"/>
                    <a:pt x="7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5"/>
                    <a:pt x="2" y="3"/>
                    <a:pt x="1" y="3"/>
                  </a:cubicBezTo>
                  <a:cubicBezTo>
                    <a:pt x="1" y="3"/>
                    <a:pt x="0" y="8"/>
                    <a:pt x="4" y="8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9" y="9"/>
                    <a:pt x="9" y="8"/>
                    <a:pt x="9" y="5"/>
                  </a:cubicBezTo>
                  <a:cubicBezTo>
                    <a:pt x="10" y="1"/>
                    <a:pt x="7" y="0"/>
                    <a:pt x="6" y="0"/>
                  </a:cubicBezTo>
                </a:path>
              </a:pathLst>
            </a:custGeom>
            <a:solidFill>
              <a:srgbClr val="B3C5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709" name="Rectangle 10798"/>
          <p:cNvSpPr>
            <a:spLocks noChangeArrowheads="1"/>
          </p:cNvSpPr>
          <p:nvPr/>
        </p:nvSpPr>
        <p:spPr bwMode="auto">
          <a:xfrm>
            <a:off x="7410595" y="3251201"/>
            <a:ext cx="7938" cy="14288"/>
          </a:xfrm>
          <a:prstGeom prst="rect">
            <a:avLst/>
          </a:prstGeom>
          <a:solidFill>
            <a:srgbClr val="6D6E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710" name="Freeform 10799"/>
          <p:cNvSpPr>
            <a:spLocks/>
          </p:cNvSpPr>
          <p:nvPr/>
        </p:nvSpPr>
        <p:spPr bwMode="auto">
          <a:xfrm>
            <a:off x="7410595" y="3251201"/>
            <a:ext cx="7938" cy="14288"/>
          </a:xfrm>
          <a:custGeom>
            <a:avLst/>
            <a:gdLst>
              <a:gd name="T0" fmla="*/ 0 w 5"/>
              <a:gd name="T1" fmla="*/ 0 h 9"/>
              <a:gd name="T2" fmla="*/ 0 w 5"/>
              <a:gd name="T3" fmla="*/ 9 h 9"/>
              <a:gd name="T4" fmla="*/ 5 w 5"/>
              <a:gd name="T5" fmla="*/ 9 h 9"/>
              <a:gd name="T6" fmla="*/ 5 w 5"/>
              <a:gd name="T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9">
                <a:moveTo>
                  <a:pt x="0" y="0"/>
                </a:moveTo>
                <a:lnTo>
                  <a:pt x="0" y="9"/>
                </a:lnTo>
                <a:lnTo>
                  <a:pt x="5" y="9"/>
                </a:lnTo>
                <a:lnTo>
                  <a:pt x="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712" name="Rectangle 10801"/>
          <p:cNvSpPr>
            <a:spLocks noChangeArrowheads="1"/>
          </p:cNvSpPr>
          <p:nvPr/>
        </p:nvSpPr>
        <p:spPr bwMode="auto">
          <a:xfrm>
            <a:off x="7410595" y="3813176"/>
            <a:ext cx="7938" cy="14288"/>
          </a:xfrm>
          <a:prstGeom prst="rect">
            <a:avLst/>
          </a:prstGeom>
          <a:solidFill>
            <a:srgbClr val="6D6E7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713" name="Freeform 10802"/>
          <p:cNvSpPr>
            <a:spLocks/>
          </p:cNvSpPr>
          <p:nvPr/>
        </p:nvSpPr>
        <p:spPr bwMode="auto">
          <a:xfrm>
            <a:off x="7410595" y="3813176"/>
            <a:ext cx="7938" cy="14288"/>
          </a:xfrm>
          <a:custGeom>
            <a:avLst/>
            <a:gdLst>
              <a:gd name="T0" fmla="*/ 0 w 5"/>
              <a:gd name="T1" fmla="*/ 0 h 9"/>
              <a:gd name="T2" fmla="*/ 0 w 5"/>
              <a:gd name="T3" fmla="*/ 9 h 9"/>
              <a:gd name="T4" fmla="*/ 5 w 5"/>
              <a:gd name="T5" fmla="*/ 9 h 9"/>
              <a:gd name="T6" fmla="*/ 5 w 5"/>
              <a:gd name="T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" h="9">
                <a:moveTo>
                  <a:pt x="0" y="0"/>
                </a:moveTo>
                <a:lnTo>
                  <a:pt x="0" y="9"/>
                </a:lnTo>
                <a:lnTo>
                  <a:pt x="5" y="9"/>
                </a:lnTo>
                <a:lnTo>
                  <a:pt x="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770" name="Picture 769"/>
          <p:cNvPicPr>
            <a:picLocks noChangeAspect="1"/>
          </p:cNvPicPr>
          <p:nvPr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83" t="9393" r="11529" b="4728"/>
          <a:stretch/>
        </p:blipFill>
        <p:spPr>
          <a:xfrm>
            <a:off x="322435" y="5635899"/>
            <a:ext cx="886407" cy="691829"/>
          </a:xfrm>
          <a:prstGeom prst="rect">
            <a:avLst/>
          </a:prstGeom>
        </p:spPr>
      </p:pic>
      <p:grpSp>
        <p:nvGrpSpPr>
          <p:cNvPr id="782" name="Group 171"/>
          <p:cNvGrpSpPr>
            <a:grpSpLocks noChangeAspect="1"/>
          </p:cNvGrpSpPr>
          <p:nvPr/>
        </p:nvGrpSpPr>
        <p:grpSpPr bwMode="auto">
          <a:xfrm>
            <a:off x="2025697" y="5804481"/>
            <a:ext cx="797075" cy="346602"/>
            <a:chOff x="3112" y="1843"/>
            <a:chExt cx="1458" cy="634"/>
          </a:xfrm>
          <a:solidFill>
            <a:schemeClr val="bg1"/>
          </a:solidFill>
        </p:grpSpPr>
        <p:sp>
          <p:nvSpPr>
            <p:cNvPr id="783" name="Rectangle 172"/>
            <p:cNvSpPr>
              <a:spLocks noChangeArrowheads="1"/>
            </p:cNvSpPr>
            <p:nvPr/>
          </p:nvSpPr>
          <p:spPr bwMode="auto">
            <a:xfrm>
              <a:off x="3525" y="2086"/>
              <a:ext cx="119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4" name="Rectangle 173"/>
            <p:cNvSpPr>
              <a:spLocks noChangeArrowheads="1"/>
            </p:cNvSpPr>
            <p:nvPr/>
          </p:nvSpPr>
          <p:spPr bwMode="auto">
            <a:xfrm>
              <a:off x="3525" y="2107"/>
              <a:ext cx="119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5" name="Rectangle 174"/>
            <p:cNvSpPr>
              <a:spLocks noChangeArrowheads="1"/>
            </p:cNvSpPr>
            <p:nvPr/>
          </p:nvSpPr>
          <p:spPr bwMode="auto">
            <a:xfrm>
              <a:off x="3525" y="2129"/>
              <a:ext cx="119" cy="1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6" name="Freeform 175"/>
            <p:cNvSpPr>
              <a:spLocks noEditPoints="1"/>
            </p:cNvSpPr>
            <p:nvPr/>
          </p:nvSpPr>
          <p:spPr bwMode="auto">
            <a:xfrm>
              <a:off x="3136" y="1952"/>
              <a:ext cx="895" cy="406"/>
            </a:xfrm>
            <a:custGeom>
              <a:avLst/>
              <a:gdLst>
                <a:gd name="T0" fmla="*/ 346 w 377"/>
                <a:gd name="T1" fmla="*/ 31 h 170"/>
                <a:gd name="T2" fmla="*/ 292 w 377"/>
                <a:gd name="T3" fmla="*/ 8 h 170"/>
                <a:gd name="T4" fmla="*/ 237 w 377"/>
                <a:gd name="T5" fmla="*/ 31 h 170"/>
                <a:gd name="T6" fmla="*/ 215 w 377"/>
                <a:gd name="T7" fmla="*/ 85 h 170"/>
                <a:gd name="T8" fmla="*/ 237 w 377"/>
                <a:gd name="T9" fmla="*/ 140 h 170"/>
                <a:gd name="T10" fmla="*/ 292 w 377"/>
                <a:gd name="T11" fmla="*/ 162 h 170"/>
                <a:gd name="T12" fmla="*/ 346 w 377"/>
                <a:gd name="T13" fmla="*/ 140 h 170"/>
                <a:gd name="T14" fmla="*/ 369 w 377"/>
                <a:gd name="T15" fmla="*/ 85 h 170"/>
                <a:gd name="T16" fmla="*/ 346 w 377"/>
                <a:gd name="T17" fmla="*/ 31 h 170"/>
                <a:gd name="T18" fmla="*/ 292 w 377"/>
                <a:gd name="T19" fmla="*/ 0 h 170"/>
                <a:gd name="T20" fmla="*/ 352 w 377"/>
                <a:gd name="T21" fmla="*/ 25 h 170"/>
                <a:gd name="T22" fmla="*/ 377 w 377"/>
                <a:gd name="T23" fmla="*/ 85 h 170"/>
                <a:gd name="T24" fmla="*/ 352 w 377"/>
                <a:gd name="T25" fmla="*/ 145 h 170"/>
                <a:gd name="T26" fmla="*/ 292 w 377"/>
                <a:gd name="T27" fmla="*/ 170 h 170"/>
                <a:gd name="T28" fmla="*/ 232 w 377"/>
                <a:gd name="T29" fmla="*/ 145 h 170"/>
                <a:gd name="T30" fmla="*/ 207 w 377"/>
                <a:gd name="T31" fmla="*/ 85 h 170"/>
                <a:gd name="T32" fmla="*/ 232 w 377"/>
                <a:gd name="T33" fmla="*/ 25 h 170"/>
                <a:gd name="T34" fmla="*/ 292 w 377"/>
                <a:gd name="T35" fmla="*/ 0 h 170"/>
                <a:gd name="T36" fmla="*/ 139 w 377"/>
                <a:gd name="T37" fmla="*/ 31 h 170"/>
                <a:gd name="T38" fmla="*/ 85 w 377"/>
                <a:gd name="T39" fmla="*/ 8 h 170"/>
                <a:gd name="T40" fmla="*/ 30 w 377"/>
                <a:gd name="T41" fmla="*/ 31 h 170"/>
                <a:gd name="T42" fmla="*/ 8 w 377"/>
                <a:gd name="T43" fmla="*/ 85 h 170"/>
                <a:gd name="T44" fmla="*/ 30 w 377"/>
                <a:gd name="T45" fmla="*/ 140 h 170"/>
                <a:gd name="T46" fmla="*/ 85 w 377"/>
                <a:gd name="T47" fmla="*/ 162 h 170"/>
                <a:gd name="T48" fmla="*/ 139 w 377"/>
                <a:gd name="T49" fmla="*/ 140 h 170"/>
                <a:gd name="T50" fmla="*/ 162 w 377"/>
                <a:gd name="T51" fmla="*/ 85 h 170"/>
                <a:gd name="T52" fmla="*/ 139 w 377"/>
                <a:gd name="T53" fmla="*/ 31 h 170"/>
                <a:gd name="T54" fmla="*/ 85 w 377"/>
                <a:gd name="T55" fmla="*/ 0 h 170"/>
                <a:gd name="T56" fmla="*/ 145 w 377"/>
                <a:gd name="T57" fmla="*/ 25 h 170"/>
                <a:gd name="T58" fmla="*/ 170 w 377"/>
                <a:gd name="T59" fmla="*/ 85 h 170"/>
                <a:gd name="T60" fmla="*/ 145 w 377"/>
                <a:gd name="T61" fmla="*/ 145 h 170"/>
                <a:gd name="T62" fmla="*/ 85 w 377"/>
                <a:gd name="T63" fmla="*/ 170 h 170"/>
                <a:gd name="T64" fmla="*/ 25 w 377"/>
                <a:gd name="T65" fmla="*/ 145 h 170"/>
                <a:gd name="T66" fmla="*/ 0 w 377"/>
                <a:gd name="T67" fmla="*/ 85 h 170"/>
                <a:gd name="T68" fmla="*/ 25 w 377"/>
                <a:gd name="T69" fmla="*/ 25 h 170"/>
                <a:gd name="T70" fmla="*/ 85 w 377"/>
                <a:gd name="T7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7" h="170">
                  <a:moveTo>
                    <a:pt x="346" y="31"/>
                  </a:moveTo>
                  <a:cubicBezTo>
                    <a:pt x="332" y="17"/>
                    <a:pt x="313" y="8"/>
                    <a:pt x="292" y="8"/>
                  </a:cubicBezTo>
                  <a:cubicBezTo>
                    <a:pt x="271" y="8"/>
                    <a:pt x="251" y="17"/>
                    <a:pt x="237" y="31"/>
                  </a:cubicBezTo>
                  <a:cubicBezTo>
                    <a:pt x="223" y="45"/>
                    <a:pt x="215" y="64"/>
                    <a:pt x="215" y="85"/>
                  </a:cubicBezTo>
                  <a:cubicBezTo>
                    <a:pt x="215" y="106"/>
                    <a:pt x="223" y="126"/>
                    <a:pt x="237" y="140"/>
                  </a:cubicBezTo>
                  <a:cubicBezTo>
                    <a:pt x="251" y="154"/>
                    <a:pt x="271" y="162"/>
                    <a:pt x="292" y="162"/>
                  </a:cubicBezTo>
                  <a:cubicBezTo>
                    <a:pt x="313" y="162"/>
                    <a:pt x="332" y="154"/>
                    <a:pt x="346" y="140"/>
                  </a:cubicBezTo>
                  <a:cubicBezTo>
                    <a:pt x="360" y="126"/>
                    <a:pt x="369" y="106"/>
                    <a:pt x="369" y="85"/>
                  </a:cubicBezTo>
                  <a:cubicBezTo>
                    <a:pt x="369" y="64"/>
                    <a:pt x="360" y="45"/>
                    <a:pt x="346" y="31"/>
                  </a:cubicBezTo>
                  <a:moveTo>
                    <a:pt x="292" y="0"/>
                  </a:moveTo>
                  <a:cubicBezTo>
                    <a:pt x="315" y="0"/>
                    <a:pt x="337" y="10"/>
                    <a:pt x="352" y="25"/>
                  </a:cubicBezTo>
                  <a:cubicBezTo>
                    <a:pt x="367" y="40"/>
                    <a:pt x="377" y="62"/>
                    <a:pt x="377" y="85"/>
                  </a:cubicBezTo>
                  <a:cubicBezTo>
                    <a:pt x="377" y="109"/>
                    <a:pt x="367" y="130"/>
                    <a:pt x="352" y="145"/>
                  </a:cubicBezTo>
                  <a:cubicBezTo>
                    <a:pt x="337" y="161"/>
                    <a:pt x="315" y="170"/>
                    <a:pt x="292" y="170"/>
                  </a:cubicBezTo>
                  <a:cubicBezTo>
                    <a:pt x="268" y="170"/>
                    <a:pt x="247" y="161"/>
                    <a:pt x="232" y="145"/>
                  </a:cubicBezTo>
                  <a:cubicBezTo>
                    <a:pt x="216" y="130"/>
                    <a:pt x="207" y="109"/>
                    <a:pt x="207" y="85"/>
                  </a:cubicBezTo>
                  <a:cubicBezTo>
                    <a:pt x="207" y="62"/>
                    <a:pt x="216" y="40"/>
                    <a:pt x="232" y="25"/>
                  </a:cubicBezTo>
                  <a:cubicBezTo>
                    <a:pt x="247" y="10"/>
                    <a:pt x="268" y="0"/>
                    <a:pt x="292" y="0"/>
                  </a:cubicBezTo>
                  <a:moveTo>
                    <a:pt x="139" y="31"/>
                  </a:moveTo>
                  <a:cubicBezTo>
                    <a:pt x="125" y="17"/>
                    <a:pt x="106" y="8"/>
                    <a:pt x="85" y="8"/>
                  </a:cubicBezTo>
                  <a:cubicBezTo>
                    <a:pt x="64" y="8"/>
                    <a:pt x="44" y="17"/>
                    <a:pt x="30" y="31"/>
                  </a:cubicBezTo>
                  <a:cubicBezTo>
                    <a:pt x="16" y="45"/>
                    <a:pt x="8" y="64"/>
                    <a:pt x="8" y="85"/>
                  </a:cubicBezTo>
                  <a:cubicBezTo>
                    <a:pt x="8" y="106"/>
                    <a:pt x="16" y="126"/>
                    <a:pt x="30" y="140"/>
                  </a:cubicBezTo>
                  <a:cubicBezTo>
                    <a:pt x="44" y="154"/>
                    <a:pt x="64" y="162"/>
                    <a:pt x="85" y="162"/>
                  </a:cubicBezTo>
                  <a:cubicBezTo>
                    <a:pt x="106" y="162"/>
                    <a:pt x="125" y="154"/>
                    <a:pt x="139" y="140"/>
                  </a:cubicBezTo>
                  <a:cubicBezTo>
                    <a:pt x="153" y="126"/>
                    <a:pt x="162" y="106"/>
                    <a:pt x="162" y="85"/>
                  </a:cubicBezTo>
                  <a:cubicBezTo>
                    <a:pt x="162" y="64"/>
                    <a:pt x="153" y="45"/>
                    <a:pt x="139" y="31"/>
                  </a:cubicBezTo>
                  <a:moveTo>
                    <a:pt x="85" y="0"/>
                  </a:moveTo>
                  <a:cubicBezTo>
                    <a:pt x="108" y="0"/>
                    <a:pt x="130" y="10"/>
                    <a:pt x="145" y="25"/>
                  </a:cubicBezTo>
                  <a:cubicBezTo>
                    <a:pt x="160" y="40"/>
                    <a:pt x="170" y="62"/>
                    <a:pt x="170" y="85"/>
                  </a:cubicBezTo>
                  <a:cubicBezTo>
                    <a:pt x="170" y="109"/>
                    <a:pt x="160" y="130"/>
                    <a:pt x="145" y="145"/>
                  </a:cubicBezTo>
                  <a:cubicBezTo>
                    <a:pt x="130" y="161"/>
                    <a:pt x="108" y="170"/>
                    <a:pt x="85" y="170"/>
                  </a:cubicBezTo>
                  <a:cubicBezTo>
                    <a:pt x="61" y="170"/>
                    <a:pt x="40" y="161"/>
                    <a:pt x="25" y="145"/>
                  </a:cubicBezTo>
                  <a:cubicBezTo>
                    <a:pt x="9" y="130"/>
                    <a:pt x="0" y="109"/>
                    <a:pt x="0" y="85"/>
                  </a:cubicBezTo>
                  <a:cubicBezTo>
                    <a:pt x="0" y="62"/>
                    <a:pt x="9" y="40"/>
                    <a:pt x="25" y="25"/>
                  </a:cubicBezTo>
                  <a:cubicBezTo>
                    <a:pt x="40" y="10"/>
                    <a:pt x="61" y="0"/>
                    <a:pt x="8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7" name="Freeform 176"/>
            <p:cNvSpPr>
              <a:spLocks noEditPoints="1"/>
            </p:cNvSpPr>
            <p:nvPr/>
          </p:nvSpPr>
          <p:spPr bwMode="auto">
            <a:xfrm>
              <a:off x="3112" y="1843"/>
              <a:ext cx="1458" cy="305"/>
            </a:xfrm>
            <a:custGeom>
              <a:avLst/>
              <a:gdLst>
                <a:gd name="T0" fmla="*/ 371 w 614"/>
                <a:gd name="T1" fmla="*/ 127 h 128"/>
                <a:gd name="T2" fmla="*/ 366 w 614"/>
                <a:gd name="T3" fmla="*/ 125 h 128"/>
                <a:gd name="T4" fmla="*/ 368 w 614"/>
                <a:gd name="T5" fmla="*/ 120 h 128"/>
                <a:gd name="T6" fmla="*/ 541 w 614"/>
                <a:gd name="T7" fmla="*/ 40 h 128"/>
                <a:gd name="T8" fmla="*/ 541 w 614"/>
                <a:gd name="T9" fmla="*/ 40 h 128"/>
                <a:gd name="T10" fmla="*/ 589 w 614"/>
                <a:gd name="T11" fmla="*/ 38 h 128"/>
                <a:gd name="T12" fmla="*/ 607 w 614"/>
                <a:gd name="T13" fmla="*/ 51 h 128"/>
                <a:gd name="T14" fmla="*/ 614 w 614"/>
                <a:gd name="T15" fmla="*/ 73 h 128"/>
                <a:gd name="T16" fmla="*/ 596 w 614"/>
                <a:gd name="T17" fmla="*/ 113 h 128"/>
                <a:gd name="T18" fmla="*/ 590 w 614"/>
                <a:gd name="T19" fmla="*/ 114 h 128"/>
                <a:gd name="T20" fmla="*/ 590 w 614"/>
                <a:gd name="T21" fmla="*/ 108 h 128"/>
                <a:gd name="T22" fmla="*/ 606 w 614"/>
                <a:gd name="T23" fmla="*/ 73 h 128"/>
                <a:gd name="T24" fmla="*/ 601 w 614"/>
                <a:gd name="T25" fmla="*/ 56 h 128"/>
                <a:gd name="T26" fmla="*/ 586 w 614"/>
                <a:gd name="T27" fmla="*/ 45 h 128"/>
                <a:gd name="T28" fmla="*/ 544 w 614"/>
                <a:gd name="T29" fmla="*/ 48 h 128"/>
                <a:gd name="T30" fmla="*/ 371 w 614"/>
                <a:gd name="T31" fmla="*/ 127 h 128"/>
                <a:gd name="T32" fmla="*/ 6 w 614"/>
                <a:gd name="T33" fmla="*/ 127 h 128"/>
                <a:gd name="T34" fmla="*/ 1 w 614"/>
                <a:gd name="T35" fmla="*/ 125 h 128"/>
                <a:gd name="T36" fmla="*/ 3 w 614"/>
                <a:gd name="T37" fmla="*/ 119 h 128"/>
                <a:gd name="T38" fmla="*/ 246 w 614"/>
                <a:gd name="T39" fmla="*/ 7 h 128"/>
                <a:gd name="T40" fmla="*/ 246 w 614"/>
                <a:gd name="T41" fmla="*/ 7 h 128"/>
                <a:gd name="T42" fmla="*/ 293 w 614"/>
                <a:gd name="T43" fmla="*/ 5 h 128"/>
                <a:gd name="T44" fmla="*/ 312 w 614"/>
                <a:gd name="T45" fmla="*/ 18 h 128"/>
                <a:gd name="T46" fmla="*/ 319 w 614"/>
                <a:gd name="T47" fmla="*/ 40 h 128"/>
                <a:gd name="T48" fmla="*/ 300 w 614"/>
                <a:gd name="T49" fmla="*/ 80 h 128"/>
                <a:gd name="T50" fmla="*/ 295 w 614"/>
                <a:gd name="T51" fmla="*/ 81 h 128"/>
                <a:gd name="T52" fmla="*/ 294 w 614"/>
                <a:gd name="T53" fmla="*/ 75 h 128"/>
                <a:gd name="T54" fmla="*/ 311 w 614"/>
                <a:gd name="T55" fmla="*/ 40 h 128"/>
                <a:gd name="T56" fmla="*/ 306 w 614"/>
                <a:gd name="T57" fmla="*/ 23 h 128"/>
                <a:gd name="T58" fmla="*/ 291 w 614"/>
                <a:gd name="T59" fmla="*/ 12 h 128"/>
                <a:gd name="T60" fmla="*/ 249 w 614"/>
                <a:gd name="T61" fmla="*/ 15 h 128"/>
                <a:gd name="T62" fmla="*/ 249 w 614"/>
                <a:gd name="T63" fmla="*/ 15 h 128"/>
                <a:gd name="T64" fmla="*/ 6 w 614"/>
                <a:gd name="T65" fmla="*/ 12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14" h="128">
                  <a:moveTo>
                    <a:pt x="371" y="127"/>
                  </a:moveTo>
                  <a:cubicBezTo>
                    <a:pt x="369" y="128"/>
                    <a:pt x="367" y="127"/>
                    <a:pt x="366" y="125"/>
                  </a:cubicBezTo>
                  <a:cubicBezTo>
                    <a:pt x="365" y="123"/>
                    <a:pt x="366" y="121"/>
                    <a:pt x="368" y="120"/>
                  </a:cubicBezTo>
                  <a:cubicBezTo>
                    <a:pt x="541" y="40"/>
                    <a:pt x="541" y="40"/>
                    <a:pt x="541" y="40"/>
                  </a:cubicBezTo>
                  <a:cubicBezTo>
                    <a:pt x="541" y="40"/>
                    <a:pt x="541" y="40"/>
                    <a:pt x="541" y="40"/>
                  </a:cubicBezTo>
                  <a:cubicBezTo>
                    <a:pt x="559" y="33"/>
                    <a:pt x="576" y="33"/>
                    <a:pt x="589" y="38"/>
                  </a:cubicBezTo>
                  <a:cubicBezTo>
                    <a:pt x="596" y="41"/>
                    <a:pt x="603" y="45"/>
                    <a:pt x="607" y="51"/>
                  </a:cubicBezTo>
                  <a:cubicBezTo>
                    <a:pt x="612" y="57"/>
                    <a:pt x="614" y="64"/>
                    <a:pt x="614" y="73"/>
                  </a:cubicBezTo>
                  <a:cubicBezTo>
                    <a:pt x="614" y="85"/>
                    <a:pt x="609" y="99"/>
                    <a:pt x="596" y="113"/>
                  </a:cubicBezTo>
                  <a:cubicBezTo>
                    <a:pt x="594" y="115"/>
                    <a:pt x="592" y="115"/>
                    <a:pt x="590" y="114"/>
                  </a:cubicBezTo>
                  <a:cubicBezTo>
                    <a:pt x="588" y="112"/>
                    <a:pt x="588" y="110"/>
                    <a:pt x="590" y="108"/>
                  </a:cubicBezTo>
                  <a:cubicBezTo>
                    <a:pt x="601" y="95"/>
                    <a:pt x="606" y="83"/>
                    <a:pt x="606" y="73"/>
                  </a:cubicBezTo>
                  <a:cubicBezTo>
                    <a:pt x="606" y="66"/>
                    <a:pt x="604" y="61"/>
                    <a:pt x="601" y="56"/>
                  </a:cubicBezTo>
                  <a:cubicBezTo>
                    <a:pt x="597" y="51"/>
                    <a:pt x="592" y="48"/>
                    <a:pt x="586" y="45"/>
                  </a:cubicBezTo>
                  <a:cubicBezTo>
                    <a:pt x="575" y="41"/>
                    <a:pt x="560" y="41"/>
                    <a:pt x="544" y="48"/>
                  </a:cubicBezTo>
                  <a:lnTo>
                    <a:pt x="371" y="127"/>
                  </a:lnTo>
                  <a:close/>
                  <a:moveTo>
                    <a:pt x="6" y="127"/>
                  </a:moveTo>
                  <a:cubicBezTo>
                    <a:pt x="4" y="127"/>
                    <a:pt x="2" y="127"/>
                    <a:pt x="1" y="125"/>
                  </a:cubicBezTo>
                  <a:cubicBezTo>
                    <a:pt x="0" y="123"/>
                    <a:pt x="1" y="120"/>
                    <a:pt x="3" y="119"/>
                  </a:cubicBezTo>
                  <a:cubicBezTo>
                    <a:pt x="246" y="7"/>
                    <a:pt x="246" y="7"/>
                    <a:pt x="246" y="7"/>
                  </a:cubicBezTo>
                  <a:cubicBezTo>
                    <a:pt x="246" y="7"/>
                    <a:pt x="246" y="7"/>
                    <a:pt x="246" y="7"/>
                  </a:cubicBezTo>
                  <a:cubicBezTo>
                    <a:pt x="264" y="0"/>
                    <a:pt x="281" y="0"/>
                    <a:pt x="293" y="5"/>
                  </a:cubicBezTo>
                  <a:cubicBezTo>
                    <a:pt x="301" y="8"/>
                    <a:pt x="307" y="12"/>
                    <a:pt x="312" y="18"/>
                  </a:cubicBezTo>
                  <a:cubicBezTo>
                    <a:pt x="316" y="24"/>
                    <a:pt x="319" y="31"/>
                    <a:pt x="319" y="40"/>
                  </a:cubicBezTo>
                  <a:cubicBezTo>
                    <a:pt x="319" y="52"/>
                    <a:pt x="313" y="66"/>
                    <a:pt x="300" y="80"/>
                  </a:cubicBezTo>
                  <a:cubicBezTo>
                    <a:pt x="299" y="82"/>
                    <a:pt x="296" y="82"/>
                    <a:pt x="295" y="81"/>
                  </a:cubicBezTo>
                  <a:cubicBezTo>
                    <a:pt x="293" y="79"/>
                    <a:pt x="293" y="77"/>
                    <a:pt x="294" y="75"/>
                  </a:cubicBezTo>
                  <a:cubicBezTo>
                    <a:pt x="306" y="62"/>
                    <a:pt x="311" y="50"/>
                    <a:pt x="311" y="40"/>
                  </a:cubicBezTo>
                  <a:cubicBezTo>
                    <a:pt x="311" y="33"/>
                    <a:pt x="309" y="28"/>
                    <a:pt x="306" y="23"/>
                  </a:cubicBezTo>
                  <a:cubicBezTo>
                    <a:pt x="302" y="18"/>
                    <a:pt x="297" y="15"/>
                    <a:pt x="291" y="12"/>
                  </a:cubicBezTo>
                  <a:cubicBezTo>
                    <a:pt x="280" y="8"/>
                    <a:pt x="265" y="8"/>
                    <a:pt x="249" y="15"/>
                  </a:cubicBezTo>
                  <a:cubicBezTo>
                    <a:pt x="249" y="15"/>
                    <a:pt x="249" y="15"/>
                    <a:pt x="249" y="15"/>
                  </a:cubicBezTo>
                  <a:lnTo>
                    <a:pt x="6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8" name="Freeform 177"/>
            <p:cNvSpPr>
              <a:spLocks noEditPoints="1"/>
            </p:cNvSpPr>
            <p:nvPr/>
          </p:nvSpPr>
          <p:spPr bwMode="auto">
            <a:xfrm>
              <a:off x="3167" y="2387"/>
              <a:ext cx="833" cy="90"/>
            </a:xfrm>
            <a:custGeom>
              <a:avLst/>
              <a:gdLst>
                <a:gd name="T0" fmla="*/ 348 w 351"/>
                <a:gd name="T1" fmla="*/ 34 h 38"/>
                <a:gd name="T2" fmla="*/ 341 w 351"/>
                <a:gd name="T3" fmla="*/ 19 h 38"/>
                <a:gd name="T4" fmla="*/ 327 w 351"/>
                <a:gd name="T5" fmla="*/ 10 h 38"/>
                <a:gd name="T6" fmla="*/ 324 w 351"/>
                <a:gd name="T7" fmla="*/ 3 h 38"/>
                <a:gd name="T8" fmla="*/ 330 w 351"/>
                <a:gd name="T9" fmla="*/ 36 h 38"/>
                <a:gd name="T10" fmla="*/ 322 w 351"/>
                <a:gd name="T11" fmla="*/ 36 h 38"/>
                <a:gd name="T12" fmla="*/ 311 w 351"/>
                <a:gd name="T13" fmla="*/ 21 h 38"/>
                <a:gd name="T14" fmla="*/ 298 w 351"/>
                <a:gd name="T15" fmla="*/ 19 h 38"/>
                <a:gd name="T16" fmla="*/ 307 w 351"/>
                <a:gd name="T17" fmla="*/ 22 h 38"/>
                <a:gd name="T18" fmla="*/ 303 w 351"/>
                <a:gd name="T19" fmla="*/ 15 h 38"/>
                <a:gd name="T20" fmla="*/ 312 w 351"/>
                <a:gd name="T21" fmla="*/ 20 h 38"/>
                <a:gd name="T22" fmla="*/ 318 w 351"/>
                <a:gd name="T23" fmla="*/ 21 h 38"/>
                <a:gd name="T24" fmla="*/ 278 w 351"/>
                <a:gd name="T25" fmla="*/ 36 h 38"/>
                <a:gd name="T26" fmla="*/ 266 w 351"/>
                <a:gd name="T27" fmla="*/ 7 h 38"/>
                <a:gd name="T28" fmla="*/ 265 w 351"/>
                <a:gd name="T29" fmla="*/ 2 h 38"/>
                <a:gd name="T30" fmla="*/ 263 w 351"/>
                <a:gd name="T31" fmla="*/ 13 h 38"/>
                <a:gd name="T32" fmla="*/ 265 w 351"/>
                <a:gd name="T33" fmla="*/ 31 h 38"/>
                <a:gd name="T34" fmla="*/ 263 w 351"/>
                <a:gd name="T35" fmla="*/ 24 h 38"/>
                <a:gd name="T36" fmla="*/ 251 w 351"/>
                <a:gd name="T37" fmla="*/ 19 h 38"/>
                <a:gd name="T38" fmla="*/ 253 w 351"/>
                <a:gd name="T39" fmla="*/ 20 h 38"/>
                <a:gd name="T40" fmla="*/ 249 w 351"/>
                <a:gd name="T41" fmla="*/ 13 h 38"/>
                <a:gd name="T42" fmla="*/ 223 w 351"/>
                <a:gd name="T43" fmla="*/ 13 h 38"/>
                <a:gd name="T44" fmla="*/ 210 w 351"/>
                <a:gd name="T45" fmla="*/ 20 h 38"/>
                <a:gd name="T46" fmla="*/ 208 w 351"/>
                <a:gd name="T47" fmla="*/ 30 h 38"/>
                <a:gd name="T48" fmla="*/ 204 w 351"/>
                <a:gd name="T49" fmla="*/ 13 h 38"/>
                <a:gd name="T50" fmla="*/ 197 w 351"/>
                <a:gd name="T51" fmla="*/ 13 h 38"/>
                <a:gd name="T52" fmla="*/ 188 w 351"/>
                <a:gd name="T53" fmla="*/ 26 h 38"/>
                <a:gd name="T54" fmla="*/ 197 w 351"/>
                <a:gd name="T55" fmla="*/ 20 h 38"/>
                <a:gd name="T56" fmla="*/ 205 w 351"/>
                <a:gd name="T57" fmla="*/ 13 h 38"/>
                <a:gd name="T58" fmla="*/ 185 w 351"/>
                <a:gd name="T59" fmla="*/ 25 h 38"/>
                <a:gd name="T60" fmla="*/ 186 w 351"/>
                <a:gd name="T61" fmla="*/ 26 h 38"/>
                <a:gd name="T62" fmla="*/ 171 w 351"/>
                <a:gd name="T63" fmla="*/ 20 h 38"/>
                <a:gd name="T64" fmla="*/ 176 w 351"/>
                <a:gd name="T65" fmla="*/ 26 h 38"/>
                <a:gd name="T66" fmla="*/ 184 w 351"/>
                <a:gd name="T67" fmla="*/ 13 h 38"/>
                <a:gd name="T68" fmla="*/ 163 w 351"/>
                <a:gd name="T69" fmla="*/ 27 h 38"/>
                <a:gd name="T70" fmla="*/ 161 w 351"/>
                <a:gd name="T71" fmla="*/ 16 h 38"/>
                <a:gd name="T72" fmla="*/ 163 w 351"/>
                <a:gd name="T73" fmla="*/ 24 h 38"/>
                <a:gd name="T74" fmla="*/ 152 w 351"/>
                <a:gd name="T75" fmla="*/ 23 h 38"/>
                <a:gd name="T76" fmla="*/ 148 w 351"/>
                <a:gd name="T77" fmla="*/ 32 h 38"/>
                <a:gd name="T78" fmla="*/ 139 w 351"/>
                <a:gd name="T79" fmla="*/ 20 h 38"/>
                <a:gd name="T80" fmla="*/ 147 w 351"/>
                <a:gd name="T81" fmla="*/ 20 h 38"/>
                <a:gd name="T82" fmla="*/ 115 w 351"/>
                <a:gd name="T83" fmla="*/ 21 h 38"/>
                <a:gd name="T84" fmla="*/ 103 w 351"/>
                <a:gd name="T85" fmla="*/ 25 h 38"/>
                <a:gd name="T86" fmla="*/ 101 w 351"/>
                <a:gd name="T87" fmla="*/ 13 h 38"/>
                <a:gd name="T88" fmla="*/ 92 w 351"/>
                <a:gd name="T89" fmla="*/ 27 h 38"/>
                <a:gd name="T90" fmla="*/ 97 w 351"/>
                <a:gd name="T91" fmla="*/ 25 h 38"/>
                <a:gd name="T92" fmla="*/ 84 w 351"/>
                <a:gd name="T93" fmla="*/ 21 h 38"/>
                <a:gd name="T94" fmla="*/ 83 w 351"/>
                <a:gd name="T95" fmla="*/ 13 h 38"/>
                <a:gd name="T96" fmla="*/ 81 w 351"/>
                <a:gd name="T97" fmla="*/ 30 h 38"/>
                <a:gd name="T98" fmla="*/ 75 w 351"/>
                <a:gd name="T99" fmla="*/ 22 h 38"/>
                <a:gd name="T100" fmla="*/ 61 w 351"/>
                <a:gd name="T101" fmla="*/ 24 h 38"/>
                <a:gd name="T102" fmla="*/ 67 w 351"/>
                <a:gd name="T103" fmla="*/ 19 h 38"/>
                <a:gd name="T104" fmla="*/ 70 w 351"/>
                <a:gd name="T105" fmla="*/ 23 h 38"/>
                <a:gd name="T106" fmla="*/ 34 w 351"/>
                <a:gd name="T107" fmla="*/ 19 h 38"/>
                <a:gd name="T108" fmla="*/ 37 w 351"/>
                <a:gd name="T109" fmla="*/ 29 h 38"/>
                <a:gd name="T110" fmla="*/ 30 w 351"/>
                <a:gd name="T111" fmla="*/ 34 h 38"/>
                <a:gd name="T112" fmla="*/ 24 w 351"/>
                <a:gd name="T113" fmla="*/ 16 h 38"/>
                <a:gd name="T114" fmla="*/ 21 w 351"/>
                <a:gd name="T115" fmla="*/ 22 h 38"/>
                <a:gd name="T116" fmla="*/ 43 w 351"/>
                <a:gd name="T117" fmla="*/ 10 h 38"/>
                <a:gd name="T118" fmla="*/ 13 w 351"/>
                <a:gd name="T119" fmla="*/ 26 h 38"/>
                <a:gd name="T120" fmla="*/ 5 w 351"/>
                <a:gd name="T121" fmla="*/ 25 h 38"/>
                <a:gd name="T122" fmla="*/ 14 w 351"/>
                <a:gd name="T123" fmla="*/ 35 h 38"/>
                <a:gd name="T124" fmla="*/ 19 w 351"/>
                <a:gd name="T125" fmla="*/ 1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1" h="38">
                  <a:moveTo>
                    <a:pt x="351" y="13"/>
                  </a:moveTo>
                  <a:cubicBezTo>
                    <a:pt x="351" y="13"/>
                    <a:pt x="351" y="13"/>
                    <a:pt x="351" y="13"/>
                  </a:cubicBezTo>
                  <a:cubicBezTo>
                    <a:pt x="351" y="13"/>
                    <a:pt x="351" y="13"/>
                    <a:pt x="351" y="13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4" y="15"/>
                    <a:pt x="344" y="15"/>
                    <a:pt x="344" y="15"/>
                  </a:cubicBezTo>
                  <a:cubicBezTo>
                    <a:pt x="345" y="17"/>
                    <a:pt x="345" y="17"/>
                    <a:pt x="345" y="17"/>
                  </a:cubicBezTo>
                  <a:cubicBezTo>
                    <a:pt x="345" y="20"/>
                    <a:pt x="343" y="23"/>
                    <a:pt x="341" y="25"/>
                  </a:cubicBezTo>
                  <a:cubicBezTo>
                    <a:pt x="341" y="26"/>
                    <a:pt x="342" y="27"/>
                    <a:pt x="342" y="28"/>
                  </a:cubicBezTo>
                  <a:cubicBezTo>
                    <a:pt x="344" y="30"/>
                    <a:pt x="344" y="30"/>
                    <a:pt x="344" y="30"/>
                  </a:cubicBezTo>
                  <a:cubicBezTo>
                    <a:pt x="346" y="32"/>
                    <a:pt x="346" y="32"/>
                    <a:pt x="346" y="32"/>
                  </a:cubicBezTo>
                  <a:cubicBezTo>
                    <a:pt x="346" y="33"/>
                    <a:pt x="347" y="34"/>
                    <a:pt x="348" y="34"/>
                  </a:cubicBezTo>
                  <a:cubicBezTo>
                    <a:pt x="346" y="36"/>
                    <a:pt x="346" y="36"/>
                    <a:pt x="346" y="36"/>
                  </a:cubicBezTo>
                  <a:cubicBezTo>
                    <a:pt x="344" y="34"/>
                    <a:pt x="344" y="34"/>
                    <a:pt x="344" y="34"/>
                  </a:cubicBezTo>
                  <a:cubicBezTo>
                    <a:pt x="343" y="32"/>
                    <a:pt x="343" y="32"/>
                    <a:pt x="343" y="32"/>
                  </a:cubicBezTo>
                  <a:cubicBezTo>
                    <a:pt x="342" y="30"/>
                    <a:pt x="342" y="30"/>
                    <a:pt x="342" y="30"/>
                  </a:cubicBezTo>
                  <a:cubicBezTo>
                    <a:pt x="340" y="28"/>
                    <a:pt x="340" y="28"/>
                    <a:pt x="340" y="28"/>
                  </a:cubicBezTo>
                  <a:cubicBezTo>
                    <a:pt x="338" y="25"/>
                    <a:pt x="338" y="25"/>
                    <a:pt x="338" y="25"/>
                  </a:cubicBezTo>
                  <a:cubicBezTo>
                    <a:pt x="337" y="23"/>
                    <a:pt x="337" y="23"/>
                    <a:pt x="337" y="23"/>
                  </a:cubicBezTo>
                  <a:cubicBezTo>
                    <a:pt x="337" y="22"/>
                    <a:pt x="337" y="22"/>
                    <a:pt x="337" y="22"/>
                  </a:cubicBezTo>
                  <a:cubicBezTo>
                    <a:pt x="336" y="20"/>
                    <a:pt x="336" y="20"/>
                    <a:pt x="336" y="20"/>
                  </a:cubicBezTo>
                  <a:cubicBezTo>
                    <a:pt x="336" y="20"/>
                    <a:pt x="337" y="19"/>
                    <a:pt x="338" y="19"/>
                  </a:cubicBezTo>
                  <a:cubicBezTo>
                    <a:pt x="341" y="19"/>
                    <a:pt x="341" y="19"/>
                    <a:pt x="341" y="19"/>
                  </a:cubicBezTo>
                  <a:cubicBezTo>
                    <a:pt x="341" y="13"/>
                    <a:pt x="341" y="13"/>
                    <a:pt x="341" y="13"/>
                  </a:cubicBezTo>
                  <a:cubicBezTo>
                    <a:pt x="333" y="13"/>
                    <a:pt x="333" y="13"/>
                    <a:pt x="333" y="13"/>
                  </a:cubicBezTo>
                  <a:cubicBezTo>
                    <a:pt x="333" y="10"/>
                    <a:pt x="333" y="10"/>
                    <a:pt x="333" y="10"/>
                  </a:cubicBezTo>
                  <a:cubicBezTo>
                    <a:pt x="351" y="10"/>
                    <a:pt x="351" y="10"/>
                    <a:pt x="351" y="10"/>
                  </a:cubicBezTo>
                  <a:lnTo>
                    <a:pt x="351" y="13"/>
                  </a:lnTo>
                  <a:close/>
                  <a:moveTo>
                    <a:pt x="329" y="10"/>
                  </a:moveTo>
                  <a:cubicBezTo>
                    <a:pt x="330" y="10"/>
                    <a:pt x="330" y="10"/>
                    <a:pt x="329" y="10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8" y="11"/>
                    <a:pt x="328" y="11"/>
                    <a:pt x="328" y="11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23" y="4"/>
                    <a:pt x="323" y="4"/>
                    <a:pt x="323" y="4"/>
                  </a:cubicBezTo>
                  <a:cubicBezTo>
                    <a:pt x="322" y="4"/>
                    <a:pt x="322" y="4"/>
                    <a:pt x="322" y="4"/>
                  </a:cubicBezTo>
                  <a:cubicBezTo>
                    <a:pt x="321" y="4"/>
                    <a:pt x="321" y="4"/>
                    <a:pt x="321" y="4"/>
                  </a:cubicBezTo>
                  <a:cubicBezTo>
                    <a:pt x="316" y="4"/>
                    <a:pt x="316" y="4"/>
                    <a:pt x="316" y="4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3" y="0"/>
                    <a:pt x="323" y="0"/>
                    <a:pt x="323" y="1"/>
                  </a:cubicBezTo>
                  <a:cubicBezTo>
                    <a:pt x="324" y="3"/>
                    <a:pt x="324" y="3"/>
                    <a:pt x="324" y="3"/>
                  </a:cubicBezTo>
                  <a:cubicBezTo>
                    <a:pt x="326" y="5"/>
                    <a:pt x="326" y="5"/>
                    <a:pt x="326" y="5"/>
                  </a:cubicBezTo>
                  <a:cubicBezTo>
                    <a:pt x="327" y="6"/>
                    <a:pt x="327" y="6"/>
                    <a:pt x="327" y="6"/>
                  </a:cubicBezTo>
                  <a:cubicBezTo>
                    <a:pt x="327" y="7"/>
                    <a:pt x="327" y="7"/>
                    <a:pt x="327" y="7"/>
                  </a:cubicBezTo>
                  <a:cubicBezTo>
                    <a:pt x="328" y="8"/>
                    <a:pt x="328" y="8"/>
                    <a:pt x="328" y="8"/>
                  </a:cubicBezTo>
                  <a:cubicBezTo>
                    <a:pt x="329" y="9"/>
                    <a:pt x="329" y="9"/>
                    <a:pt x="329" y="9"/>
                  </a:cubicBezTo>
                  <a:lnTo>
                    <a:pt x="329" y="10"/>
                  </a:lnTo>
                  <a:close/>
                  <a:moveTo>
                    <a:pt x="334" y="13"/>
                  </a:moveTo>
                  <a:cubicBezTo>
                    <a:pt x="333" y="13"/>
                    <a:pt x="333" y="13"/>
                    <a:pt x="333" y="13"/>
                  </a:cubicBezTo>
                  <a:cubicBezTo>
                    <a:pt x="333" y="13"/>
                    <a:pt x="333" y="13"/>
                    <a:pt x="333" y="13"/>
                  </a:cubicBezTo>
                  <a:cubicBezTo>
                    <a:pt x="330" y="13"/>
                    <a:pt x="330" y="13"/>
                    <a:pt x="330" y="13"/>
                  </a:cubicBezTo>
                  <a:cubicBezTo>
                    <a:pt x="330" y="36"/>
                    <a:pt x="330" y="36"/>
                    <a:pt x="330" y="36"/>
                  </a:cubicBezTo>
                  <a:cubicBezTo>
                    <a:pt x="327" y="34"/>
                    <a:pt x="327" y="34"/>
                    <a:pt x="327" y="34"/>
                  </a:cubicBezTo>
                  <a:cubicBezTo>
                    <a:pt x="327" y="13"/>
                    <a:pt x="327" y="13"/>
                    <a:pt x="327" y="13"/>
                  </a:cubicBezTo>
                  <a:cubicBezTo>
                    <a:pt x="324" y="13"/>
                    <a:pt x="324" y="13"/>
                    <a:pt x="324" y="13"/>
                  </a:cubicBezTo>
                  <a:cubicBezTo>
                    <a:pt x="324" y="10"/>
                    <a:pt x="324" y="10"/>
                    <a:pt x="324" y="10"/>
                  </a:cubicBezTo>
                  <a:cubicBezTo>
                    <a:pt x="334" y="10"/>
                    <a:pt x="334" y="10"/>
                    <a:pt x="334" y="10"/>
                  </a:cubicBezTo>
                  <a:lnTo>
                    <a:pt x="334" y="13"/>
                  </a:lnTo>
                  <a:close/>
                  <a:moveTo>
                    <a:pt x="325" y="13"/>
                  </a:moveTo>
                  <a:cubicBezTo>
                    <a:pt x="325" y="13"/>
                    <a:pt x="325" y="13"/>
                    <a:pt x="325" y="13"/>
                  </a:cubicBezTo>
                  <a:cubicBezTo>
                    <a:pt x="325" y="13"/>
                    <a:pt x="325" y="13"/>
                    <a:pt x="325" y="13"/>
                  </a:cubicBezTo>
                  <a:cubicBezTo>
                    <a:pt x="322" y="13"/>
                    <a:pt x="322" y="13"/>
                    <a:pt x="322" y="13"/>
                  </a:cubicBezTo>
                  <a:cubicBezTo>
                    <a:pt x="322" y="36"/>
                    <a:pt x="322" y="36"/>
                    <a:pt x="322" y="36"/>
                  </a:cubicBezTo>
                  <a:cubicBezTo>
                    <a:pt x="319" y="34"/>
                    <a:pt x="319" y="34"/>
                    <a:pt x="319" y="34"/>
                  </a:cubicBezTo>
                  <a:cubicBezTo>
                    <a:pt x="319" y="24"/>
                    <a:pt x="319" y="24"/>
                    <a:pt x="319" y="24"/>
                  </a:cubicBezTo>
                  <a:cubicBezTo>
                    <a:pt x="319" y="24"/>
                    <a:pt x="319" y="24"/>
                    <a:pt x="319" y="24"/>
                  </a:cubicBezTo>
                  <a:cubicBezTo>
                    <a:pt x="318" y="24"/>
                    <a:pt x="318" y="24"/>
                    <a:pt x="318" y="24"/>
                  </a:cubicBezTo>
                  <a:cubicBezTo>
                    <a:pt x="318" y="24"/>
                    <a:pt x="318" y="24"/>
                    <a:pt x="317" y="25"/>
                  </a:cubicBezTo>
                  <a:cubicBezTo>
                    <a:pt x="316" y="25"/>
                    <a:pt x="316" y="25"/>
                    <a:pt x="316" y="25"/>
                  </a:cubicBezTo>
                  <a:cubicBezTo>
                    <a:pt x="316" y="25"/>
                    <a:pt x="315" y="24"/>
                    <a:pt x="314" y="24"/>
                  </a:cubicBezTo>
                  <a:cubicBezTo>
                    <a:pt x="314" y="24"/>
                    <a:pt x="313" y="23"/>
                    <a:pt x="313" y="23"/>
                  </a:cubicBezTo>
                  <a:cubicBezTo>
                    <a:pt x="312" y="22"/>
                    <a:pt x="312" y="22"/>
                    <a:pt x="312" y="22"/>
                  </a:cubicBezTo>
                  <a:cubicBezTo>
                    <a:pt x="311" y="22"/>
                    <a:pt x="311" y="22"/>
                    <a:pt x="311" y="22"/>
                  </a:cubicBezTo>
                  <a:cubicBezTo>
                    <a:pt x="311" y="21"/>
                    <a:pt x="311" y="21"/>
                    <a:pt x="311" y="21"/>
                  </a:cubicBezTo>
                  <a:cubicBezTo>
                    <a:pt x="312" y="22"/>
                    <a:pt x="312" y="22"/>
                    <a:pt x="312" y="22"/>
                  </a:cubicBezTo>
                  <a:cubicBezTo>
                    <a:pt x="312" y="23"/>
                    <a:pt x="312" y="23"/>
                    <a:pt x="312" y="23"/>
                  </a:cubicBezTo>
                  <a:cubicBezTo>
                    <a:pt x="313" y="25"/>
                    <a:pt x="313" y="25"/>
                    <a:pt x="313" y="25"/>
                  </a:cubicBezTo>
                  <a:cubicBezTo>
                    <a:pt x="314" y="27"/>
                    <a:pt x="314" y="27"/>
                    <a:pt x="314" y="27"/>
                  </a:cubicBezTo>
                  <a:cubicBezTo>
                    <a:pt x="314" y="28"/>
                    <a:pt x="313" y="29"/>
                    <a:pt x="312" y="30"/>
                  </a:cubicBezTo>
                  <a:cubicBezTo>
                    <a:pt x="312" y="31"/>
                    <a:pt x="311" y="32"/>
                    <a:pt x="309" y="32"/>
                  </a:cubicBezTo>
                  <a:cubicBezTo>
                    <a:pt x="309" y="32"/>
                    <a:pt x="308" y="32"/>
                    <a:pt x="308" y="32"/>
                  </a:cubicBezTo>
                  <a:cubicBezTo>
                    <a:pt x="306" y="32"/>
                    <a:pt x="304" y="31"/>
                    <a:pt x="303" y="29"/>
                  </a:cubicBezTo>
                  <a:cubicBezTo>
                    <a:pt x="302" y="28"/>
                    <a:pt x="301" y="27"/>
                    <a:pt x="299" y="24"/>
                  </a:cubicBezTo>
                  <a:cubicBezTo>
                    <a:pt x="299" y="23"/>
                    <a:pt x="298" y="22"/>
                    <a:pt x="298" y="21"/>
                  </a:cubicBezTo>
                  <a:cubicBezTo>
                    <a:pt x="298" y="20"/>
                    <a:pt x="298" y="20"/>
                    <a:pt x="298" y="19"/>
                  </a:cubicBezTo>
                  <a:cubicBezTo>
                    <a:pt x="300" y="19"/>
                    <a:pt x="300" y="19"/>
                    <a:pt x="300" y="19"/>
                  </a:cubicBezTo>
                  <a:cubicBezTo>
                    <a:pt x="300" y="20"/>
                    <a:pt x="300" y="22"/>
                    <a:pt x="301" y="24"/>
                  </a:cubicBezTo>
                  <a:cubicBezTo>
                    <a:pt x="302" y="26"/>
                    <a:pt x="303" y="27"/>
                    <a:pt x="304" y="28"/>
                  </a:cubicBezTo>
                  <a:cubicBezTo>
                    <a:pt x="305" y="29"/>
                    <a:pt x="306" y="29"/>
                    <a:pt x="307" y="29"/>
                  </a:cubicBezTo>
                  <a:cubicBezTo>
                    <a:pt x="308" y="29"/>
                    <a:pt x="309" y="29"/>
                    <a:pt x="310" y="28"/>
                  </a:cubicBezTo>
                  <a:cubicBezTo>
                    <a:pt x="310" y="27"/>
                    <a:pt x="311" y="27"/>
                    <a:pt x="311" y="26"/>
                  </a:cubicBezTo>
                  <a:cubicBezTo>
                    <a:pt x="311" y="26"/>
                    <a:pt x="311" y="26"/>
                    <a:pt x="311" y="25"/>
                  </a:cubicBezTo>
                  <a:cubicBezTo>
                    <a:pt x="311" y="24"/>
                    <a:pt x="311" y="24"/>
                    <a:pt x="311" y="23"/>
                  </a:cubicBezTo>
                  <a:cubicBezTo>
                    <a:pt x="310" y="23"/>
                    <a:pt x="310" y="22"/>
                    <a:pt x="310" y="22"/>
                  </a:cubicBezTo>
                  <a:cubicBezTo>
                    <a:pt x="308" y="22"/>
                    <a:pt x="308" y="22"/>
                    <a:pt x="308" y="22"/>
                  </a:cubicBezTo>
                  <a:cubicBezTo>
                    <a:pt x="307" y="22"/>
                    <a:pt x="307" y="22"/>
                    <a:pt x="307" y="22"/>
                  </a:cubicBezTo>
                  <a:cubicBezTo>
                    <a:pt x="306" y="22"/>
                    <a:pt x="306" y="22"/>
                    <a:pt x="306" y="22"/>
                  </a:cubicBezTo>
                  <a:cubicBezTo>
                    <a:pt x="304" y="20"/>
                    <a:pt x="304" y="20"/>
                    <a:pt x="304" y="20"/>
                  </a:cubicBezTo>
                  <a:cubicBezTo>
                    <a:pt x="305" y="20"/>
                    <a:pt x="305" y="20"/>
                    <a:pt x="305" y="20"/>
                  </a:cubicBezTo>
                  <a:cubicBezTo>
                    <a:pt x="307" y="20"/>
                    <a:pt x="309" y="19"/>
                    <a:pt x="310" y="18"/>
                  </a:cubicBezTo>
                  <a:cubicBezTo>
                    <a:pt x="310" y="17"/>
                    <a:pt x="310" y="17"/>
                    <a:pt x="310" y="16"/>
                  </a:cubicBezTo>
                  <a:cubicBezTo>
                    <a:pt x="310" y="16"/>
                    <a:pt x="310" y="15"/>
                    <a:pt x="310" y="15"/>
                  </a:cubicBezTo>
                  <a:cubicBezTo>
                    <a:pt x="310" y="15"/>
                    <a:pt x="310" y="14"/>
                    <a:pt x="309" y="14"/>
                  </a:cubicBezTo>
                  <a:cubicBezTo>
                    <a:pt x="309" y="14"/>
                    <a:pt x="308" y="13"/>
                    <a:pt x="307" y="13"/>
                  </a:cubicBezTo>
                  <a:cubicBezTo>
                    <a:pt x="306" y="13"/>
                    <a:pt x="306" y="13"/>
                    <a:pt x="306" y="13"/>
                  </a:cubicBezTo>
                  <a:cubicBezTo>
                    <a:pt x="305" y="14"/>
                    <a:pt x="305" y="14"/>
                    <a:pt x="305" y="14"/>
                  </a:cubicBezTo>
                  <a:cubicBezTo>
                    <a:pt x="304" y="14"/>
                    <a:pt x="303" y="14"/>
                    <a:pt x="303" y="15"/>
                  </a:cubicBezTo>
                  <a:cubicBezTo>
                    <a:pt x="301" y="12"/>
                    <a:pt x="301" y="12"/>
                    <a:pt x="301" y="12"/>
                  </a:cubicBezTo>
                  <a:cubicBezTo>
                    <a:pt x="302" y="12"/>
                    <a:pt x="302" y="12"/>
                    <a:pt x="302" y="12"/>
                  </a:cubicBezTo>
                  <a:cubicBezTo>
                    <a:pt x="303" y="11"/>
                    <a:pt x="303" y="11"/>
                    <a:pt x="303" y="11"/>
                  </a:cubicBezTo>
                  <a:cubicBezTo>
                    <a:pt x="303" y="11"/>
                    <a:pt x="304" y="11"/>
                    <a:pt x="305" y="11"/>
                  </a:cubicBezTo>
                  <a:cubicBezTo>
                    <a:pt x="306" y="10"/>
                    <a:pt x="306" y="10"/>
                    <a:pt x="306" y="10"/>
                  </a:cubicBezTo>
                  <a:cubicBezTo>
                    <a:pt x="306" y="10"/>
                    <a:pt x="306" y="10"/>
                    <a:pt x="306" y="10"/>
                  </a:cubicBezTo>
                  <a:cubicBezTo>
                    <a:pt x="307" y="10"/>
                    <a:pt x="308" y="11"/>
                    <a:pt x="308" y="11"/>
                  </a:cubicBezTo>
                  <a:cubicBezTo>
                    <a:pt x="310" y="12"/>
                    <a:pt x="311" y="13"/>
                    <a:pt x="312" y="15"/>
                  </a:cubicBezTo>
                  <a:cubicBezTo>
                    <a:pt x="312" y="16"/>
                    <a:pt x="313" y="16"/>
                    <a:pt x="313" y="17"/>
                  </a:cubicBezTo>
                  <a:cubicBezTo>
                    <a:pt x="313" y="18"/>
                    <a:pt x="313" y="18"/>
                    <a:pt x="313" y="18"/>
                  </a:cubicBezTo>
                  <a:cubicBezTo>
                    <a:pt x="313" y="19"/>
                    <a:pt x="312" y="19"/>
                    <a:pt x="312" y="20"/>
                  </a:cubicBezTo>
                  <a:cubicBezTo>
                    <a:pt x="311" y="21"/>
                    <a:pt x="311" y="21"/>
                    <a:pt x="311" y="21"/>
                  </a:cubicBezTo>
                  <a:cubicBezTo>
                    <a:pt x="311" y="21"/>
                    <a:pt x="311" y="21"/>
                    <a:pt x="311" y="21"/>
                  </a:cubicBezTo>
                  <a:cubicBezTo>
                    <a:pt x="312" y="21"/>
                    <a:pt x="312" y="21"/>
                    <a:pt x="312" y="21"/>
                  </a:cubicBezTo>
                  <a:cubicBezTo>
                    <a:pt x="313" y="22"/>
                    <a:pt x="313" y="22"/>
                    <a:pt x="313" y="22"/>
                  </a:cubicBezTo>
                  <a:cubicBezTo>
                    <a:pt x="314" y="22"/>
                    <a:pt x="314" y="22"/>
                    <a:pt x="314" y="22"/>
                  </a:cubicBezTo>
                  <a:cubicBezTo>
                    <a:pt x="315" y="22"/>
                    <a:pt x="315" y="22"/>
                    <a:pt x="315" y="22"/>
                  </a:cubicBezTo>
                  <a:cubicBezTo>
                    <a:pt x="315" y="22"/>
                    <a:pt x="315" y="22"/>
                    <a:pt x="315" y="22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7" y="22"/>
                    <a:pt x="317" y="22"/>
                    <a:pt x="317" y="22"/>
                  </a:cubicBezTo>
                  <a:cubicBezTo>
                    <a:pt x="318" y="21"/>
                    <a:pt x="318" y="21"/>
                    <a:pt x="318" y="21"/>
                  </a:cubicBezTo>
                  <a:cubicBezTo>
                    <a:pt x="319" y="21"/>
                    <a:pt x="319" y="21"/>
                    <a:pt x="319" y="21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4" y="13"/>
                    <a:pt x="314" y="13"/>
                    <a:pt x="314" y="13"/>
                  </a:cubicBezTo>
                  <a:cubicBezTo>
                    <a:pt x="312" y="10"/>
                    <a:pt x="312" y="10"/>
                    <a:pt x="312" y="10"/>
                  </a:cubicBezTo>
                  <a:cubicBezTo>
                    <a:pt x="325" y="10"/>
                    <a:pt x="325" y="10"/>
                    <a:pt x="325" y="10"/>
                  </a:cubicBezTo>
                  <a:lnTo>
                    <a:pt x="325" y="13"/>
                  </a:lnTo>
                  <a:close/>
                  <a:moveTo>
                    <a:pt x="281" y="13"/>
                  </a:moveTo>
                  <a:cubicBezTo>
                    <a:pt x="281" y="13"/>
                    <a:pt x="281" y="13"/>
                    <a:pt x="281" y="13"/>
                  </a:cubicBezTo>
                  <a:cubicBezTo>
                    <a:pt x="281" y="13"/>
                    <a:pt x="281" y="13"/>
                    <a:pt x="281" y="13"/>
                  </a:cubicBezTo>
                  <a:cubicBezTo>
                    <a:pt x="278" y="13"/>
                    <a:pt x="278" y="13"/>
                    <a:pt x="278" y="13"/>
                  </a:cubicBezTo>
                  <a:cubicBezTo>
                    <a:pt x="278" y="36"/>
                    <a:pt x="278" y="36"/>
                    <a:pt x="278" y="36"/>
                  </a:cubicBezTo>
                  <a:cubicBezTo>
                    <a:pt x="275" y="34"/>
                    <a:pt x="275" y="34"/>
                    <a:pt x="275" y="34"/>
                  </a:cubicBezTo>
                  <a:cubicBezTo>
                    <a:pt x="275" y="13"/>
                    <a:pt x="275" y="13"/>
                    <a:pt x="275" y="13"/>
                  </a:cubicBezTo>
                  <a:cubicBezTo>
                    <a:pt x="272" y="13"/>
                    <a:pt x="272" y="13"/>
                    <a:pt x="272" y="13"/>
                  </a:cubicBezTo>
                  <a:cubicBezTo>
                    <a:pt x="272" y="10"/>
                    <a:pt x="272" y="10"/>
                    <a:pt x="272" y="10"/>
                  </a:cubicBezTo>
                  <a:cubicBezTo>
                    <a:pt x="275" y="10"/>
                    <a:pt x="275" y="10"/>
                    <a:pt x="275" y="10"/>
                  </a:cubicBezTo>
                  <a:cubicBezTo>
                    <a:pt x="275" y="10"/>
                    <a:pt x="275" y="10"/>
                    <a:pt x="275" y="9"/>
                  </a:cubicBezTo>
                  <a:cubicBezTo>
                    <a:pt x="275" y="9"/>
                    <a:pt x="274" y="8"/>
                    <a:pt x="274" y="7"/>
                  </a:cubicBezTo>
                  <a:cubicBezTo>
                    <a:pt x="272" y="4"/>
                    <a:pt x="271" y="3"/>
                    <a:pt x="269" y="3"/>
                  </a:cubicBezTo>
                  <a:cubicBezTo>
                    <a:pt x="269" y="3"/>
                    <a:pt x="268" y="3"/>
                    <a:pt x="268" y="3"/>
                  </a:cubicBezTo>
                  <a:cubicBezTo>
                    <a:pt x="267" y="4"/>
                    <a:pt x="267" y="4"/>
                    <a:pt x="267" y="5"/>
                  </a:cubicBezTo>
                  <a:cubicBezTo>
                    <a:pt x="266" y="6"/>
                    <a:pt x="266" y="6"/>
                    <a:pt x="266" y="7"/>
                  </a:cubicBezTo>
                  <a:cubicBezTo>
                    <a:pt x="266" y="8"/>
                    <a:pt x="266" y="8"/>
                    <a:pt x="266" y="8"/>
                  </a:cubicBezTo>
                  <a:cubicBezTo>
                    <a:pt x="267" y="9"/>
                    <a:pt x="267" y="9"/>
                    <a:pt x="267" y="9"/>
                  </a:cubicBezTo>
                  <a:cubicBezTo>
                    <a:pt x="267" y="9"/>
                    <a:pt x="267" y="10"/>
                    <a:pt x="267" y="10"/>
                  </a:cubicBezTo>
                  <a:cubicBezTo>
                    <a:pt x="268" y="10"/>
                    <a:pt x="268" y="11"/>
                    <a:pt x="269" y="11"/>
                  </a:cubicBezTo>
                  <a:cubicBezTo>
                    <a:pt x="267" y="11"/>
                    <a:pt x="267" y="11"/>
                    <a:pt x="267" y="11"/>
                  </a:cubicBezTo>
                  <a:cubicBezTo>
                    <a:pt x="267" y="11"/>
                    <a:pt x="266" y="11"/>
                    <a:pt x="266" y="10"/>
                  </a:cubicBezTo>
                  <a:cubicBezTo>
                    <a:pt x="265" y="9"/>
                    <a:pt x="265" y="9"/>
                    <a:pt x="265" y="9"/>
                  </a:cubicBezTo>
                  <a:cubicBezTo>
                    <a:pt x="265" y="8"/>
                    <a:pt x="264" y="8"/>
                    <a:pt x="264" y="7"/>
                  </a:cubicBezTo>
                  <a:cubicBezTo>
                    <a:pt x="264" y="6"/>
                    <a:pt x="264" y="6"/>
                    <a:pt x="264" y="5"/>
                  </a:cubicBezTo>
                  <a:cubicBezTo>
                    <a:pt x="264" y="5"/>
                    <a:pt x="264" y="4"/>
                    <a:pt x="264" y="3"/>
                  </a:cubicBezTo>
                  <a:cubicBezTo>
                    <a:pt x="264" y="3"/>
                    <a:pt x="264" y="3"/>
                    <a:pt x="265" y="2"/>
                  </a:cubicBezTo>
                  <a:cubicBezTo>
                    <a:pt x="265" y="2"/>
                    <a:pt x="266" y="1"/>
                    <a:pt x="266" y="1"/>
                  </a:cubicBezTo>
                  <a:cubicBezTo>
                    <a:pt x="267" y="1"/>
                    <a:pt x="268" y="1"/>
                    <a:pt x="268" y="1"/>
                  </a:cubicBezTo>
                  <a:cubicBezTo>
                    <a:pt x="270" y="1"/>
                    <a:pt x="273" y="2"/>
                    <a:pt x="275" y="5"/>
                  </a:cubicBezTo>
                  <a:cubicBezTo>
                    <a:pt x="275" y="6"/>
                    <a:pt x="276" y="7"/>
                    <a:pt x="277" y="9"/>
                  </a:cubicBezTo>
                  <a:cubicBezTo>
                    <a:pt x="277" y="9"/>
                    <a:pt x="277" y="10"/>
                    <a:pt x="277" y="10"/>
                  </a:cubicBezTo>
                  <a:cubicBezTo>
                    <a:pt x="281" y="10"/>
                    <a:pt x="281" y="10"/>
                    <a:pt x="281" y="10"/>
                  </a:cubicBezTo>
                  <a:lnTo>
                    <a:pt x="281" y="13"/>
                  </a:lnTo>
                  <a:close/>
                  <a:moveTo>
                    <a:pt x="273" y="13"/>
                  </a:moveTo>
                  <a:cubicBezTo>
                    <a:pt x="273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3"/>
                  </a:cubicBezTo>
                  <a:cubicBezTo>
                    <a:pt x="263" y="13"/>
                    <a:pt x="263" y="13"/>
                    <a:pt x="263" y="13"/>
                  </a:cubicBezTo>
                  <a:cubicBezTo>
                    <a:pt x="263" y="20"/>
                    <a:pt x="263" y="20"/>
                    <a:pt x="263" y="20"/>
                  </a:cubicBezTo>
                  <a:cubicBezTo>
                    <a:pt x="264" y="19"/>
                    <a:pt x="264" y="19"/>
                    <a:pt x="264" y="19"/>
                  </a:cubicBezTo>
                  <a:cubicBezTo>
                    <a:pt x="264" y="19"/>
                    <a:pt x="265" y="19"/>
                    <a:pt x="265" y="19"/>
                  </a:cubicBezTo>
                  <a:cubicBezTo>
                    <a:pt x="266" y="18"/>
                    <a:pt x="266" y="18"/>
                    <a:pt x="266" y="18"/>
                  </a:cubicBezTo>
                  <a:cubicBezTo>
                    <a:pt x="267" y="18"/>
                    <a:pt x="268" y="19"/>
                    <a:pt x="269" y="19"/>
                  </a:cubicBezTo>
                  <a:cubicBezTo>
                    <a:pt x="270" y="20"/>
                    <a:pt x="271" y="21"/>
                    <a:pt x="271" y="23"/>
                  </a:cubicBezTo>
                  <a:cubicBezTo>
                    <a:pt x="272" y="23"/>
                    <a:pt x="272" y="24"/>
                    <a:pt x="272" y="25"/>
                  </a:cubicBezTo>
                  <a:cubicBezTo>
                    <a:pt x="272" y="26"/>
                    <a:pt x="272" y="27"/>
                    <a:pt x="271" y="28"/>
                  </a:cubicBezTo>
                  <a:cubicBezTo>
                    <a:pt x="271" y="29"/>
                    <a:pt x="271" y="29"/>
                    <a:pt x="271" y="30"/>
                  </a:cubicBezTo>
                  <a:cubicBezTo>
                    <a:pt x="270" y="32"/>
                    <a:pt x="269" y="33"/>
                    <a:pt x="268" y="33"/>
                  </a:cubicBezTo>
                  <a:cubicBezTo>
                    <a:pt x="265" y="31"/>
                    <a:pt x="265" y="31"/>
                    <a:pt x="265" y="31"/>
                  </a:cubicBezTo>
                  <a:cubicBezTo>
                    <a:pt x="266" y="31"/>
                    <a:pt x="266" y="31"/>
                    <a:pt x="266" y="30"/>
                  </a:cubicBezTo>
                  <a:cubicBezTo>
                    <a:pt x="267" y="30"/>
                    <a:pt x="267" y="30"/>
                    <a:pt x="268" y="29"/>
                  </a:cubicBezTo>
                  <a:cubicBezTo>
                    <a:pt x="268" y="28"/>
                    <a:pt x="269" y="27"/>
                    <a:pt x="269" y="26"/>
                  </a:cubicBezTo>
                  <a:cubicBezTo>
                    <a:pt x="270" y="25"/>
                    <a:pt x="270" y="24"/>
                    <a:pt x="270" y="23"/>
                  </a:cubicBezTo>
                  <a:cubicBezTo>
                    <a:pt x="270" y="23"/>
                    <a:pt x="270" y="23"/>
                    <a:pt x="270" y="23"/>
                  </a:cubicBezTo>
                  <a:cubicBezTo>
                    <a:pt x="269" y="22"/>
                    <a:pt x="269" y="22"/>
                    <a:pt x="269" y="21"/>
                  </a:cubicBezTo>
                  <a:cubicBezTo>
                    <a:pt x="268" y="21"/>
                    <a:pt x="268" y="21"/>
                    <a:pt x="267" y="21"/>
                  </a:cubicBezTo>
                  <a:cubicBezTo>
                    <a:pt x="267" y="21"/>
                    <a:pt x="267" y="21"/>
                    <a:pt x="266" y="21"/>
                  </a:cubicBezTo>
                  <a:cubicBezTo>
                    <a:pt x="265" y="22"/>
                    <a:pt x="265" y="22"/>
                    <a:pt x="264" y="22"/>
                  </a:cubicBezTo>
                  <a:cubicBezTo>
                    <a:pt x="264" y="23"/>
                    <a:pt x="264" y="23"/>
                    <a:pt x="264" y="23"/>
                  </a:cubicBezTo>
                  <a:cubicBezTo>
                    <a:pt x="263" y="24"/>
                    <a:pt x="263" y="24"/>
                    <a:pt x="263" y="24"/>
                  </a:cubicBezTo>
                  <a:cubicBezTo>
                    <a:pt x="263" y="36"/>
                    <a:pt x="263" y="36"/>
                    <a:pt x="263" y="36"/>
                  </a:cubicBezTo>
                  <a:cubicBezTo>
                    <a:pt x="260" y="34"/>
                    <a:pt x="260" y="34"/>
                    <a:pt x="260" y="34"/>
                  </a:cubicBezTo>
                  <a:cubicBezTo>
                    <a:pt x="260" y="26"/>
                    <a:pt x="260" y="26"/>
                    <a:pt x="260" y="26"/>
                  </a:cubicBezTo>
                  <a:cubicBezTo>
                    <a:pt x="259" y="26"/>
                    <a:pt x="259" y="26"/>
                    <a:pt x="259" y="26"/>
                  </a:cubicBezTo>
                  <a:cubicBezTo>
                    <a:pt x="259" y="27"/>
                    <a:pt x="259" y="27"/>
                    <a:pt x="259" y="27"/>
                  </a:cubicBezTo>
                  <a:cubicBezTo>
                    <a:pt x="257" y="27"/>
                    <a:pt x="257" y="27"/>
                    <a:pt x="257" y="27"/>
                  </a:cubicBezTo>
                  <a:cubicBezTo>
                    <a:pt x="255" y="28"/>
                    <a:pt x="255" y="28"/>
                    <a:pt x="255" y="28"/>
                  </a:cubicBezTo>
                  <a:cubicBezTo>
                    <a:pt x="255" y="28"/>
                    <a:pt x="254" y="27"/>
                    <a:pt x="253" y="27"/>
                  </a:cubicBezTo>
                  <a:cubicBezTo>
                    <a:pt x="252" y="27"/>
                    <a:pt x="251" y="25"/>
                    <a:pt x="250" y="24"/>
                  </a:cubicBezTo>
                  <a:cubicBezTo>
                    <a:pt x="250" y="23"/>
                    <a:pt x="250" y="22"/>
                    <a:pt x="250" y="21"/>
                  </a:cubicBezTo>
                  <a:cubicBezTo>
                    <a:pt x="250" y="20"/>
                    <a:pt x="250" y="19"/>
                    <a:pt x="251" y="19"/>
                  </a:cubicBezTo>
                  <a:cubicBezTo>
                    <a:pt x="251" y="18"/>
                    <a:pt x="251" y="18"/>
                    <a:pt x="251" y="18"/>
                  </a:cubicBezTo>
                  <a:cubicBezTo>
                    <a:pt x="252" y="17"/>
                    <a:pt x="253" y="17"/>
                    <a:pt x="254" y="1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57" y="16"/>
                    <a:pt x="257" y="16"/>
                    <a:pt x="257" y="16"/>
                  </a:cubicBezTo>
                  <a:cubicBezTo>
                    <a:pt x="258" y="19"/>
                    <a:pt x="258" y="19"/>
                    <a:pt x="258" y="19"/>
                  </a:cubicBezTo>
                  <a:cubicBezTo>
                    <a:pt x="258" y="19"/>
                    <a:pt x="258" y="19"/>
                    <a:pt x="258" y="19"/>
                  </a:cubicBezTo>
                  <a:cubicBezTo>
                    <a:pt x="257" y="19"/>
                    <a:pt x="257" y="19"/>
                    <a:pt x="257" y="19"/>
                  </a:cubicBezTo>
                  <a:cubicBezTo>
                    <a:pt x="256" y="19"/>
                    <a:pt x="256" y="19"/>
                    <a:pt x="256" y="19"/>
                  </a:cubicBezTo>
                  <a:cubicBezTo>
                    <a:pt x="256" y="19"/>
                    <a:pt x="255" y="19"/>
                    <a:pt x="255" y="20"/>
                  </a:cubicBezTo>
                  <a:cubicBezTo>
                    <a:pt x="254" y="20"/>
                    <a:pt x="253" y="20"/>
                    <a:pt x="253" y="20"/>
                  </a:cubicBezTo>
                  <a:cubicBezTo>
                    <a:pt x="252" y="21"/>
                    <a:pt x="252" y="21"/>
                    <a:pt x="252" y="21"/>
                  </a:cubicBezTo>
                  <a:cubicBezTo>
                    <a:pt x="252" y="22"/>
                    <a:pt x="252" y="22"/>
                    <a:pt x="252" y="22"/>
                  </a:cubicBezTo>
                  <a:cubicBezTo>
                    <a:pt x="252" y="23"/>
                    <a:pt x="252" y="24"/>
                    <a:pt x="253" y="25"/>
                  </a:cubicBezTo>
                  <a:cubicBezTo>
                    <a:pt x="254" y="25"/>
                    <a:pt x="254" y="25"/>
                    <a:pt x="254" y="25"/>
                  </a:cubicBezTo>
                  <a:cubicBezTo>
                    <a:pt x="255" y="25"/>
                    <a:pt x="255" y="25"/>
                    <a:pt x="255" y="25"/>
                  </a:cubicBezTo>
                  <a:cubicBezTo>
                    <a:pt x="255" y="25"/>
                    <a:pt x="255" y="25"/>
                    <a:pt x="256" y="25"/>
                  </a:cubicBezTo>
                  <a:cubicBezTo>
                    <a:pt x="257" y="25"/>
                    <a:pt x="257" y="24"/>
                    <a:pt x="258" y="24"/>
                  </a:cubicBezTo>
                  <a:cubicBezTo>
                    <a:pt x="258" y="24"/>
                    <a:pt x="259" y="24"/>
                    <a:pt x="259" y="23"/>
                  </a:cubicBezTo>
                  <a:cubicBezTo>
                    <a:pt x="260" y="23"/>
                    <a:pt x="260" y="23"/>
                    <a:pt x="260" y="23"/>
                  </a:cubicBezTo>
                  <a:cubicBezTo>
                    <a:pt x="260" y="13"/>
                    <a:pt x="260" y="13"/>
                    <a:pt x="260" y="13"/>
                  </a:cubicBezTo>
                  <a:cubicBezTo>
                    <a:pt x="249" y="13"/>
                    <a:pt x="249" y="13"/>
                    <a:pt x="249" y="13"/>
                  </a:cubicBezTo>
                  <a:cubicBezTo>
                    <a:pt x="249" y="10"/>
                    <a:pt x="249" y="10"/>
                    <a:pt x="249" y="10"/>
                  </a:cubicBezTo>
                  <a:cubicBezTo>
                    <a:pt x="273" y="10"/>
                    <a:pt x="273" y="10"/>
                    <a:pt x="273" y="10"/>
                  </a:cubicBezTo>
                  <a:lnTo>
                    <a:pt x="273" y="13"/>
                  </a:lnTo>
                  <a:close/>
                  <a:moveTo>
                    <a:pt x="232" y="13"/>
                  </a:moveTo>
                  <a:cubicBezTo>
                    <a:pt x="232" y="13"/>
                    <a:pt x="232" y="13"/>
                    <a:pt x="232" y="13"/>
                  </a:cubicBezTo>
                  <a:cubicBezTo>
                    <a:pt x="232" y="13"/>
                    <a:pt x="232" y="13"/>
                    <a:pt x="232" y="13"/>
                  </a:cubicBezTo>
                  <a:cubicBezTo>
                    <a:pt x="229" y="13"/>
                    <a:pt x="229" y="13"/>
                    <a:pt x="229" y="13"/>
                  </a:cubicBezTo>
                  <a:cubicBezTo>
                    <a:pt x="229" y="36"/>
                    <a:pt x="229" y="36"/>
                    <a:pt x="229" y="36"/>
                  </a:cubicBezTo>
                  <a:cubicBezTo>
                    <a:pt x="226" y="34"/>
                    <a:pt x="226" y="34"/>
                    <a:pt x="226" y="34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23" y="13"/>
                    <a:pt x="223" y="13"/>
                    <a:pt x="223" y="13"/>
                  </a:cubicBezTo>
                  <a:cubicBezTo>
                    <a:pt x="223" y="10"/>
                    <a:pt x="223" y="10"/>
                    <a:pt x="223" y="10"/>
                  </a:cubicBezTo>
                  <a:cubicBezTo>
                    <a:pt x="232" y="10"/>
                    <a:pt x="232" y="10"/>
                    <a:pt x="232" y="10"/>
                  </a:cubicBezTo>
                  <a:lnTo>
                    <a:pt x="232" y="13"/>
                  </a:lnTo>
                  <a:close/>
                  <a:moveTo>
                    <a:pt x="224" y="13"/>
                  </a:moveTo>
                  <a:cubicBezTo>
                    <a:pt x="224" y="13"/>
                    <a:pt x="224" y="13"/>
                    <a:pt x="224" y="13"/>
                  </a:cubicBezTo>
                  <a:cubicBezTo>
                    <a:pt x="224" y="13"/>
                    <a:pt x="224" y="13"/>
                    <a:pt x="224" y="13"/>
                  </a:cubicBezTo>
                  <a:cubicBezTo>
                    <a:pt x="221" y="13"/>
                    <a:pt x="221" y="13"/>
                    <a:pt x="221" y="13"/>
                  </a:cubicBezTo>
                  <a:cubicBezTo>
                    <a:pt x="221" y="36"/>
                    <a:pt x="221" y="36"/>
                    <a:pt x="221" y="36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8" y="20"/>
                    <a:pt x="218" y="20"/>
                    <a:pt x="218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09" y="20"/>
                    <a:pt x="209" y="20"/>
                  </a:cubicBezTo>
                  <a:cubicBezTo>
                    <a:pt x="208" y="21"/>
                    <a:pt x="208" y="21"/>
                    <a:pt x="208" y="21"/>
                  </a:cubicBezTo>
                  <a:cubicBezTo>
                    <a:pt x="208" y="21"/>
                    <a:pt x="208" y="22"/>
                    <a:pt x="208" y="22"/>
                  </a:cubicBezTo>
                  <a:cubicBezTo>
                    <a:pt x="208" y="23"/>
                    <a:pt x="208" y="23"/>
                    <a:pt x="208" y="23"/>
                  </a:cubicBezTo>
                  <a:cubicBezTo>
                    <a:pt x="208" y="24"/>
                    <a:pt x="208" y="25"/>
                    <a:pt x="208" y="26"/>
                  </a:cubicBezTo>
                  <a:cubicBezTo>
                    <a:pt x="209" y="28"/>
                    <a:pt x="210" y="29"/>
                    <a:pt x="211" y="30"/>
                  </a:cubicBezTo>
                  <a:cubicBezTo>
                    <a:pt x="212" y="31"/>
                    <a:pt x="212" y="31"/>
                    <a:pt x="212" y="31"/>
                  </a:cubicBezTo>
                  <a:cubicBezTo>
                    <a:pt x="212" y="32"/>
                    <a:pt x="213" y="32"/>
                    <a:pt x="214" y="33"/>
                  </a:cubicBezTo>
                  <a:cubicBezTo>
                    <a:pt x="212" y="34"/>
                    <a:pt x="212" y="34"/>
                    <a:pt x="212" y="34"/>
                  </a:cubicBezTo>
                  <a:cubicBezTo>
                    <a:pt x="211" y="34"/>
                    <a:pt x="211" y="33"/>
                    <a:pt x="210" y="33"/>
                  </a:cubicBezTo>
                  <a:cubicBezTo>
                    <a:pt x="208" y="30"/>
                    <a:pt x="208" y="30"/>
                    <a:pt x="208" y="30"/>
                  </a:cubicBezTo>
                  <a:cubicBezTo>
                    <a:pt x="207" y="28"/>
                    <a:pt x="206" y="27"/>
                    <a:pt x="206" y="25"/>
                  </a:cubicBezTo>
                  <a:cubicBezTo>
                    <a:pt x="205" y="24"/>
                    <a:pt x="205" y="23"/>
                    <a:pt x="205" y="22"/>
                  </a:cubicBezTo>
                  <a:cubicBezTo>
                    <a:pt x="205" y="21"/>
                    <a:pt x="205" y="20"/>
                    <a:pt x="206" y="19"/>
                  </a:cubicBezTo>
                  <a:cubicBezTo>
                    <a:pt x="206" y="19"/>
                    <a:pt x="206" y="19"/>
                    <a:pt x="206" y="19"/>
                  </a:cubicBezTo>
                  <a:cubicBezTo>
                    <a:pt x="207" y="18"/>
                    <a:pt x="207" y="18"/>
                    <a:pt x="207" y="18"/>
                  </a:cubicBezTo>
                  <a:cubicBezTo>
                    <a:pt x="207" y="17"/>
                    <a:pt x="207" y="17"/>
                    <a:pt x="207" y="17"/>
                  </a:cubicBezTo>
                  <a:cubicBezTo>
                    <a:pt x="208" y="17"/>
                    <a:pt x="208" y="17"/>
                    <a:pt x="208" y="17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18" y="17"/>
                    <a:pt x="218" y="17"/>
                    <a:pt x="218" y="17"/>
                  </a:cubicBezTo>
                  <a:cubicBezTo>
                    <a:pt x="218" y="13"/>
                    <a:pt x="218" y="13"/>
                    <a:pt x="218" y="13"/>
                  </a:cubicBezTo>
                  <a:cubicBezTo>
                    <a:pt x="204" y="13"/>
                    <a:pt x="204" y="13"/>
                    <a:pt x="204" y="13"/>
                  </a:cubicBezTo>
                  <a:cubicBezTo>
                    <a:pt x="204" y="10"/>
                    <a:pt x="204" y="10"/>
                    <a:pt x="204" y="10"/>
                  </a:cubicBezTo>
                  <a:cubicBezTo>
                    <a:pt x="224" y="10"/>
                    <a:pt x="224" y="10"/>
                    <a:pt x="224" y="10"/>
                  </a:cubicBezTo>
                  <a:lnTo>
                    <a:pt x="224" y="13"/>
                  </a:lnTo>
                  <a:close/>
                  <a:moveTo>
                    <a:pt x="199" y="27"/>
                  </a:moveTo>
                  <a:cubicBezTo>
                    <a:pt x="199" y="27"/>
                    <a:pt x="199" y="27"/>
                    <a:pt x="198" y="27"/>
                  </a:cubicBezTo>
                  <a:cubicBezTo>
                    <a:pt x="197" y="26"/>
                    <a:pt x="195" y="25"/>
                    <a:pt x="195" y="23"/>
                  </a:cubicBezTo>
                  <a:cubicBezTo>
                    <a:pt x="194" y="22"/>
                    <a:pt x="194" y="22"/>
                    <a:pt x="194" y="21"/>
                  </a:cubicBezTo>
                  <a:cubicBezTo>
                    <a:pt x="194" y="20"/>
                    <a:pt x="194" y="19"/>
                    <a:pt x="195" y="18"/>
                  </a:cubicBezTo>
                  <a:cubicBezTo>
                    <a:pt x="195" y="18"/>
                    <a:pt x="196" y="17"/>
                    <a:pt x="196" y="17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3"/>
                    <a:pt x="197" y="13"/>
                    <a:pt x="197" y="13"/>
                  </a:cubicBezTo>
                  <a:cubicBezTo>
                    <a:pt x="188" y="13"/>
                    <a:pt x="188" y="13"/>
                    <a:pt x="188" y="13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9" y="20"/>
                    <a:pt x="189" y="20"/>
                    <a:pt x="189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3" y="23"/>
                    <a:pt x="193" y="23"/>
                    <a:pt x="193" y="23"/>
                  </a:cubicBezTo>
                  <a:cubicBezTo>
                    <a:pt x="193" y="23"/>
                    <a:pt x="192" y="23"/>
                    <a:pt x="192" y="23"/>
                  </a:cubicBezTo>
                  <a:cubicBezTo>
                    <a:pt x="191" y="23"/>
                    <a:pt x="191" y="23"/>
                    <a:pt x="190" y="23"/>
                  </a:cubicBezTo>
                  <a:cubicBezTo>
                    <a:pt x="189" y="24"/>
                    <a:pt x="188" y="25"/>
                    <a:pt x="188" y="26"/>
                  </a:cubicBezTo>
                  <a:cubicBezTo>
                    <a:pt x="188" y="27"/>
                    <a:pt x="188" y="27"/>
                    <a:pt x="188" y="28"/>
                  </a:cubicBezTo>
                  <a:cubicBezTo>
                    <a:pt x="188" y="29"/>
                    <a:pt x="189" y="29"/>
                    <a:pt x="191" y="30"/>
                  </a:cubicBezTo>
                  <a:cubicBezTo>
                    <a:pt x="192" y="30"/>
                    <a:pt x="192" y="30"/>
                    <a:pt x="193" y="30"/>
                  </a:cubicBezTo>
                  <a:cubicBezTo>
                    <a:pt x="194" y="30"/>
                    <a:pt x="196" y="30"/>
                    <a:pt x="197" y="29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199" y="27"/>
                    <a:pt x="199" y="27"/>
                    <a:pt x="199" y="27"/>
                  </a:cubicBezTo>
                  <a:close/>
                  <a:moveTo>
                    <a:pt x="201" y="22"/>
                  </a:moveTo>
                  <a:cubicBezTo>
                    <a:pt x="201" y="21"/>
                    <a:pt x="201" y="20"/>
                    <a:pt x="200" y="19"/>
                  </a:cubicBezTo>
                  <a:cubicBezTo>
                    <a:pt x="200" y="19"/>
                    <a:pt x="199" y="18"/>
                    <a:pt x="198" y="18"/>
                  </a:cubicBezTo>
                  <a:cubicBezTo>
                    <a:pt x="198" y="18"/>
                    <a:pt x="198" y="19"/>
                    <a:pt x="198" y="19"/>
                  </a:cubicBezTo>
                  <a:cubicBezTo>
                    <a:pt x="197" y="19"/>
                    <a:pt x="197" y="19"/>
                    <a:pt x="197" y="20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2"/>
                    <a:pt x="197" y="22"/>
                    <a:pt x="197" y="23"/>
                  </a:cubicBezTo>
                  <a:cubicBezTo>
                    <a:pt x="197" y="24"/>
                    <a:pt x="198" y="24"/>
                    <a:pt x="198" y="25"/>
                  </a:cubicBezTo>
                  <a:cubicBezTo>
                    <a:pt x="198" y="25"/>
                    <a:pt x="199" y="25"/>
                    <a:pt x="199" y="25"/>
                  </a:cubicBezTo>
                  <a:cubicBezTo>
                    <a:pt x="200" y="26"/>
                    <a:pt x="200" y="26"/>
                    <a:pt x="200" y="26"/>
                  </a:cubicBezTo>
                  <a:cubicBezTo>
                    <a:pt x="200" y="25"/>
                    <a:pt x="200" y="25"/>
                    <a:pt x="200" y="25"/>
                  </a:cubicBezTo>
                  <a:cubicBezTo>
                    <a:pt x="200" y="25"/>
                    <a:pt x="200" y="25"/>
                    <a:pt x="200" y="25"/>
                  </a:cubicBezTo>
                  <a:cubicBezTo>
                    <a:pt x="200" y="25"/>
                    <a:pt x="200" y="25"/>
                    <a:pt x="200" y="25"/>
                  </a:cubicBezTo>
                  <a:cubicBezTo>
                    <a:pt x="201" y="24"/>
                    <a:pt x="201" y="24"/>
                    <a:pt x="201" y="24"/>
                  </a:cubicBezTo>
                  <a:cubicBezTo>
                    <a:pt x="201" y="23"/>
                    <a:pt x="201" y="23"/>
                    <a:pt x="201" y="22"/>
                  </a:cubicBezTo>
                  <a:moveTo>
                    <a:pt x="205" y="13"/>
                  </a:moveTo>
                  <a:cubicBezTo>
                    <a:pt x="204" y="13"/>
                    <a:pt x="204" y="13"/>
                    <a:pt x="204" y="13"/>
                  </a:cubicBezTo>
                  <a:cubicBezTo>
                    <a:pt x="204" y="13"/>
                    <a:pt x="204" y="13"/>
                    <a:pt x="204" y="13"/>
                  </a:cubicBezTo>
                  <a:cubicBezTo>
                    <a:pt x="200" y="13"/>
                    <a:pt x="200" y="13"/>
                    <a:pt x="200" y="13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201" y="17"/>
                    <a:pt x="201" y="18"/>
                    <a:pt x="202" y="20"/>
                  </a:cubicBezTo>
                  <a:cubicBezTo>
                    <a:pt x="202" y="20"/>
                    <a:pt x="203" y="21"/>
                    <a:pt x="203" y="21"/>
                  </a:cubicBezTo>
                  <a:cubicBezTo>
                    <a:pt x="203" y="22"/>
                    <a:pt x="203" y="23"/>
                    <a:pt x="203" y="23"/>
                  </a:cubicBezTo>
                  <a:cubicBezTo>
                    <a:pt x="203" y="26"/>
                    <a:pt x="202" y="28"/>
                    <a:pt x="201" y="30"/>
                  </a:cubicBezTo>
                  <a:cubicBezTo>
                    <a:pt x="199" y="32"/>
                    <a:pt x="197" y="33"/>
                    <a:pt x="195" y="33"/>
                  </a:cubicBezTo>
                  <a:cubicBezTo>
                    <a:pt x="192" y="33"/>
                    <a:pt x="189" y="32"/>
                    <a:pt x="188" y="31"/>
                  </a:cubicBezTo>
                  <a:cubicBezTo>
                    <a:pt x="186" y="29"/>
                    <a:pt x="185" y="27"/>
                    <a:pt x="185" y="25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23"/>
                    <a:pt x="186" y="22"/>
                    <a:pt x="187" y="22"/>
                  </a:cubicBezTo>
                  <a:cubicBezTo>
                    <a:pt x="188" y="21"/>
                    <a:pt x="188" y="21"/>
                    <a:pt x="188" y="21"/>
                  </a:cubicBezTo>
                  <a:cubicBezTo>
                    <a:pt x="185" y="19"/>
                    <a:pt x="185" y="19"/>
                    <a:pt x="185" y="19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3" y="13"/>
                    <a:pt x="183" y="13"/>
                    <a:pt x="183" y="13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205" y="10"/>
                    <a:pt x="205" y="10"/>
                    <a:pt x="205" y="10"/>
                  </a:cubicBezTo>
                  <a:lnTo>
                    <a:pt x="205" y="13"/>
                  </a:lnTo>
                  <a:close/>
                  <a:moveTo>
                    <a:pt x="186" y="26"/>
                  </a:moveTo>
                  <a:cubicBezTo>
                    <a:pt x="186" y="26"/>
                    <a:pt x="186" y="26"/>
                    <a:pt x="186" y="26"/>
                  </a:cubicBezTo>
                  <a:cubicBezTo>
                    <a:pt x="186" y="27"/>
                    <a:pt x="186" y="27"/>
                    <a:pt x="186" y="27"/>
                  </a:cubicBezTo>
                  <a:cubicBezTo>
                    <a:pt x="186" y="27"/>
                    <a:pt x="186" y="27"/>
                    <a:pt x="185" y="27"/>
                  </a:cubicBezTo>
                  <a:cubicBezTo>
                    <a:pt x="184" y="28"/>
                    <a:pt x="184" y="28"/>
                    <a:pt x="184" y="28"/>
                  </a:cubicBezTo>
                  <a:cubicBezTo>
                    <a:pt x="184" y="28"/>
                    <a:pt x="183" y="28"/>
                    <a:pt x="182" y="29"/>
                  </a:cubicBezTo>
                  <a:cubicBezTo>
                    <a:pt x="181" y="29"/>
                    <a:pt x="181" y="29"/>
                    <a:pt x="180" y="29"/>
                  </a:cubicBezTo>
                  <a:cubicBezTo>
                    <a:pt x="178" y="29"/>
                    <a:pt x="177" y="29"/>
                    <a:pt x="175" y="28"/>
                  </a:cubicBezTo>
                  <a:cubicBezTo>
                    <a:pt x="174" y="27"/>
                    <a:pt x="173" y="25"/>
                    <a:pt x="173" y="24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2"/>
                    <a:pt x="173" y="22"/>
                    <a:pt x="174" y="21"/>
                  </a:cubicBezTo>
                  <a:cubicBezTo>
                    <a:pt x="174" y="21"/>
                    <a:pt x="175" y="20"/>
                    <a:pt x="175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0" y="17"/>
                    <a:pt x="170" y="17"/>
                    <a:pt x="170" y="17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4" y="20"/>
                    <a:pt x="184" y="20"/>
                    <a:pt x="184" y="20"/>
                  </a:cubicBezTo>
                  <a:cubicBezTo>
                    <a:pt x="179" y="20"/>
                    <a:pt x="179" y="20"/>
                    <a:pt x="179" y="20"/>
                  </a:cubicBezTo>
                  <a:cubicBezTo>
                    <a:pt x="179" y="20"/>
                    <a:pt x="179" y="20"/>
                    <a:pt x="179" y="20"/>
                  </a:cubicBezTo>
                  <a:cubicBezTo>
                    <a:pt x="178" y="21"/>
                    <a:pt x="178" y="21"/>
                    <a:pt x="177" y="21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75" y="24"/>
                    <a:pt x="175" y="24"/>
                    <a:pt x="175" y="24"/>
                  </a:cubicBezTo>
                  <a:cubicBezTo>
                    <a:pt x="175" y="24"/>
                    <a:pt x="175" y="24"/>
                    <a:pt x="175" y="24"/>
                  </a:cubicBezTo>
                  <a:cubicBezTo>
                    <a:pt x="175" y="25"/>
                    <a:pt x="175" y="25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7" y="26"/>
                    <a:pt x="177" y="26"/>
                    <a:pt x="177" y="26"/>
                  </a:cubicBezTo>
                  <a:cubicBezTo>
                    <a:pt x="179" y="26"/>
                    <a:pt x="179" y="26"/>
                    <a:pt x="179" y="26"/>
                  </a:cubicBezTo>
                  <a:cubicBezTo>
                    <a:pt x="180" y="27"/>
                    <a:pt x="181" y="26"/>
                    <a:pt x="183" y="26"/>
                  </a:cubicBezTo>
                  <a:cubicBezTo>
                    <a:pt x="183" y="25"/>
                    <a:pt x="183" y="25"/>
                    <a:pt x="184" y="25"/>
                  </a:cubicBezTo>
                  <a:cubicBezTo>
                    <a:pt x="185" y="24"/>
                    <a:pt x="185" y="24"/>
                    <a:pt x="185" y="24"/>
                  </a:cubicBezTo>
                  <a:cubicBezTo>
                    <a:pt x="185" y="23"/>
                    <a:pt x="186" y="23"/>
                    <a:pt x="186" y="22"/>
                  </a:cubicBezTo>
                  <a:lnTo>
                    <a:pt x="186" y="26"/>
                  </a:lnTo>
                  <a:close/>
                  <a:moveTo>
                    <a:pt x="184" y="13"/>
                  </a:moveTo>
                  <a:cubicBezTo>
                    <a:pt x="184" y="13"/>
                    <a:pt x="184" y="13"/>
                    <a:pt x="184" y="13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84" y="10"/>
                    <a:pt x="184" y="10"/>
                    <a:pt x="184" y="10"/>
                  </a:cubicBezTo>
                  <a:lnTo>
                    <a:pt x="184" y="13"/>
                  </a:lnTo>
                  <a:close/>
                  <a:moveTo>
                    <a:pt x="170" y="13"/>
                  </a:moveTo>
                  <a:cubicBezTo>
                    <a:pt x="170" y="13"/>
                    <a:pt x="170" y="13"/>
                    <a:pt x="170" y="13"/>
                  </a:cubicBezTo>
                  <a:cubicBezTo>
                    <a:pt x="170" y="13"/>
                    <a:pt x="170" y="13"/>
                    <a:pt x="170" y="13"/>
                  </a:cubicBezTo>
                  <a:cubicBezTo>
                    <a:pt x="166" y="13"/>
                    <a:pt x="166" y="13"/>
                    <a:pt x="166" y="13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3" y="34"/>
                    <a:pt x="163" y="34"/>
                    <a:pt x="163" y="34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2" y="28"/>
                    <a:pt x="162" y="28"/>
                    <a:pt x="162" y="28"/>
                  </a:cubicBezTo>
                  <a:cubicBezTo>
                    <a:pt x="160" y="29"/>
                    <a:pt x="160" y="29"/>
                    <a:pt x="160" y="29"/>
                  </a:cubicBezTo>
                  <a:cubicBezTo>
                    <a:pt x="158" y="29"/>
                    <a:pt x="158" y="29"/>
                    <a:pt x="158" y="29"/>
                  </a:cubicBezTo>
                  <a:cubicBezTo>
                    <a:pt x="157" y="29"/>
                    <a:pt x="155" y="28"/>
                    <a:pt x="154" y="27"/>
                  </a:cubicBezTo>
                  <a:cubicBezTo>
                    <a:pt x="154" y="26"/>
                    <a:pt x="153" y="26"/>
                    <a:pt x="153" y="26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2" y="23"/>
                    <a:pt x="152" y="22"/>
                  </a:cubicBezTo>
                  <a:cubicBezTo>
                    <a:pt x="152" y="19"/>
                    <a:pt x="153" y="18"/>
                    <a:pt x="155" y="17"/>
                  </a:cubicBezTo>
                  <a:cubicBezTo>
                    <a:pt x="156" y="17"/>
                    <a:pt x="157" y="16"/>
                    <a:pt x="159" y="16"/>
                  </a:cubicBezTo>
                  <a:cubicBezTo>
                    <a:pt x="160" y="16"/>
                    <a:pt x="160" y="16"/>
                    <a:pt x="161" y="16"/>
                  </a:cubicBezTo>
                  <a:cubicBezTo>
                    <a:pt x="163" y="19"/>
                    <a:pt x="163" y="19"/>
                    <a:pt x="163" y="19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0" y="19"/>
                    <a:pt x="159" y="19"/>
                    <a:pt x="159" y="19"/>
                  </a:cubicBezTo>
                  <a:cubicBezTo>
                    <a:pt x="157" y="19"/>
                    <a:pt x="156" y="20"/>
                    <a:pt x="155" y="21"/>
                  </a:cubicBezTo>
                  <a:cubicBezTo>
                    <a:pt x="155" y="22"/>
                    <a:pt x="154" y="22"/>
                    <a:pt x="154" y="23"/>
                  </a:cubicBezTo>
                  <a:cubicBezTo>
                    <a:pt x="154" y="24"/>
                    <a:pt x="155" y="25"/>
                    <a:pt x="155" y="26"/>
                  </a:cubicBezTo>
                  <a:cubicBezTo>
                    <a:pt x="155" y="26"/>
                    <a:pt x="156" y="26"/>
                    <a:pt x="156" y="26"/>
                  </a:cubicBezTo>
                  <a:cubicBezTo>
                    <a:pt x="157" y="26"/>
                    <a:pt x="157" y="26"/>
                    <a:pt x="158" y="26"/>
                  </a:cubicBezTo>
                  <a:cubicBezTo>
                    <a:pt x="158" y="26"/>
                    <a:pt x="159" y="26"/>
                    <a:pt x="160" y="26"/>
                  </a:cubicBezTo>
                  <a:cubicBezTo>
                    <a:pt x="160" y="26"/>
                    <a:pt x="161" y="26"/>
                    <a:pt x="162" y="25"/>
                  </a:cubicBezTo>
                  <a:cubicBezTo>
                    <a:pt x="162" y="25"/>
                    <a:pt x="163" y="24"/>
                    <a:pt x="163" y="24"/>
                  </a:cubicBezTo>
                  <a:cubicBezTo>
                    <a:pt x="163" y="24"/>
                    <a:pt x="163" y="24"/>
                    <a:pt x="163" y="23"/>
                  </a:cubicBezTo>
                  <a:cubicBezTo>
                    <a:pt x="163" y="13"/>
                    <a:pt x="163" y="13"/>
                    <a:pt x="163" y="13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70" y="10"/>
                    <a:pt x="170" y="10"/>
                    <a:pt x="170" y="10"/>
                  </a:cubicBezTo>
                  <a:lnTo>
                    <a:pt x="170" y="13"/>
                  </a:lnTo>
                  <a:close/>
                  <a:moveTo>
                    <a:pt x="154" y="22"/>
                  </a:moveTo>
                  <a:cubicBezTo>
                    <a:pt x="154" y="22"/>
                    <a:pt x="154" y="22"/>
                    <a:pt x="154" y="22"/>
                  </a:cubicBezTo>
                  <a:cubicBezTo>
                    <a:pt x="154" y="23"/>
                    <a:pt x="154" y="23"/>
                    <a:pt x="154" y="23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52" y="23"/>
                    <a:pt x="152" y="23"/>
                    <a:pt x="152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51" y="23"/>
                    <a:pt x="151" y="23"/>
                    <a:pt x="151" y="23"/>
                  </a:cubicBezTo>
                  <a:cubicBezTo>
                    <a:pt x="149" y="24"/>
                    <a:pt x="148" y="23"/>
                    <a:pt x="146" y="22"/>
                  </a:cubicBezTo>
                  <a:cubicBezTo>
                    <a:pt x="146" y="22"/>
                    <a:pt x="146" y="22"/>
                    <a:pt x="146" y="22"/>
                  </a:cubicBezTo>
                  <a:cubicBezTo>
                    <a:pt x="145" y="24"/>
                    <a:pt x="145" y="24"/>
                    <a:pt x="144" y="25"/>
                  </a:cubicBezTo>
                  <a:cubicBezTo>
                    <a:pt x="143" y="26"/>
                    <a:pt x="143" y="26"/>
                    <a:pt x="143" y="26"/>
                  </a:cubicBezTo>
                  <a:cubicBezTo>
                    <a:pt x="143" y="26"/>
                    <a:pt x="143" y="26"/>
                    <a:pt x="143" y="26"/>
                  </a:cubicBezTo>
                  <a:cubicBezTo>
                    <a:pt x="144" y="27"/>
                    <a:pt x="144" y="27"/>
                    <a:pt x="144" y="27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8" y="32"/>
                    <a:pt x="148" y="32"/>
                    <a:pt x="148" y="32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50" y="33"/>
                    <a:pt x="150" y="34"/>
                  </a:cubicBezTo>
                  <a:cubicBezTo>
                    <a:pt x="148" y="35"/>
                    <a:pt x="148" y="35"/>
                    <a:pt x="148" y="35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2"/>
                    <a:pt x="139" y="22"/>
                    <a:pt x="139" y="22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3" y="19"/>
                    <a:pt x="143" y="19"/>
                    <a:pt x="143" y="19"/>
                  </a:cubicBezTo>
                  <a:cubicBezTo>
                    <a:pt x="143" y="13"/>
                    <a:pt x="143" y="13"/>
                    <a:pt x="143" y="13"/>
                  </a:cubicBezTo>
                  <a:cubicBezTo>
                    <a:pt x="137" y="13"/>
                    <a:pt x="137" y="13"/>
                    <a:pt x="137" y="13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47" y="13"/>
                    <a:pt x="147" y="13"/>
                    <a:pt x="147" y="13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51" y="21"/>
                    <a:pt x="152" y="21"/>
                    <a:pt x="153" y="20"/>
                  </a:cubicBezTo>
                  <a:cubicBezTo>
                    <a:pt x="153" y="20"/>
                    <a:pt x="153" y="20"/>
                    <a:pt x="154" y="19"/>
                  </a:cubicBezTo>
                  <a:lnTo>
                    <a:pt x="154" y="22"/>
                  </a:lnTo>
                  <a:close/>
                  <a:moveTo>
                    <a:pt x="115" y="21"/>
                  </a:moveTo>
                  <a:cubicBezTo>
                    <a:pt x="114" y="21"/>
                    <a:pt x="114" y="21"/>
                    <a:pt x="114" y="21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21"/>
                    <a:pt x="107" y="21"/>
                    <a:pt x="107" y="21"/>
                  </a:cubicBezTo>
                  <a:cubicBezTo>
                    <a:pt x="115" y="21"/>
                    <a:pt x="115" y="21"/>
                    <a:pt x="115" y="21"/>
                  </a:cubicBezTo>
                  <a:close/>
                  <a:moveTo>
                    <a:pt x="121" y="13"/>
                  </a:moveTo>
                  <a:cubicBezTo>
                    <a:pt x="120" y="13"/>
                    <a:pt x="120" y="13"/>
                    <a:pt x="120" y="13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17" y="13"/>
                    <a:pt x="117" y="13"/>
                    <a:pt x="117" y="13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26"/>
                    <a:pt x="107" y="26"/>
                    <a:pt x="107" y="26"/>
                  </a:cubicBezTo>
                  <a:cubicBezTo>
                    <a:pt x="107" y="27"/>
                    <a:pt x="107" y="27"/>
                    <a:pt x="106" y="27"/>
                  </a:cubicBezTo>
                  <a:cubicBezTo>
                    <a:pt x="105" y="27"/>
                    <a:pt x="104" y="26"/>
                    <a:pt x="103" y="25"/>
                  </a:cubicBezTo>
                  <a:cubicBezTo>
                    <a:pt x="103" y="25"/>
                    <a:pt x="102" y="24"/>
                    <a:pt x="102" y="24"/>
                  </a:cubicBezTo>
                  <a:cubicBezTo>
                    <a:pt x="102" y="23"/>
                    <a:pt x="102" y="23"/>
                    <a:pt x="102" y="22"/>
                  </a:cubicBezTo>
                  <a:cubicBezTo>
                    <a:pt x="102" y="22"/>
                    <a:pt x="102" y="21"/>
                    <a:pt x="103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3"/>
                    <a:pt x="100" y="13"/>
                    <a:pt x="100" y="13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21" y="10"/>
                    <a:pt x="121" y="10"/>
                    <a:pt x="121" y="10"/>
                  </a:cubicBezTo>
                  <a:lnTo>
                    <a:pt x="121" y="13"/>
                  </a:lnTo>
                  <a:close/>
                  <a:moveTo>
                    <a:pt x="102" y="13"/>
                  </a:moveTo>
                  <a:cubicBezTo>
                    <a:pt x="101" y="13"/>
                    <a:pt x="101" y="13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96" y="13"/>
                    <a:pt x="96" y="13"/>
                    <a:pt x="96" y="13"/>
                  </a:cubicBezTo>
                  <a:cubicBezTo>
                    <a:pt x="96" y="19"/>
                    <a:pt x="96" y="19"/>
                    <a:pt x="96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19"/>
                    <a:pt x="89" y="19"/>
                    <a:pt x="88" y="19"/>
                  </a:cubicBezTo>
                  <a:cubicBezTo>
                    <a:pt x="88" y="20"/>
                    <a:pt x="88" y="20"/>
                    <a:pt x="87" y="20"/>
                  </a:cubicBezTo>
                  <a:cubicBezTo>
                    <a:pt x="87" y="20"/>
                    <a:pt x="87" y="21"/>
                    <a:pt x="87" y="21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4"/>
                    <a:pt x="87" y="25"/>
                    <a:pt x="88" y="26"/>
                  </a:cubicBezTo>
                  <a:cubicBezTo>
                    <a:pt x="89" y="27"/>
                    <a:pt x="90" y="27"/>
                    <a:pt x="91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3" y="24"/>
                    <a:pt x="93" y="23"/>
                  </a:cubicBezTo>
                  <a:cubicBezTo>
                    <a:pt x="93" y="23"/>
                    <a:pt x="93" y="23"/>
                    <a:pt x="94" y="23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5" y="23"/>
                    <a:pt x="96" y="23"/>
                    <a:pt x="96" y="23"/>
                  </a:cubicBezTo>
                  <a:cubicBezTo>
                    <a:pt x="96" y="23"/>
                    <a:pt x="97" y="23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6"/>
                    <a:pt x="97" y="27"/>
                    <a:pt x="96" y="28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3" y="30"/>
                    <a:pt x="93" y="30"/>
                    <a:pt x="93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0" y="30"/>
                    <a:pt x="89" y="29"/>
                  </a:cubicBezTo>
                  <a:cubicBezTo>
                    <a:pt x="88" y="28"/>
                    <a:pt x="87" y="27"/>
                    <a:pt x="86" y="26"/>
                  </a:cubicBezTo>
                  <a:cubicBezTo>
                    <a:pt x="85" y="24"/>
                    <a:pt x="84" y="23"/>
                    <a:pt x="84" y="21"/>
                  </a:cubicBezTo>
                  <a:cubicBezTo>
                    <a:pt x="84" y="20"/>
                    <a:pt x="85" y="19"/>
                    <a:pt x="85" y="18"/>
                  </a:cubicBezTo>
                  <a:cubicBezTo>
                    <a:pt x="85" y="17"/>
                    <a:pt x="86" y="17"/>
                    <a:pt x="86" y="17"/>
                  </a:cubicBezTo>
                  <a:cubicBezTo>
                    <a:pt x="87" y="17"/>
                    <a:pt x="87" y="16"/>
                    <a:pt x="88" y="16"/>
                  </a:cubicBezTo>
                  <a:cubicBezTo>
                    <a:pt x="93" y="16"/>
                    <a:pt x="93" y="16"/>
                    <a:pt x="93" y="16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102" y="10"/>
                    <a:pt x="102" y="10"/>
                    <a:pt x="102" y="10"/>
                  </a:cubicBezTo>
                  <a:lnTo>
                    <a:pt x="102" y="13"/>
                  </a:lnTo>
                  <a:close/>
                  <a:moveTo>
                    <a:pt x="84" y="13"/>
                  </a:move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5" y="19"/>
                    <a:pt x="75" y="19"/>
                    <a:pt x="76" y="19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8" y="18"/>
                    <a:pt x="79" y="19"/>
                    <a:pt x="79" y="19"/>
                  </a:cubicBezTo>
                  <a:cubicBezTo>
                    <a:pt x="80" y="20"/>
                    <a:pt x="81" y="21"/>
                    <a:pt x="82" y="23"/>
                  </a:cubicBezTo>
                  <a:cubicBezTo>
                    <a:pt x="82" y="23"/>
                    <a:pt x="82" y="24"/>
                    <a:pt x="82" y="25"/>
                  </a:cubicBezTo>
                  <a:cubicBezTo>
                    <a:pt x="82" y="26"/>
                    <a:pt x="82" y="27"/>
                    <a:pt x="82" y="28"/>
                  </a:cubicBezTo>
                  <a:cubicBezTo>
                    <a:pt x="82" y="29"/>
                    <a:pt x="81" y="29"/>
                    <a:pt x="81" y="30"/>
                  </a:cubicBezTo>
                  <a:cubicBezTo>
                    <a:pt x="80" y="32"/>
                    <a:pt x="79" y="33"/>
                    <a:pt x="78" y="33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7" y="31"/>
                    <a:pt x="77" y="30"/>
                  </a:cubicBezTo>
                  <a:cubicBezTo>
                    <a:pt x="77" y="30"/>
                    <a:pt x="78" y="30"/>
                    <a:pt x="78" y="29"/>
                  </a:cubicBezTo>
                  <a:cubicBezTo>
                    <a:pt x="79" y="28"/>
                    <a:pt x="79" y="27"/>
                    <a:pt x="80" y="26"/>
                  </a:cubicBezTo>
                  <a:cubicBezTo>
                    <a:pt x="80" y="25"/>
                    <a:pt x="80" y="24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2"/>
                    <a:pt x="80" y="22"/>
                    <a:pt x="79" y="21"/>
                  </a:cubicBezTo>
                  <a:cubicBezTo>
                    <a:pt x="79" y="21"/>
                    <a:pt x="78" y="21"/>
                    <a:pt x="78" y="21"/>
                  </a:cubicBezTo>
                  <a:cubicBezTo>
                    <a:pt x="78" y="21"/>
                    <a:pt x="77" y="21"/>
                    <a:pt x="77" y="21"/>
                  </a:cubicBezTo>
                  <a:cubicBezTo>
                    <a:pt x="76" y="22"/>
                    <a:pt x="75" y="22"/>
                    <a:pt x="75" y="22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5" y="28"/>
                    <a:pt x="65" y="27"/>
                    <a:pt x="64" y="27"/>
                  </a:cubicBezTo>
                  <a:cubicBezTo>
                    <a:pt x="62" y="27"/>
                    <a:pt x="61" y="25"/>
                    <a:pt x="61" y="24"/>
                  </a:cubicBezTo>
                  <a:cubicBezTo>
                    <a:pt x="60" y="23"/>
                    <a:pt x="60" y="22"/>
                    <a:pt x="60" y="21"/>
                  </a:cubicBezTo>
                  <a:cubicBezTo>
                    <a:pt x="60" y="20"/>
                    <a:pt x="61" y="19"/>
                    <a:pt x="61" y="19"/>
                  </a:cubicBezTo>
                  <a:cubicBezTo>
                    <a:pt x="61" y="18"/>
                    <a:pt x="62" y="18"/>
                    <a:pt x="62" y="18"/>
                  </a:cubicBezTo>
                  <a:cubicBezTo>
                    <a:pt x="63" y="17"/>
                    <a:pt x="64" y="17"/>
                    <a:pt x="65" y="16"/>
                  </a:cubicBezTo>
                  <a:cubicBezTo>
                    <a:pt x="65" y="16"/>
                    <a:pt x="66" y="16"/>
                    <a:pt x="66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9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9"/>
                    <a:pt x="66" y="19"/>
                    <a:pt x="65" y="20"/>
                  </a:cubicBezTo>
                  <a:cubicBezTo>
                    <a:pt x="65" y="20"/>
                    <a:pt x="64" y="20"/>
                    <a:pt x="63" y="2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3"/>
                    <a:pt x="63" y="24"/>
                    <a:pt x="63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6" y="25"/>
                    <a:pt x="66" y="25"/>
                    <a:pt x="67" y="25"/>
                  </a:cubicBezTo>
                  <a:cubicBezTo>
                    <a:pt x="67" y="25"/>
                    <a:pt x="68" y="24"/>
                    <a:pt x="69" y="24"/>
                  </a:cubicBezTo>
                  <a:cubicBezTo>
                    <a:pt x="69" y="24"/>
                    <a:pt x="69" y="24"/>
                    <a:pt x="69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84" y="10"/>
                    <a:pt x="84" y="10"/>
                    <a:pt x="84" y="10"/>
                  </a:cubicBezTo>
                  <a:lnTo>
                    <a:pt x="84" y="13"/>
                  </a:lnTo>
                  <a:close/>
                  <a:moveTo>
                    <a:pt x="43" y="13"/>
                  </a:move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5" y="19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7" y="18"/>
                    <a:pt x="38" y="19"/>
                    <a:pt x="38" y="19"/>
                  </a:cubicBezTo>
                  <a:cubicBezTo>
                    <a:pt x="40" y="20"/>
                    <a:pt x="40" y="21"/>
                    <a:pt x="41" y="23"/>
                  </a:cubicBezTo>
                  <a:cubicBezTo>
                    <a:pt x="41" y="23"/>
                    <a:pt x="41" y="24"/>
                    <a:pt x="41" y="25"/>
                  </a:cubicBezTo>
                  <a:cubicBezTo>
                    <a:pt x="41" y="26"/>
                    <a:pt x="41" y="27"/>
                    <a:pt x="41" y="28"/>
                  </a:cubicBezTo>
                  <a:cubicBezTo>
                    <a:pt x="41" y="29"/>
                    <a:pt x="40" y="29"/>
                    <a:pt x="40" y="30"/>
                  </a:cubicBezTo>
                  <a:cubicBezTo>
                    <a:pt x="39" y="32"/>
                    <a:pt x="38" y="33"/>
                    <a:pt x="37" y="33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6" y="31"/>
                    <a:pt x="36" y="30"/>
                  </a:cubicBezTo>
                  <a:cubicBezTo>
                    <a:pt x="36" y="30"/>
                    <a:pt x="37" y="30"/>
                    <a:pt x="37" y="29"/>
                  </a:cubicBezTo>
                  <a:cubicBezTo>
                    <a:pt x="38" y="28"/>
                    <a:pt x="38" y="27"/>
                    <a:pt x="39" y="26"/>
                  </a:cubicBezTo>
                  <a:cubicBezTo>
                    <a:pt x="39" y="25"/>
                    <a:pt x="39" y="24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2"/>
                    <a:pt x="39" y="22"/>
                    <a:pt x="38" y="21"/>
                  </a:cubicBezTo>
                  <a:cubicBezTo>
                    <a:pt x="38" y="21"/>
                    <a:pt x="37" y="21"/>
                    <a:pt x="37" y="21"/>
                  </a:cubicBezTo>
                  <a:cubicBezTo>
                    <a:pt x="37" y="21"/>
                    <a:pt x="36" y="21"/>
                    <a:pt x="36" y="21"/>
                  </a:cubicBezTo>
                  <a:cubicBezTo>
                    <a:pt x="35" y="22"/>
                    <a:pt x="35" y="22"/>
                    <a:pt x="34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4" y="28"/>
                    <a:pt x="24" y="27"/>
                    <a:pt x="23" y="27"/>
                  </a:cubicBezTo>
                  <a:cubicBezTo>
                    <a:pt x="22" y="27"/>
                    <a:pt x="20" y="25"/>
                    <a:pt x="20" y="24"/>
                  </a:cubicBezTo>
                  <a:cubicBezTo>
                    <a:pt x="19" y="23"/>
                    <a:pt x="19" y="22"/>
                    <a:pt x="19" y="21"/>
                  </a:cubicBezTo>
                  <a:cubicBezTo>
                    <a:pt x="19" y="20"/>
                    <a:pt x="20" y="19"/>
                    <a:pt x="20" y="19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2" y="17"/>
                    <a:pt x="23" y="17"/>
                    <a:pt x="24" y="16"/>
                  </a:cubicBezTo>
                  <a:cubicBezTo>
                    <a:pt x="24" y="16"/>
                    <a:pt x="25" y="16"/>
                    <a:pt x="25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5" y="19"/>
                    <a:pt x="25" y="19"/>
                    <a:pt x="24" y="20"/>
                  </a:cubicBezTo>
                  <a:cubicBezTo>
                    <a:pt x="24" y="20"/>
                    <a:pt x="23" y="20"/>
                    <a:pt x="22" y="2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3"/>
                    <a:pt x="22" y="24"/>
                    <a:pt x="22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5"/>
                    <a:pt x="25" y="25"/>
                    <a:pt x="26" y="25"/>
                  </a:cubicBezTo>
                  <a:cubicBezTo>
                    <a:pt x="26" y="25"/>
                    <a:pt x="27" y="24"/>
                    <a:pt x="28" y="24"/>
                  </a:cubicBezTo>
                  <a:cubicBezTo>
                    <a:pt x="28" y="24"/>
                    <a:pt x="28" y="24"/>
                    <a:pt x="29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43" y="10"/>
                    <a:pt x="43" y="10"/>
                    <a:pt x="43" y="10"/>
                  </a:cubicBezTo>
                  <a:lnTo>
                    <a:pt x="43" y="13"/>
                  </a:lnTo>
                  <a:close/>
                  <a:moveTo>
                    <a:pt x="19" y="13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3"/>
                    <a:pt x="15" y="23"/>
                  </a:cubicBezTo>
                  <a:cubicBezTo>
                    <a:pt x="15" y="23"/>
                    <a:pt x="15" y="24"/>
                    <a:pt x="14" y="24"/>
                  </a:cubicBezTo>
                  <a:cubicBezTo>
                    <a:pt x="14" y="24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8" y="36"/>
                    <a:pt x="18" y="36"/>
                    <a:pt x="18" y="37"/>
                  </a:cubicBezTo>
                  <a:cubicBezTo>
                    <a:pt x="17" y="37"/>
                    <a:pt x="17" y="38"/>
                    <a:pt x="17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9" y="10"/>
                    <a:pt x="19" y="10"/>
                    <a:pt x="19" y="10"/>
                  </a:cubicBezTo>
                  <a:lnTo>
                    <a:pt x="19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9" name="Freeform 178"/>
            <p:cNvSpPr>
              <a:spLocks noEditPoints="1"/>
            </p:cNvSpPr>
            <p:nvPr/>
          </p:nvSpPr>
          <p:spPr bwMode="auto">
            <a:xfrm>
              <a:off x="3233" y="2131"/>
              <a:ext cx="207" cy="77"/>
            </a:xfrm>
            <a:custGeom>
              <a:avLst/>
              <a:gdLst>
                <a:gd name="T0" fmla="*/ 74 w 87"/>
                <a:gd name="T1" fmla="*/ 16 h 32"/>
                <a:gd name="T2" fmla="*/ 76 w 87"/>
                <a:gd name="T3" fmla="*/ 8 h 32"/>
                <a:gd name="T4" fmla="*/ 66 w 87"/>
                <a:gd name="T5" fmla="*/ 3 h 32"/>
                <a:gd name="T6" fmla="*/ 68 w 87"/>
                <a:gd name="T7" fmla="*/ 12 h 32"/>
                <a:gd name="T8" fmla="*/ 70 w 87"/>
                <a:gd name="T9" fmla="*/ 12 h 32"/>
                <a:gd name="T10" fmla="*/ 68 w 87"/>
                <a:gd name="T11" fmla="*/ 16 h 32"/>
                <a:gd name="T12" fmla="*/ 69 w 87"/>
                <a:gd name="T13" fmla="*/ 25 h 32"/>
                <a:gd name="T14" fmla="*/ 79 w 87"/>
                <a:gd name="T15" fmla="*/ 22 h 32"/>
                <a:gd name="T16" fmla="*/ 82 w 87"/>
                <a:gd name="T17" fmla="*/ 11 h 32"/>
                <a:gd name="T18" fmla="*/ 77 w 87"/>
                <a:gd name="T19" fmla="*/ 12 h 32"/>
                <a:gd name="T20" fmla="*/ 79 w 87"/>
                <a:gd name="T21" fmla="*/ 18 h 32"/>
                <a:gd name="T22" fmla="*/ 82 w 87"/>
                <a:gd name="T23" fmla="*/ 19 h 32"/>
                <a:gd name="T24" fmla="*/ 82 w 87"/>
                <a:gd name="T25" fmla="*/ 17 h 32"/>
                <a:gd name="T26" fmla="*/ 87 w 87"/>
                <a:gd name="T27" fmla="*/ 3 h 32"/>
                <a:gd name="T28" fmla="*/ 81 w 87"/>
                <a:gd name="T29" fmla="*/ 7 h 32"/>
                <a:gd name="T30" fmla="*/ 85 w 87"/>
                <a:gd name="T31" fmla="*/ 16 h 32"/>
                <a:gd name="T32" fmla="*/ 65 w 87"/>
                <a:gd name="T33" fmla="*/ 26 h 32"/>
                <a:gd name="T34" fmla="*/ 64 w 87"/>
                <a:gd name="T35" fmla="*/ 14 h 32"/>
                <a:gd name="T36" fmla="*/ 62 w 87"/>
                <a:gd name="T37" fmla="*/ 3 h 32"/>
                <a:gd name="T38" fmla="*/ 87 w 87"/>
                <a:gd name="T39" fmla="*/ 0 h 32"/>
                <a:gd name="T40" fmla="*/ 63 w 87"/>
                <a:gd name="T41" fmla="*/ 20 h 32"/>
                <a:gd name="T42" fmla="*/ 61 w 87"/>
                <a:gd name="T43" fmla="*/ 22 h 32"/>
                <a:gd name="T44" fmla="*/ 50 w 87"/>
                <a:gd name="T45" fmla="*/ 22 h 32"/>
                <a:gd name="T46" fmla="*/ 48 w 87"/>
                <a:gd name="T47" fmla="*/ 13 h 32"/>
                <a:gd name="T48" fmla="*/ 42 w 87"/>
                <a:gd name="T49" fmla="*/ 8 h 32"/>
                <a:gd name="T50" fmla="*/ 55 w 87"/>
                <a:gd name="T51" fmla="*/ 12 h 32"/>
                <a:gd name="T52" fmla="*/ 51 w 87"/>
                <a:gd name="T53" fmla="*/ 15 h 32"/>
                <a:gd name="T54" fmla="*/ 50 w 87"/>
                <a:gd name="T55" fmla="*/ 18 h 32"/>
                <a:gd name="T56" fmla="*/ 52 w 87"/>
                <a:gd name="T57" fmla="*/ 20 h 32"/>
                <a:gd name="T58" fmla="*/ 60 w 87"/>
                <a:gd name="T59" fmla="*/ 18 h 32"/>
                <a:gd name="T60" fmla="*/ 63 w 87"/>
                <a:gd name="T61" fmla="*/ 20 h 32"/>
                <a:gd name="T62" fmla="*/ 60 w 87"/>
                <a:gd name="T63" fmla="*/ 3 h 32"/>
                <a:gd name="T64" fmla="*/ 60 w 87"/>
                <a:gd name="T65" fmla="*/ 0 h 32"/>
                <a:gd name="T66" fmla="*/ 42 w 87"/>
                <a:gd name="T67" fmla="*/ 3 h 32"/>
                <a:gd name="T68" fmla="*/ 38 w 87"/>
                <a:gd name="T69" fmla="*/ 32 h 32"/>
                <a:gd name="T70" fmla="*/ 34 w 87"/>
                <a:gd name="T71" fmla="*/ 22 h 32"/>
                <a:gd name="T72" fmla="*/ 28 w 87"/>
                <a:gd name="T73" fmla="*/ 23 h 32"/>
                <a:gd name="T74" fmla="*/ 20 w 87"/>
                <a:gd name="T75" fmla="*/ 18 h 32"/>
                <a:gd name="T76" fmla="*/ 29 w 87"/>
                <a:gd name="T77" fmla="*/ 7 h 32"/>
                <a:gd name="T78" fmla="*/ 31 w 87"/>
                <a:gd name="T79" fmla="*/ 11 h 32"/>
                <a:gd name="T80" fmla="*/ 23 w 87"/>
                <a:gd name="T81" fmla="*/ 16 h 32"/>
                <a:gd name="T82" fmla="*/ 27 w 87"/>
                <a:gd name="T83" fmla="*/ 20 h 32"/>
                <a:gd name="T84" fmla="*/ 33 w 87"/>
                <a:gd name="T85" fmla="*/ 17 h 32"/>
                <a:gd name="T86" fmla="*/ 18 w 87"/>
                <a:gd name="T87" fmla="*/ 3 h 32"/>
                <a:gd name="T88" fmla="*/ 43 w 87"/>
                <a:gd name="T89" fmla="*/ 3 h 32"/>
                <a:gd name="T90" fmla="*/ 22 w 87"/>
                <a:gd name="T91" fmla="*/ 15 h 32"/>
                <a:gd name="T92" fmla="*/ 19 w 87"/>
                <a:gd name="T93" fmla="*/ 16 h 32"/>
                <a:gd name="T94" fmla="*/ 12 w 87"/>
                <a:gd name="T95" fmla="*/ 15 h 32"/>
                <a:gd name="T96" fmla="*/ 8 w 87"/>
                <a:gd name="T97" fmla="*/ 19 h 32"/>
                <a:gd name="T98" fmla="*/ 13 w 87"/>
                <a:gd name="T99" fmla="*/ 25 h 32"/>
                <a:gd name="T100" fmla="*/ 17 w 87"/>
                <a:gd name="T101" fmla="*/ 30 h 32"/>
                <a:gd name="T102" fmla="*/ 11 w 87"/>
                <a:gd name="T103" fmla="*/ 27 h 32"/>
                <a:gd name="T104" fmla="*/ 4 w 87"/>
                <a:gd name="T105" fmla="*/ 17 h 32"/>
                <a:gd name="T106" fmla="*/ 3 w 87"/>
                <a:gd name="T107" fmla="*/ 12 h 32"/>
                <a:gd name="T108" fmla="*/ 4 w 87"/>
                <a:gd name="T109" fmla="*/ 11 h 32"/>
                <a:gd name="T110" fmla="*/ 0 w 87"/>
                <a:gd name="T111" fmla="*/ 3 h 32"/>
                <a:gd name="T112" fmla="*/ 19 w 87"/>
                <a:gd name="T113" fmla="*/ 3 h 32"/>
                <a:gd name="T114" fmla="*/ 14 w 87"/>
                <a:gd name="T115" fmla="*/ 13 h 32"/>
                <a:gd name="T116" fmla="*/ 22 w 87"/>
                <a:gd name="T117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" h="32">
                  <a:moveTo>
                    <a:pt x="80" y="21"/>
                  </a:moveTo>
                  <a:cubicBezTo>
                    <a:pt x="80" y="21"/>
                    <a:pt x="79" y="21"/>
                    <a:pt x="79" y="21"/>
                  </a:cubicBezTo>
                  <a:cubicBezTo>
                    <a:pt x="77" y="20"/>
                    <a:pt x="75" y="18"/>
                    <a:pt x="74" y="16"/>
                  </a:cubicBezTo>
                  <a:cubicBezTo>
                    <a:pt x="74" y="15"/>
                    <a:pt x="73" y="14"/>
                    <a:pt x="73" y="13"/>
                  </a:cubicBezTo>
                  <a:cubicBezTo>
                    <a:pt x="73" y="12"/>
                    <a:pt x="74" y="11"/>
                    <a:pt x="75" y="10"/>
                  </a:cubicBezTo>
                  <a:cubicBezTo>
                    <a:pt x="75" y="9"/>
                    <a:pt x="75" y="9"/>
                    <a:pt x="76" y="8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2" y="15"/>
                    <a:pt x="71" y="15"/>
                    <a:pt x="70" y="16"/>
                  </a:cubicBezTo>
                  <a:cubicBezTo>
                    <a:pt x="70" y="16"/>
                    <a:pt x="69" y="16"/>
                    <a:pt x="68" y="16"/>
                  </a:cubicBezTo>
                  <a:cubicBezTo>
                    <a:pt x="66" y="17"/>
                    <a:pt x="65" y="18"/>
                    <a:pt x="65" y="20"/>
                  </a:cubicBezTo>
                  <a:cubicBezTo>
                    <a:pt x="65" y="21"/>
                    <a:pt x="65" y="21"/>
                    <a:pt x="66" y="22"/>
                  </a:cubicBezTo>
                  <a:cubicBezTo>
                    <a:pt x="66" y="23"/>
                    <a:pt x="68" y="24"/>
                    <a:pt x="69" y="25"/>
                  </a:cubicBezTo>
                  <a:cubicBezTo>
                    <a:pt x="70" y="25"/>
                    <a:pt x="71" y="25"/>
                    <a:pt x="72" y="25"/>
                  </a:cubicBezTo>
                  <a:cubicBezTo>
                    <a:pt x="74" y="25"/>
                    <a:pt x="76" y="25"/>
                    <a:pt x="78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80" y="21"/>
                    <a:pt x="80" y="21"/>
                    <a:pt x="80" y="21"/>
                  </a:cubicBezTo>
                  <a:close/>
                  <a:moveTo>
                    <a:pt x="82" y="15"/>
                  </a:moveTo>
                  <a:cubicBezTo>
                    <a:pt x="82" y="13"/>
                    <a:pt x="82" y="12"/>
                    <a:pt x="82" y="11"/>
                  </a:cubicBezTo>
                  <a:cubicBezTo>
                    <a:pt x="81" y="10"/>
                    <a:pt x="80" y="10"/>
                    <a:pt x="79" y="10"/>
                  </a:cubicBezTo>
                  <a:cubicBezTo>
                    <a:pt x="79" y="10"/>
                    <a:pt x="78" y="10"/>
                    <a:pt x="78" y="10"/>
                  </a:cubicBezTo>
                  <a:cubicBezTo>
                    <a:pt x="78" y="10"/>
                    <a:pt x="77" y="11"/>
                    <a:pt x="77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7" y="14"/>
                    <a:pt x="77" y="15"/>
                    <a:pt x="77" y="16"/>
                  </a:cubicBezTo>
                  <a:cubicBezTo>
                    <a:pt x="78" y="17"/>
                    <a:pt x="78" y="17"/>
                    <a:pt x="79" y="18"/>
                  </a:cubicBezTo>
                  <a:cubicBezTo>
                    <a:pt x="79" y="18"/>
                    <a:pt x="80" y="18"/>
                    <a:pt x="80" y="19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2" y="16"/>
                    <a:pt x="82" y="16"/>
                    <a:pt x="82" y="15"/>
                  </a:cubicBezTo>
                  <a:moveTo>
                    <a:pt x="87" y="3"/>
                  </a:move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82" y="8"/>
                    <a:pt x="83" y="10"/>
                    <a:pt x="84" y="11"/>
                  </a:cubicBezTo>
                  <a:cubicBezTo>
                    <a:pt x="84" y="12"/>
                    <a:pt x="85" y="13"/>
                    <a:pt x="85" y="14"/>
                  </a:cubicBezTo>
                  <a:cubicBezTo>
                    <a:pt x="85" y="15"/>
                    <a:pt x="85" y="16"/>
                    <a:pt x="85" y="16"/>
                  </a:cubicBezTo>
                  <a:cubicBezTo>
                    <a:pt x="85" y="20"/>
                    <a:pt x="84" y="22"/>
                    <a:pt x="82" y="24"/>
                  </a:cubicBezTo>
                  <a:cubicBezTo>
                    <a:pt x="80" y="27"/>
                    <a:pt x="78" y="28"/>
                    <a:pt x="74" y="28"/>
                  </a:cubicBezTo>
                  <a:cubicBezTo>
                    <a:pt x="71" y="28"/>
                    <a:pt x="68" y="27"/>
                    <a:pt x="65" y="26"/>
                  </a:cubicBezTo>
                  <a:cubicBezTo>
                    <a:pt x="63" y="24"/>
                    <a:pt x="62" y="21"/>
                    <a:pt x="62" y="18"/>
                  </a:cubicBezTo>
                  <a:cubicBezTo>
                    <a:pt x="62" y="18"/>
                    <a:pt x="62" y="17"/>
                    <a:pt x="62" y="17"/>
                  </a:cubicBezTo>
                  <a:cubicBezTo>
                    <a:pt x="62" y="16"/>
                    <a:pt x="63" y="15"/>
                    <a:pt x="64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87" y="0"/>
                    <a:pt x="87" y="0"/>
                    <a:pt x="87" y="0"/>
                  </a:cubicBezTo>
                  <a:lnTo>
                    <a:pt x="87" y="3"/>
                  </a:lnTo>
                  <a:close/>
                  <a:moveTo>
                    <a:pt x="63" y="20"/>
                  </a:moveTo>
                  <a:cubicBezTo>
                    <a:pt x="63" y="20"/>
                    <a:pt x="63" y="20"/>
                    <a:pt x="63" y="20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3" y="21"/>
                    <a:pt x="62" y="21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3"/>
                    <a:pt x="59" y="23"/>
                    <a:pt x="58" y="23"/>
                  </a:cubicBezTo>
                  <a:cubicBezTo>
                    <a:pt x="57" y="24"/>
                    <a:pt x="56" y="24"/>
                    <a:pt x="56" y="24"/>
                  </a:cubicBezTo>
                  <a:cubicBezTo>
                    <a:pt x="53" y="24"/>
                    <a:pt x="51" y="23"/>
                    <a:pt x="50" y="22"/>
                  </a:cubicBezTo>
                  <a:cubicBezTo>
                    <a:pt x="47" y="21"/>
                    <a:pt x="46" y="19"/>
                    <a:pt x="46" y="17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5"/>
                    <a:pt x="47" y="14"/>
                    <a:pt x="48" y="13"/>
                  </a:cubicBezTo>
                  <a:cubicBezTo>
                    <a:pt x="48" y="13"/>
                    <a:pt x="49" y="12"/>
                    <a:pt x="49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2"/>
                    <a:pt x="54" y="12"/>
                    <a:pt x="54" y="12"/>
                  </a:cubicBezTo>
                  <a:cubicBezTo>
                    <a:pt x="53" y="13"/>
                    <a:pt x="53" y="13"/>
                    <a:pt x="52" y="14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50" y="17"/>
                    <a:pt x="50" y="18"/>
                  </a:cubicBezTo>
                  <a:cubicBezTo>
                    <a:pt x="50" y="18"/>
                    <a:pt x="50" y="19"/>
                    <a:pt x="50" y="19"/>
                  </a:cubicBezTo>
                  <a:cubicBezTo>
                    <a:pt x="50" y="19"/>
                    <a:pt x="50" y="20"/>
                    <a:pt x="51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6" y="20"/>
                    <a:pt x="57" y="20"/>
                    <a:pt x="59" y="19"/>
                  </a:cubicBezTo>
                  <a:cubicBezTo>
                    <a:pt x="59" y="19"/>
                    <a:pt x="60" y="18"/>
                    <a:pt x="60" y="18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6"/>
                    <a:pt x="63" y="16"/>
                    <a:pt x="63" y="15"/>
                  </a:cubicBezTo>
                  <a:lnTo>
                    <a:pt x="63" y="20"/>
                  </a:lnTo>
                  <a:close/>
                  <a:moveTo>
                    <a:pt x="60" y="3"/>
                  </a:moveTo>
                  <a:cubicBezTo>
                    <a:pt x="60" y="3"/>
                    <a:pt x="60" y="3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3"/>
                  </a:lnTo>
                  <a:close/>
                  <a:moveTo>
                    <a:pt x="43" y="3"/>
                  </a:move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5" y="23"/>
                    <a:pt x="23" y="23"/>
                    <a:pt x="22" y="21"/>
                  </a:cubicBezTo>
                  <a:cubicBezTo>
                    <a:pt x="21" y="20"/>
                    <a:pt x="21" y="20"/>
                    <a:pt x="21" y="19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7"/>
                    <a:pt x="19" y="15"/>
                    <a:pt x="19" y="14"/>
                  </a:cubicBezTo>
                  <a:cubicBezTo>
                    <a:pt x="19" y="11"/>
                    <a:pt x="21" y="9"/>
                    <a:pt x="24" y="8"/>
                  </a:cubicBezTo>
                  <a:cubicBezTo>
                    <a:pt x="25" y="8"/>
                    <a:pt x="26" y="7"/>
                    <a:pt x="29" y="7"/>
                  </a:cubicBezTo>
                  <a:cubicBezTo>
                    <a:pt x="29" y="7"/>
                    <a:pt x="30" y="7"/>
                    <a:pt x="31" y="7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0" y="11"/>
                    <a:pt x="29" y="11"/>
                    <a:pt x="28" y="11"/>
                  </a:cubicBezTo>
                  <a:cubicBezTo>
                    <a:pt x="26" y="11"/>
                    <a:pt x="25" y="12"/>
                    <a:pt x="23" y="13"/>
                  </a:cubicBezTo>
                  <a:cubicBezTo>
                    <a:pt x="23" y="14"/>
                    <a:pt x="23" y="15"/>
                    <a:pt x="23" y="16"/>
                  </a:cubicBezTo>
                  <a:cubicBezTo>
                    <a:pt x="23" y="17"/>
                    <a:pt x="23" y="18"/>
                    <a:pt x="24" y="19"/>
                  </a:cubicBezTo>
                  <a:cubicBezTo>
                    <a:pt x="24" y="19"/>
                    <a:pt x="24" y="20"/>
                    <a:pt x="25" y="20"/>
                  </a:cubicBezTo>
                  <a:cubicBezTo>
                    <a:pt x="26" y="20"/>
                    <a:pt x="26" y="20"/>
                    <a:pt x="27" y="20"/>
                  </a:cubicBezTo>
                  <a:cubicBezTo>
                    <a:pt x="28" y="20"/>
                    <a:pt x="29" y="20"/>
                    <a:pt x="29" y="20"/>
                  </a:cubicBezTo>
                  <a:cubicBezTo>
                    <a:pt x="30" y="20"/>
                    <a:pt x="31" y="19"/>
                    <a:pt x="32" y="18"/>
                  </a:cubicBezTo>
                  <a:cubicBezTo>
                    <a:pt x="33" y="18"/>
                    <a:pt x="33" y="17"/>
                    <a:pt x="33" y="17"/>
                  </a:cubicBezTo>
                  <a:cubicBezTo>
                    <a:pt x="34" y="17"/>
                    <a:pt x="34" y="17"/>
                    <a:pt x="34" y="16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43" y="3"/>
                  </a:lnTo>
                  <a:close/>
                  <a:moveTo>
                    <a:pt x="22" y="15"/>
                  </a:moveTo>
                  <a:cubicBezTo>
                    <a:pt x="22" y="15"/>
                    <a:pt x="22" y="15"/>
                    <a:pt x="2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7"/>
                    <a:pt x="14" y="16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7"/>
                    <a:pt x="10" y="18"/>
                    <a:pt x="9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6" y="29"/>
                    <a:pt x="17" y="30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8" y="13"/>
                    <a:pt x="19" y="13"/>
                    <a:pt x="20" y="12"/>
                  </a:cubicBezTo>
                  <a:cubicBezTo>
                    <a:pt x="21" y="12"/>
                    <a:pt x="21" y="12"/>
                    <a:pt x="22" y="11"/>
                  </a:cubicBezTo>
                  <a:lnTo>
                    <a:pt x="2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0" name="Freeform 179"/>
            <p:cNvSpPr>
              <a:spLocks noEditPoints="1"/>
            </p:cNvSpPr>
            <p:nvPr/>
          </p:nvSpPr>
          <p:spPr bwMode="auto">
            <a:xfrm>
              <a:off x="3727" y="2131"/>
              <a:ext cx="202" cy="77"/>
            </a:xfrm>
            <a:custGeom>
              <a:avLst/>
              <a:gdLst>
                <a:gd name="T0" fmla="*/ 84 w 85"/>
                <a:gd name="T1" fmla="*/ 3 h 32"/>
                <a:gd name="T2" fmla="*/ 76 w 85"/>
                <a:gd name="T3" fmla="*/ 30 h 32"/>
                <a:gd name="T4" fmla="*/ 65 w 85"/>
                <a:gd name="T5" fmla="*/ 12 h 32"/>
                <a:gd name="T6" fmla="*/ 63 w 85"/>
                <a:gd name="T7" fmla="*/ 16 h 32"/>
                <a:gd name="T8" fmla="*/ 68 w 85"/>
                <a:gd name="T9" fmla="*/ 26 h 32"/>
                <a:gd name="T10" fmla="*/ 66 w 85"/>
                <a:gd name="T11" fmla="*/ 28 h 32"/>
                <a:gd name="T12" fmla="*/ 60 w 85"/>
                <a:gd name="T13" fmla="*/ 14 h 32"/>
                <a:gd name="T14" fmla="*/ 62 w 85"/>
                <a:gd name="T15" fmla="*/ 9 h 32"/>
                <a:gd name="T16" fmla="*/ 64 w 85"/>
                <a:gd name="T17" fmla="*/ 8 h 32"/>
                <a:gd name="T18" fmla="*/ 58 w 85"/>
                <a:gd name="T19" fmla="*/ 3 h 32"/>
                <a:gd name="T20" fmla="*/ 85 w 85"/>
                <a:gd name="T21" fmla="*/ 3 h 32"/>
                <a:gd name="T22" fmla="*/ 60 w 85"/>
                <a:gd name="T23" fmla="*/ 3 h 32"/>
                <a:gd name="T24" fmla="*/ 52 w 85"/>
                <a:gd name="T25" fmla="*/ 8 h 32"/>
                <a:gd name="T26" fmla="*/ 52 w 85"/>
                <a:gd name="T27" fmla="*/ 25 h 32"/>
                <a:gd name="T28" fmla="*/ 54 w 85"/>
                <a:gd name="T29" fmla="*/ 32 h 32"/>
                <a:gd name="T30" fmla="*/ 49 w 85"/>
                <a:gd name="T31" fmla="*/ 25 h 32"/>
                <a:gd name="T32" fmla="*/ 43 w 85"/>
                <a:gd name="T33" fmla="*/ 16 h 32"/>
                <a:gd name="T34" fmla="*/ 43 w 85"/>
                <a:gd name="T35" fmla="*/ 11 h 32"/>
                <a:gd name="T36" fmla="*/ 37 w 85"/>
                <a:gd name="T37" fmla="*/ 3 h 32"/>
                <a:gd name="T38" fmla="*/ 60 w 85"/>
                <a:gd name="T39" fmla="*/ 3 h 32"/>
                <a:gd name="T40" fmla="*/ 38 w 85"/>
                <a:gd name="T41" fmla="*/ 3 h 32"/>
                <a:gd name="T42" fmla="*/ 30 w 85"/>
                <a:gd name="T43" fmla="*/ 30 h 32"/>
                <a:gd name="T44" fmla="*/ 26 w 85"/>
                <a:gd name="T45" fmla="*/ 0 h 32"/>
                <a:gd name="T46" fmla="*/ 28 w 85"/>
                <a:gd name="T47" fmla="*/ 3 h 32"/>
                <a:gd name="T48" fmla="*/ 23 w 85"/>
                <a:gd name="T49" fmla="*/ 3 h 32"/>
                <a:gd name="T50" fmla="*/ 20 w 85"/>
                <a:gd name="T51" fmla="*/ 3 h 32"/>
                <a:gd name="T52" fmla="*/ 28 w 85"/>
                <a:gd name="T53" fmla="*/ 0 h 32"/>
                <a:gd name="T54" fmla="*/ 9 w 85"/>
                <a:gd name="T55" fmla="*/ 4 h 32"/>
                <a:gd name="T56" fmla="*/ 7 w 85"/>
                <a:gd name="T57" fmla="*/ 3 h 32"/>
                <a:gd name="T58" fmla="*/ 3 w 85"/>
                <a:gd name="T59" fmla="*/ 5 h 32"/>
                <a:gd name="T60" fmla="*/ 6 w 85"/>
                <a:gd name="T61" fmla="*/ 8 h 32"/>
                <a:gd name="T62" fmla="*/ 21 w 85"/>
                <a:gd name="T63" fmla="*/ 17 h 32"/>
                <a:gd name="T64" fmla="*/ 12 w 85"/>
                <a:gd name="T65" fmla="*/ 17 h 32"/>
                <a:gd name="T66" fmla="*/ 12 w 85"/>
                <a:gd name="T67" fmla="*/ 22 h 32"/>
                <a:gd name="T68" fmla="*/ 9 w 85"/>
                <a:gd name="T69" fmla="*/ 22 h 32"/>
                <a:gd name="T70" fmla="*/ 4 w 85"/>
                <a:gd name="T71" fmla="*/ 15 h 32"/>
                <a:gd name="T72" fmla="*/ 5 w 85"/>
                <a:gd name="T73" fmla="*/ 14 h 32"/>
                <a:gd name="T74" fmla="*/ 9 w 85"/>
                <a:gd name="T75" fmla="*/ 11 h 32"/>
                <a:gd name="T76" fmla="*/ 0 w 85"/>
                <a:gd name="T77" fmla="*/ 5 h 32"/>
                <a:gd name="T78" fmla="*/ 5 w 85"/>
                <a:gd name="T79" fmla="*/ 0 h 32"/>
                <a:gd name="T80" fmla="*/ 12 w 85"/>
                <a:gd name="T81" fmla="*/ 5 h 32"/>
                <a:gd name="T82" fmla="*/ 21 w 85"/>
                <a:gd name="T83" fmla="*/ 17 h 32"/>
                <a:gd name="T84" fmla="*/ 17 w 85"/>
                <a:gd name="T85" fmla="*/ 3 h 32"/>
                <a:gd name="T86" fmla="*/ 18 w 85"/>
                <a:gd name="T8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" h="32">
                  <a:moveTo>
                    <a:pt x="85" y="3"/>
                  </a:moveTo>
                  <a:cubicBezTo>
                    <a:pt x="84" y="3"/>
                    <a:pt x="84" y="3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5" y="12"/>
                    <a:pt x="65" y="12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4"/>
                    <a:pt x="63" y="14"/>
                    <a:pt x="63" y="14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63" y="17"/>
                    <a:pt x="63" y="19"/>
                    <a:pt x="64" y="20"/>
                  </a:cubicBezTo>
                  <a:cubicBezTo>
                    <a:pt x="65" y="22"/>
                    <a:pt x="66" y="23"/>
                    <a:pt x="67" y="25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9" y="27"/>
                    <a:pt x="70" y="28"/>
                    <a:pt x="71" y="29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30"/>
                    <a:pt x="67" y="29"/>
                    <a:pt x="66" y="28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2" y="22"/>
                    <a:pt x="61" y="21"/>
                    <a:pt x="61" y="19"/>
                  </a:cubicBezTo>
                  <a:cubicBezTo>
                    <a:pt x="60" y="17"/>
                    <a:pt x="60" y="16"/>
                    <a:pt x="60" y="14"/>
                  </a:cubicBezTo>
                  <a:cubicBezTo>
                    <a:pt x="60" y="13"/>
                    <a:pt x="60" y="12"/>
                    <a:pt x="60" y="11"/>
                  </a:cubicBezTo>
                  <a:cubicBezTo>
                    <a:pt x="61" y="11"/>
                    <a:pt x="61" y="11"/>
                    <a:pt x="61" y="10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5" y="0"/>
                    <a:pt x="85" y="0"/>
                    <a:pt x="85" y="0"/>
                  </a:cubicBezTo>
                  <a:lnTo>
                    <a:pt x="85" y="3"/>
                  </a:lnTo>
                  <a:close/>
                  <a:moveTo>
                    <a:pt x="60" y="3"/>
                  </a:moveTo>
                  <a:cubicBezTo>
                    <a:pt x="60" y="3"/>
                    <a:pt x="60" y="3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12"/>
                    <a:pt x="51" y="15"/>
                    <a:pt x="48" y="19"/>
                  </a:cubicBezTo>
                  <a:cubicBezTo>
                    <a:pt x="48" y="20"/>
                    <a:pt x="49" y="21"/>
                    <a:pt x="49" y="22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5" y="29"/>
                    <a:pt x="56" y="29"/>
                    <a:pt x="57" y="30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2" y="14"/>
                    <a:pt x="42" y="14"/>
                    <a:pt x="42" y="14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1"/>
                    <a:pt x="43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0" y="3"/>
                  </a:lnTo>
                  <a:close/>
                  <a:moveTo>
                    <a:pt x="39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9" y="0"/>
                    <a:pt x="39" y="0"/>
                    <a:pt x="39" y="0"/>
                  </a:cubicBezTo>
                  <a:lnTo>
                    <a:pt x="39" y="3"/>
                  </a:lnTo>
                  <a:close/>
                  <a:moveTo>
                    <a:pt x="28" y="3"/>
                  </a:move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28" y="3"/>
                  </a:lnTo>
                  <a:close/>
                  <a:moveTo>
                    <a:pt x="9" y="8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5" y="2"/>
                    <a:pt x="4" y="3"/>
                    <a:pt x="4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7"/>
                    <a:pt x="4" y="7"/>
                    <a:pt x="5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lose/>
                  <a:moveTo>
                    <a:pt x="21" y="17"/>
                  </a:move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0" y="22"/>
                    <a:pt x="10" y="22"/>
                    <a:pt x="9" y="22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6" y="19"/>
                    <a:pt x="5" y="18"/>
                    <a:pt x="4" y="16"/>
                  </a:cubicBezTo>
                  <a:cubicBezTo>
                    <a:pt x="4" y="16"/>
                    <a:pt x="4" y="15"/>
                    <a:pt x="4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3" y="10"/>
                    <a:pt x="2" y="9"/>
                  </a:cubicBezTo>
                  <a:cubicBezTo>
                    <a:pt x="1" y="8"/>
                    <a:pt x="0" y="6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8" y="0"/>
                    <a:pt x="10" y="1"/>
                  </a:cubicBezTo>
                  <a:cubicBezTo>
                    <a:pt x="11" y="2"/>
                    <a:pt x="11" y="2"/>
                    <a:pt x="12" y="3"/>
                  </a:cubicBezTo>
                  <a:cubicBezTo>
                    <a:pt x="12" y="4"/>
                    <a:pt x="12" y="5"/>
                    <a:pt x="12" y="5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21" y="14"/>
                    <a:pt x="21" y="14"/>
                    <a:pt x="21" y="14"/>
                  </a:cubicBezTo>
                  <a:lnTo>
                    <a:pt x="21" y="17"/>
                  </a:lnTo>
                  <a:close/>
                  <a:moveTo>
                    <a:pt x="18" y="3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18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" name="Group 20891"/>
          <p:cNvGrpSpPr>
            <a:grpSpLocks noChangeAspect="1"/>
          </p:cNvGrpSpPr>
          <p:nvPr/>
        </p:nvGrpSpPr>
        <p:grpSpPr bwMode="auto">
          <a:xfrm>
            <a:off x="0" y="6618288"/>
            <a:ext cx="12192000" cy="284162"/>
            <a:chOff x="0" y="4169"/>
            <a:chExt cx="7680" cy="179"/>
          </a:xfrm>
        </p:grpSpPr>
        <p:sp>
          <p:nvSpPr>
            <p:cNvPr id="6" name="AutoShape 20890"/>
            <p:cNvSpPr>
              <a:spLocks noChangeAspect="1" noChangeArrowheads="1" noTextEdit="1"/>
            </p:cNvSpPr>
            <p:nvPr/>
          </p:nvSpPr>
          <p:spPr bwMode="auto">
            <a:xfrm>
              <a:off x="0" y="4169"/>
              <a:ext cx="7680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Rectangle 20892"/>
            <p:cNvSpPr>
              <a:spLocks noChangeArrowheads="1"/>
            </p:cNvSpPr>
            <p:nvPr/>
          </p:nvSpPr>
          <p:spPr bwMode="auto">
            <a:xfrm>
              <a:off x="0" y="4171"/>
              <a:ext cx="7680" cy="177"/>
            </a:xfrm>
            <a:prstGeom prst="rect">
              <a:avLst/>
            </a:prstGeom>
            <a:solidFill>
              <a:srgbClr val="BF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33958" name="Picture 3395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8194" y="1417093"/>
            <a:ext cx="5684039" cy="5440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25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0" y="294467"/>
            <a:ext cx="12192000" cy="696103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>
              <a:latin typeface="Roboto Black" panose="0200000000000000000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227C79EE-54F4-4E46-B3CD-2F2CAEFD44E0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3942219" y="3677908"/>
            <a:ext cx="1052" cy="194150"/>
          </a:xfrm>
          <a:prstGeom prst="line">
            <a:avLst/>
          </a:prstGeom>
          <a:ln w="28575">
            <a:solidFill>
              <a:srgbClr val="3DC9E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5979255A-3A91-43D2-8D53-5C791D825845}"/>
              </a:ext>
            </a:extLst>
          </p:cNvPr>
          <p:cNvCxnSpPr>
            <a:cxnSpLocks/>
          </p:cNvCxnSpPr>
          <p:nvPr/>
        </p:nvCxnSpPr>
        <p:spPr>
          <a:xfrm flipH="1">
            <a:off x="6905093" y="2986539"/>
            <a:ext cx="2" cy="861132"/>
          </a:xfrm>
          <a:prstGeom prst="line">
            <a:avLst/>
          </a:prstGeom>
          <a:ln w="28575">
            <a:solidFill>
              <a:srgbClr val="FF8588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5B7BC1E6-CF8F-472E-8157-18B8A48D6871}"/>
              </a:ext>
            </a:extLst>
          </p:cNvPr>
          <p:cNvCxnSpPr>
            <a:cxnSpLocks/>
          </p:cNvCxnSpPr>
          <p:nvPr/>
        </p:nvCxnSpPr>
        <p:spPr>
          <a:xfrm>
            <a:off x="9783941" y="2998174"/>
            <a:ext cx="2" cy="869790"/>
          </a:xfrm>
          <a:prstGeom prst="line">
            <a:avLst/>
          </a:prstGeom>
          <a:ln w="28575">
            <a:solidFill>
              <a:srgbClr val="FF703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14">
            <a:extLst>
              <a:ext uri="{FF2B5EF4-FFF2-40B4-BE49-F238E27FC236}">
                <a16:creationId xmlns:a16="http://schemas.microsoft.com/office/drawing/2014/main" xmlns="" id="{FBF39AE9-4E17-403E-9A34-AC4F86D02F74}"/>
              </a:ext>
            </a:extLst>
          </p:cNvPr>
          <p:cNvSpPr/>
          <p:nvPr/>
        </p:nvSpPr>
        <p:spPr>
          <a:xfrm>
            <a:off x="2787188" y="3872058"/>
            <a:ext cx="2310062" cy="2381598"/>
          </a:xfrm>
          <a:prstGeom prst="roundRect">
            <a:avLst/>
          </a:prstGeom>
          <a:noFill/>
          <a:ln w="28575">
            <a:solidFill>
              <a:srgbClr val="3DC9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EDUC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HEALT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HOUSING AND SHELT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WASH AND SW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MOBI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SAFETY AND SECUR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RECREATION</a:t>
            </a:r>
          </a:p>
        </p:txBody>
      </p:sp>
      <p:sp>
        <p:nvSpPr>
          <p:cNvPr id="8" name="Rectangle: Rounded Corners 15">
            <a:extLst>
              <a:ext uri="{FF2B5EF4-FFF2-40B4-BE49-F238E27FC236}">
                <a16:creationId xmlns:a16="http://schemas.microsoft.com/office/drawing/2014/main" xmlns="" id="{A292325B-942A-4521-BD27-24AFCDB1AD58}"/>
              </a:ext>
            </a:extLst>
          </p:cNvPr>
          <p:cNvSpPr/>
          <p:nvPr/>
        </p:nvSpPr>
        <p:spPr>
          <a:xfrm>
            <a:off x="5836980" y="3857611"/>
            <a:ext cx="2388480" cy="2381598"/>
          </a:xfrm>
          <a:prstGeom prst="roundRect">
            <a:avLst/>
          </a:prstGeom>
          <a:noFill/>
          <a:ln w="28575">
            <a:solidFill>
              <a:srgbClr val="FF85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LEVEL OF ECONOMIC DEVELO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Black" panose="0200000000000000000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ECONOMIC OPPORTUNITIES</a:t>
            </a:r>
            <a:b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</a:b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Black" panose="0200000000000000000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GINI COEFFICIENT</a:t>
            </a:r>
          </a:p>
        </p:txBody>
      </p:sp>
      <p:sp>
        <p:nvSpPr>
          <p:cNvPr id="9" name="Rectangle: Rounded Corners 16">
            <a:extLst>
              <a:ext uri="{FF2B5EF4-FFF2-40B4-BE49-F238E27FC236}">
                <a16:creationId xmlns:a16="http://schemas.microsoft.com/office/drawing/2014/main" xmlns="" id="{F1A48DAC-C830-4860-86D7-AFD426FE1DEC}"/>
              </a:ext>
            </a:extLst>
          </p:cNvPr>
          <p:cNvSpPr/>
          <p:nvPr/>
        </p:nvSpPr>
        <p:spPr>
          <a:xfrm>
            <a:off x="8704002" y="3867964"/>
            <a:ext cx="2429955" cy="2385692"/>
          </a:xfrm>
          <a:prstGeom prst="roundRect">
            <a:avLst/>
          </a:prstGeom>
          <a:noFill/>
          <a:ln w="28575">
            <a:solidFill>
              <a:srgbClr val="FF70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ENVIRON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GREEN SPACES AND BUILDINGS</a:t>
            </a:r>
            <a:b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</a:b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Black" panose="0200000000000000000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ENERGY CONSUMPTION</a:t>
            </a:r>
            <a:b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</a:b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Black" panose="0200000000000000000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CITY RESILIENCE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B3CE2A8D-1233-4DC2-93D2-DC5B357DE5A7}"/>
              </a:ext>
            </a:extLst>
          </p:cNvPr>
          <p:cNvSpPr/>
          <p:nvPr/>
        </p:nvSpPr>
        <p:spPr>
          <a:xfrm>
            <a:off x="5554451" y="609225"/>
            <a:ext cx="2863514" cy="116729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/>
            </a:endParaRPr>
          </a:p>
        </p:txBody>
      </p:sp>
      <p:sp>
        <p:nvSpPr>
          <p:cNvPr id="11" name="TextBox 41">
            <a:extLst>
              <a:ext uri="{FF2B5EF4-FFF2-40B4-BE49-F238E27FC236}">
                <a16:creationId xmlns:a16="http://schemas.microsoft.com/office/drawing/2014/main" xmlns="" id="{2D6785FC-C92E-436D-9F9D-17ED7DC1AC8D}"/>
              </a:ext>
            </a:extLst>
          </p:cNvPr>
          <p:cNvSpPr txBox="1"/>
          <p:nvPr/>
        </p:nvSpPr>
        <p:spPr>
          <a:xfrm>
            <a:off x="6042748" y="719658"/>
            <a:ext cx="19769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/>
              </a:rPr>
              <a:t>EASE OF LIVING 2019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C0E233CF-02C2-429A-A978-60425BDA6A5D}"/>
              </a:ext>
            </a:extLst>
          </p:cNvPr>
          <p:cNvCxnSpPr>
            <a:cxnSpLocks/>
          </p:cNvCxnSpPr>
          <p:nvPr/>
        </p:nvCxnSpPr>
        <p:spPr>
          <a:xfrm flipV="1">
            <a:off x="6902778" y="1789909"/>
            <a:ext cx="0" cy="229391"/>
          </a:xfrm>
          <a:prstGeom prst="straightConnector1">
            <a:avLst/>
          </a:prstGeom>
          <a:ln w="28575">
            <a:solidFill>
              <a:srgbClr val="FF8588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FA3AA889-1D4C-4FF8-BF47-1B7DBCDA6104}"/>
              </a:ext>
            </a:extLst>
          </p:cNvPr>
          <p:cNvCxnSpPr>
            <a:cxnSpLocks/>
          </p:cNvCxnSpPr>
          <p:nvPr/>
        </p:nvCxnSpPr>
        <p:spPr>
          <a:xfrm flipH="1" flipV="1">
            <a:off x="3942219" y="1194294"/>
            <a:ext cx="15187" cy="825006"/>
          </a:xfrm>
          <a:prstGeom prst="line">
            <a:avLst/>
          </a:prstGeom>
          <a:ln w="28575">
            <a:solidFill>
              <a:srgbClr val="3DC9E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32F039C2-D439-4806-8A59-1D47C6A32654}"/>
              </a:ext>
            </a:extLst>
          </p:cNvPr>
          <p:cNvCxnSpPr>
            <a:cxnSpLocks/>
          </p:cNvCxnSpPr>
          <p:nvPr/>
        </p:nvCxnSpPr>
        <p:spPr>
          <a:xfrm flipH="1" flipV="1">
            <a:off x="9852784" y="1187144"/>
            <a:ext cx="1" cy="832157"/>
          </a:xfrm>
          <a:prstGeom prst="line">
            <a:avLst/>
          </a:prstGeom>
          <a:ln w="28575">
            <a:solidFill>
              <a:srgbClr val="FF703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xmlns="" id="{1CFC520D-8079-4A5D-887A-805C150A6314}"/>
              </a:ext>
            </a:extLst>
          </p:cNvPr>
          <p:cNvCxnSpPr>
            <a:cxnSpLocks/>
          </p:cNvCxnSpPr>
          <p:nvPr/>
        </p:nvCxnSpPr>
        <p:spPr>
          <a:xfrm>
            <a:off x="3925748" y="1187144"/>
            <a:ext cx="1597045" cy="0"/>
          </a:xfrm>
          <a:prstGeom prst="straightConnector1">
            <a:avLst/>
          </a:prstGeom>
          <a:ln w="28575">
            <a:solidFill>
              <a:srgbClr val="3DC9E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9412B4FC-3FD4-4AA4-A8BF-3F2315849C85}"/>
              </a:ext>
            </a:extLst>
          </p:cNvPr>
          <p:cNvCxnSpPr>
            <a:cxnSpLocks/>
          </p:cNvCxnSpPr>
          <p:nvPr/>
        </p:nvCxnSpPr>
        <p:spPr>
          <a:xfrm flipH="1" flipV="1">
            <a:off x="8417965" y="1194294"/>
            <a:ext cx="1434819" cy="1"/>
          </a:xfrm>
          <a:prstGeom prst="straightConnector1">
            <a:avLst/>
          </a:prstGeom>
          <a:ln w="28575">
            <a:solidFill>
              <a:srgbClr val="FF703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744D499D-3BC3-48E3-8777-D0CB0EF341F2}"/>
              </a:ext>
            </a:extLst>
          </p:cNvPr>
          <p:cNvSpPr/>
          <p:nvPr/>
        </p:nvSpPr>
        <p:spPr>
          <a:xfrm>
            <a:off x="3014357" y="1789909"/>
            <a:ext cx="2181398" cy="1818188"/>
          </a:xfrm>
          <a:prstGeom prst="ellipse">
            <a:avLst/>
          </a:prstGeom>
          <a:solidFill>
            <a:srgbClr val="3DC9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F27A8CB1-A3E9-49D0-8B2F-547F8DD6840B}"/>
              </a:ext>
            </a:extLst>
          </p:cNvPr>
          <p:cNvSpPr/>
          <p:nvPr/>
        </p:nvSpPr>
        <p:spPr>
          <a:xfrm>
            <a:off x="6136526" y="1786457"/>
            <a:ext cx="2088934" cy="1821639"/>
          </a:xfrm>
          <a:prstGeom prst="ellipse">
            <a:avLst/>
          </a:prstGeom>
          <a:solidFill>
            <a:srgbClr val="FF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036E3D32-1309-4B6B-A555-39DFC73E96E0}"/>
              </a:ext>
            </a:extLst>
          </p:cNvPr>
          <p:cNvSpPr/>
          <p:nvPr/>
        </p:nvSpPr>
        <p:spPr>
          <a:xfrm>
            <a:off x="8784321" y="1776517"/>
            <a:ext cx="2160563" cy="1831580"/>
          </a:xfrm>
          <a:prstGeom prst="ellipse">
            <a:avLst/>
          </a:prstGeom>
          <a:solidFill>
            <a:srgbClr val="FF70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/>
            </a:endParaRPr>
          </a:p>
        </p:txBody>
      </p:sp>
      <p:sp>
        <p:nvSpPr>
          <p:cNvPr id="20" name="TextBox 8">
            <a:extLst>
              <a:ext uri="{FF2B5EF4-FFF2-40B4-BE49-F238E27FC236}">
                <a16:creationId xmlns:a16="http://schemas.microsoft.com/office/drawing/2014/main" xmlns="" id="{36D60CFA-1D8B-42B3-8FDE-5CA3BC8CB10D}"/>
              </a:ext>
            </a:extLst>
          </p:cNvPr>
          <p:cNvSpPr txBox="1"/>
          <p:nvPr/>
        </p:nvSpPr>
        <p:spPr>
          <a:xfrm>
            <a:off x="3041135" y="2292797"/>
            <a:ext cx="19555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QUALITY OF LIFE</a:t>
            </a:r>
          </a:p>
        </p:txBody>
      </p:sp>
      <p:sp>
        <p:nvSpPr>
          <p:cNvPr id="21" name="TextBox 7">
            <a:extLst>
              <a:ext uri="{FF2B5EF4-FFF2-40B4-BE49-F238E27FC236}">
                <a16:creationId xmlns:a16="http://schemas.microsoft.com/office/drawing/2014/main" xmlns="" id="{44A140A5-E05B-43A0-ABEB-B2E8C6A26F7A}"/>
              </a:ext>
            </a:extLst>
          </p:cNvPr>
          <p:cNvSpPr txBox="1"/>
          <p:nvPr/>
        </p:nvSpPr>
        <p:spPr>
          <a:xfrm>
            <a:off x="6128878" y="2283504"/>
            <a:ext cx="2096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ECONOMIC</a:t>
            </a:r>
            <a:r>
              <a:rPr kumimoji="0" lang="en-I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 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ABILITY</a:t>
            </a:r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xmlns="" id="{D96087E0-7CFC-4A6B-81DD-4517FE492B81}"/>
              </a:ext>
            </a:extLst>
          </p:cNvPr>
          <p:cNvSpPr txBox="1"/>
          <p:nvPr/>
        </p:nvSpPr>
        <p:spPr>
          <a:xfrm>
            <a:off x="8595246" y="2223572"/>
            <a:ext cx="25387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SUSTA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/>
              </a:rPr>
              <a:t>ABILITY</a:t>
            </a: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xmlns="" id="{5B577304-8643-B048-A4BE-4465F74B7B72}"/>
              </a:ext>
            </a:extLst>
          </p:cNvPr>
          <p:cNvSpPr/>
          <p:nvPr/>
        </p:nvSpPr>
        <p:spPr>
          <a:xfrm>
            <a:off x="1139634" y="1155032"/>
            <a:ext cx="2115644" cy="600338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/>
              </a:rPr>
              <a:t>3 PILLARS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xmlns="" id="{A69AF4F7-1200-D543-AF8C-A78206B59396}"/>
              </a:ext>
            </a:extLst>
          </p:cNvPr>
          <p:cNvSpPr/>
          <p:nvPr/>
        </p:nvSpPr>
        <p:spPr>
          <a:xfrm>
            <a:off x="1058041" y="3317944"/>
            <a:ext cx="2695103" cy="523802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/>
              </a:rPr>
              <a:t>14 CATEGORIES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xmlns="" id="{09FF0646-132B-D446-9463-BEDE434141BC}"/>
              </a:ext>
            </a:extLst>
          </p:cNvPr>
          <p:cNvSpPr/>
          <p:nvPr/>
        </p:nvSpPr>
        <p:spPr>
          <a:xfrm>
            <a:off x="1058041" y="6283968"/>
            <a:ext cx="3666230" cy="574032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Black" panose="02000000000000000000"/>
              </a:rPr>
              <a:t>   50 INDICATORS</a:t>
            </a:r>
          </a:p>
        </p:txBody>
      </p: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0" y="-98094"/>
            <a:ext cx="12192000" cy="707319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en-US" dirty="0">
                <a:latin typeface="Roboto Black" panose="02000000000000000000"/>
              </a:rPr>
              <a:t>Ease of living</a:t>
            </a:r>
            <a:endParaRPr lang="en-GB" dirty="0">
              <a:latin typeface="Roboto Black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160374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804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8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ty GDP</a:t>
            </a:r>
          </a:p>
        </p:txBody>
      </p:sp>
      <p:grpSp>
        <p:nvGrpSpPr>
          <p:cNvPr id="7" name="Group 20891"/>
          <p:cNvGrpSpPr>
            <a:grpSpLocks noChangeAspect="1"/>
          </p:cNvGrpSpPr>
          <p:nvPr/>
        </p:nvGrpSpPr>
        <p:grpSpPr bwMode="auto">
          <a:xfrm>
            <a:off x="0" y="6618288"/>
            <a:ext cx="12192000" cy="284162"/>
            <a:chOff x="0" y="4169"/>
            <a:chExt cx="7680" cy="179"/>
          </a:xfrm>
        </p:grpSpPr>
        <p:sp>
          <p:nvSpPr>
            <p:cNvPr id="9" name="AutoShape 20890"/>
            <p:cNvSpPr>
              <a:spLocks noChangeAspect="1" noChangeArrowheads="1" noTextEdit="1"/>
            </p:cNvSpPr>
            <p:nvPr/>
          </p:nvSpPr>
          <p:spPr bwMode="auto">
            <a:xfrm>
              <a:off x="0" y="4169"/>
              <a:ext cx="7680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0892"/>
            <p:cNvSpPr>
              <a:spLocks noChangeArrowheads="1"/>
            </p:cNvSpPr>
            <p:nvPr/>
          </p:nvSpPr>
          <p:spPr bwMode="auto">
            <a:xfrm>
              <a:off x="0" y="4171"/>
              <a:ext cx="7680" cy="177"/>
            </a:xfrm>
            <a:prstGeom prst="rect">
              <a:avLst/>
            </a:prstGeom>
            <a:solidFill>
              <a:srgbClr val="BF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/>
          <a:srcRect l="1272" r="424" b="14461"/>
          <a:stretch/>
        </p:blipFill>
        <p:spPr>
          <a:xfrm>
            <a:off x="564444" y="1510549"/>
            <a:ext cx="4775201" cy="4968327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Rectangle 4"/>
          <p:cNvSpPr/>
          <p:nvPr/>
        </p:nvSpPr>
        <p:spPr>
          <a:xfrm>
            <a:off x="5658556" y="3060536"/>
            <a:ext cx="6096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  <a:ea typeface="Arial" panose="020B0604020202020204" pitchFamily="34" charset="0"/>
                <a:cs typeface="Arial" panose="020B0604020202020204" pitchFamily="34" charset="0"/>
              </a:rPr>
              <a:t>The city is not only the place where growth occurs..., but also is the engine of growth itself </a:t>
            </a:r>
            <a:endParaRPr lang="en-IN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1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047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limateSmart</a:t>
            </a:r>
            <a:r>
              <a:rPr lang="en-GB" dirty="0"/>
              <a:t> Cities Framework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/>
          <a:srcRect l="1146" t="14338" b="17054"/>
          <a:stretch/>
        </p:blipFill>
        <p:spPr>
          <a:xfrm>
            <a:off x="499789" y="1514764"/>
            <a:ext cx="5012012" cy="4921173"/>
          </a:xfrm>
          <a:prstGeom prst="rect">
            <a:avLst/>
          </a:prstGeom>
        </p:spPr>
      </p:pic>
      <p:grpSp>
        <p:nvGrpSpPr>
          <p:cNvPr id="7" name="Group 20891"/>
          <p:cNvGrpSpPr>
            <a:grpSpLocks noChangeAspect="1"/>
          </p:cNvGrpSpPr>
          <p:nvPr/>
        </p:nvGrpSpPr>
        <p:grpSpPr bwMode="auto">
          <a:xfrm>
            <a:off x="0" y="6618288"/>
            <a:ext cx="12192000" cy="284162"/>
            <a:chOff x="0" y="4169"/>
            <a:chExt cx="7680" cy="179"/>
          </a:xfrm>
        </p:grpSpPr>
        <p:sp>
          <p:nvSpPr>
            <p:cNvPr id="9" name="AutoShape 20890"/>
            <p:cNvSpPr>
              <a:spLocks noChangeAspect="1" noChangeArrowheads="1" noTextEdit="1"/>
            </p:cNvSpPr>
            <p:nvPr/>
          </p:nvSpPr>
          <p:spPr bwMode="auto">
            <a:xfrm>
              <a:off x="0" y="4169"/>
              <a:ext cx="7680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20892"/>
            <p:cNvSpPr>
              <a:spLocks noChangeArrowheads="1"/>
            </p:cNvSpPr>
            <p:nvPr/>
          </p:nvSpPr>
          <p:spPr bwMode="auto">
            <a:xfrm>
              <a:off x="0" y="4171"/>
              <a:ext cx="7680" cy="177"/>
            </a:xfrm>
            <a:prstGeom prst="rect">
              <a:avLst/>
            </a:prstGeom>
            <a:solidFill>
              <a:srgbClr val="BF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38900" y="1500167"/>
            <a:ext cx="5016500" cy="4935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84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0960" y="1364566"/>
            <a:ext cx="5923697" cy="55272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7777" y="2170863"/>
            <a:ext cx="3859983" cy="3914629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564444" y="365125"/>
            <a:ext cx="11063112" cy="7073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GB" dirty="0"/>
              <a:t>ClimateSmart Cities Assessment</a:t>
            </a:r>
          </a:p>
        </p:txBody>
      </p:sp>
    </p:spTree>
    <p:extLst>
      <p:ext uri="{BB962C8B-B14F-4D97-AF65-F5344CB8AC3E}">
        <p14:creationId xmlns:p14="http://schemas.microsoft.com/office/powerpoint/2010/main" val="1620465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521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nicipal Performance Index</a:t>
            </a:r>
            <a:endParaRPr lang="en-GB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660757" y="1502215"/>
            <a:ext cx="4393639" cy="4880111"/>
          </a:xfrm>
          <a:prstGeom prst="rect">
            <a:avLst/>
          </a:prstGeom>
        </p:spPr>
      </p:pic>
      <p:grpSp>
        <p:nvGrpSpPr>
          <p:cNvPr id="6" name="Group 20891"/>
          <p:cNvGrpSpPr>
            <a:grpSpLocks noChangeAspect="1"/>
          </p:cNvGrpSpPr>
          <p:nvPr/>
        </p:nvGrpSpPr>
        <p:grpSpPr bwMode="auto">
          <a:xfrm>
            <a:off x="0" y="6618288"/>
            <a:ext cx="12192000" cy="284162"/>
            <a:chOff x="0" y="4169"/>
            <a:chExt cx="7680" cy="179"/>
          </a:xfrm>
        </p:grpSpPr>
        <p:sp>
          <p:nvSpPr>
            <p:cNvPr id="7" name="AutoShape 20890"/>
            <p:cNvSpPr>
              <a:spLocks noChangeAspect="1" noChangeArrowheads="1" noTextEdit="1"/>
            </p:cNvSpPr>
            <p:nvPr/>
          </p:nvSpPr>
          <p:spPr bwMode="auto">
            <a:xfrm>
              <a:off x="0" y="4169"/>
              <a:ext cx="7680" cy="1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Rectangle 20892"/>
            <p:cNvSpPr>
              <a:spLocks noChangeArrowheads="1"/>
            </p:cNvSpPr>
            <p:nvPr/>
          </p:nvSpPr>
          <p:spPr bwMode="auto">
            <a:xfrm>
              <a:off x="0" y="4171"/>
              <a:ext cx="7680" cy="177"/>
            </a:xfrm>
            <a:prstGeom prst="rect">
              <a:avLst/>
            </a:prstGeom>
            <a:solidFill>
              <a:srgbClr val="BF232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4074" y="1545066"/>
            <a:ext cx="4805926" cy="4837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185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913930"/>
            <a:ext cx="5504836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US" sz="2800" dirty="0">
                <a:latin typeface="+mj-lt"/>
                <a:cs typeface="Times New Roman" panose="02020603050405020304" pitchFamily="18" charset="0"/>
              </a:rPr>
              <a:t>Ministry of Housing and Urban Affairs (MoHUA) has created a roadmap highlighting the key </a:t>
            </a:r>
            <a:r>
              <a:rPr lang="en-US" sz="2800" b="1" dirty="0">
                <a:latin typeface="+mj-lt"/>
                <a:cs typeface="Times New Roman" panose="02020603050405020304" pitchFamily="18" charset="0"/>
              </a:rPr>
              <a:t>urban development outcomes</a:t>
            </a:r>
            <a:r>
              <a:rPr lang="en-US" sz="2800" dirty="0">
                <a:latin typeface="+mj-lt"/>
                <a:cs typeface="Times New Roman" panose="02020603050405020304" pitchFamily="18" charset="0"/>
              </a:rPr>
              <a:t> it intends to achieve by </a:t>
            </a:r>
            <a:r>
              <a:rPr lang="en-US" sz="2800" b="1" dirty="0">
                <a:latin typeface="+mj-lt"/>
                <a:cs typeface="Times New Roman" panose="02020603050405020304" pitchFamily="18" charset="0"/>
              </a:rPr>
              <a:t>2022 </a:t>
            </a:r>
            <a:r>
              <a:rPr lang="en-US" sz="2800" dirty="0">
                <a:latin typeface="+mj-lt"/>
                <a:cs typeface="Times New Roman" panose="02020603050405020304" pitchFamily="18" charset="0"/>
              </a:rPr>
              <a:t>and</a:t>
            </a:r>
            <a:r>
              <a:rPr lang="en-US" sz="2800" b="1" dirty="0">
                <a:latin typeface="+mj-lt"/>
                <a:cs typeface="Times New Roman" panose="02020603050405020304" pitchFamily="18" charset="0"/>
              </a:rPr>
              <a:t> 2024 </a:t>
            </a:r>
            <a:r>
              <a:rPr lang="en-US" sz="2800" dirty="0">
                <a:latin typeface="+mj-lt"/>
                <a:cs typeface="Times New Roman" panose="02020603050405020304" pitchFamily="18" charset="0"/>
              </a:rPr>
              <a:t>respectively.</a:t>
            </a:r>
          </a:p>
          <a:p>
            <a:pPr algn="just"/>
            <a:endParaRPr lang="en-US" sz="2800" dirty="0">
              <a:latin typeface="+mj-lt"/>
              <a:cs typeface="Times New Roman" panose="02020603050405020304" pitchFamily="18" charset="0"/>
            </a:endParaRP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  <a:cs typeface="Times New Roman" panose="02020603050405020304" pitchFamily="18" charset="0"/>
              </a:rPr>
              <a:t>Ease of Living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  <a:cs typeface="Times New Roman" panose="02020603050405020304" pitchFamily="18" charset="0"/>
              </a:rPr>
              <a:t>Responsive Governance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  <a:cs typeface="Times New Roman" panose="02020603050405020304" pitchFamily="18" charset="0"/>
              </a:rPr>
              <a:t>Sustainable Environment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  <a:cs typeface="Times New Roman" panose="02020603050405020304" pitchFamily="18" charset="0"/>
              </a:rPr>
              <a:t>Economic Growth</a:t>
            </a:r>
            <a:endParaRPr lang="en-GB" sz="2800" dirty="0">
              <a:latin typeface="+mj-lt"/>
              <a:cs typeface="Times New Roman" panose="02020603050405020304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>
            <a:off x="5602310" y="1358482"/>
            <a:ext cx="25758" cy="4707467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xmlns="" id="{5D438939-CACF-4E12-AAAD-83B9022254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984" y="171547"/>
            <a:ext cx="8567183" cy="540544"/>
          </a:xfrm>
        </p:spPr>
        <p:txBody>
          <a:bodyPr>
            <a:normAutofit fontScale="90000"/>
          </a:bodyPr>
          <a:lstStyle/>
          <a:p>
            <a:r>
              <a:rPr lang="en-IN" dirty="0"/>
              <a:t>Backgroun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483095" y="5361712"/>
            <a:ext cx="4794505" cy="48490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10B34FE-F421-4C06-8B81-EA74DCADC5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5542" y="2004997"/>
            <a:ext cx="6202160" cy="384162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120084B-E6CE-4650-82D4-E82176C67FA1}"/>
              </a:ext>
            </a:extLst>
          </p:cNvPr>
          <p:cNvSpPr txBox="1"/>
          <p:nvPr/>
        </p:nvSpPr>
        <p:spPr>
          <a:xfrm>
            <a:off x="6202017" y="1622187"/>
            <a:ext cx="5512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Three Level Strategy </a:t>
            </a:r>
          </a:p>
        </p:txBody>
      </p:sp>
    </p:spTree>
    <p:extLst>
      <p:ext uri="{BB962C8B-B14F-4D97-AF65-F5344CB8AC3E}">
        <p14:creationId xmlns:p14="http://schemas.microsoft.com/office/powerpoint/2010/main" val="304602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514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>
          <a:xfrm>
            <a:off x="173038" y="4073236"/>
            <a:ext cx="4703762" cy="2576802"/>
          </a:xfrm>
        </p:spPr>
        <p:txBody>
          <a:bodyPr>
            <a:normAutofit/>
          </a:bodyPr>
          <a:lstStyle/>
          <a:p>
            <a:r>
              <a:rPr lang="en-US" sz="2000" i="1" dirty="0">
                <a:latin typeface="Roboto Light" panose="02000000000000000000" pitchFamily="2" charset="0"/>
                <a:ea typeface="Roboto Light" panose="02000000000000000000" pitchFamily="2" charset="0"/>
              </a:rPr>
              <a:t>Smart Cities Mission is not only about improving infrastructure in cities. It is the Mission that gives new identity to the Nation, the epitome of Young India, the New India.</a:t>
            </a:r>
          </a:p>
          <a:p>
            <a:endParaRPr lang="en-US" sz="2000" dirty="0"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algn="r"/>
            <a:r>
              <a:rPr lang="en-US" sz="1800" b="1" dirty="0">
                <a:latin typeface="Roboto Light" panose="02000000000000000000" pitchFamily="2" charset="0"/>
                <a:ea typeface="Roboto Light" panose="02000000000000000000" pitchFamily="2" charset="0"/>
              </a:rPr>
              <a:t>- Hon’ble Prime Minister </a:t>
            </a:r>
            <a:r>
              <a:rPr lang="en-US" sz="1800" dirty="0">
                <a:latin typeface="Roboto Light" panose="02000000000000000000" pitchFamily="2" charset="0"/>
                <a:ea typeface="Roboto Light" panose="02000000000000000000" pitchFamily="2" charset="0"/>
              </a:rPr>
              <a:t/>
            </a:r>
            <a:br>
              <a:rPr lang="en-US" sz="1800" dirty="0"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en-US" dirty="0">
                <a:latin typeface="Roboto Light" panose="02000000000000000000" pitchFamily="2" charset="0"/>
                <a:ea typeface="Roboto Light" panose="02000000000000000000" pitchFamily="2" charset="0"/>
              </a:rPr>
              <a:t>(from his speech at Varanasi on 14 July 2018)</a:t>
            </a:r>
            <a:endParaRPr lang="en-GB" dirty="0"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32" b="65271"/>
          <a:stretch/>
        </p:blipFill>
        <p:spPr>
          <a:xfrm>
            <a:off x="188421" y="1333571"/>
            <a:ext cx="4669329" cy="2577181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68" t="22994" r="10241" b="6624"/>
          <a:stretch/>
        </p:blipFill>
        <p:spPr>
          <a:xfrm>
            <a:off x="5140839" y="-1"/>
            <a:ext cx="7198373" cy="407963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7" r="1199"/>
          <a:stretch/>
        </p:blipFill>
        <p:spPr>
          <a:xfrm>
            <a:off x="5140839" y="4161693"/>
            <a:ext cx="3204048" cy="26963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8" t="2765" r="278" b="1203"/>
          <a:stretch/>
        </p:blipFill>
        <p:spPr>
          <a:xfrm>
            <a:off x="8364279" y="4163327"/>
            <a:ext cx="3827721" cy="269467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0" y="0"/>
            <a:ext cx="12317506" cy="1381991"/>
          </a:xfrm>
          <a:prstGeom prst="rect">
            <a:avLst/>
          </a:prstGeom>
          <a:solidFill>
            <a:srgbClr val="113037"/>
          </a:solidFill>
        </p:spPr>
        <p:txBody>
          <a:bodyPr wrap="square" lIns="91440" anchor="ctr">
            <a:noAutofit/>
          </a:bodyPr>
          <a:lstStyle/>
          <a:p>
            <a:pPr marL="457200">
              <a:lnSpc>
                <a:spcPct val="90000"/>
              </a:lnSpc>
              <a:spcBef>
                <a:spcPct val="0"/>
              </a:spcBef>
            </a:pPr>
            <a:r>
              <a:rPr lang="en-IN" sz="44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rPr>
              <a:t>India Smart Cities Fellowships</a:t>
            </a:r>
            <a:endParaRPr lang="en-GB" sz="4400" dirty="0">
              <a:solidFill>
                <a:schemeClr val="bg1"/>
              </a:solidFill>
              <a:latin typeface="Roboto Black" panose="02000000000000000000" pitchFamily="2" charset="0"/>
              <a:ea typeface="Roboto Black" panose="02000000000000000000" pitchFamily="2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95532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281B13DB-871A-4CCA-86E1-88491AF2B2A6}"/>
              </a:ext>
            </a:extLst>
          </p:cNvPr>
          <p:cNvGraphicFramePr/>
          <p:nvPr/>
        </p:nvGraphicFramePr>
        <p:xfrm>
          <a:off x="562707" y="1448973"/>
          <a:ext cx="11422966" cy="4378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63112" cy="707319"/>
          </a:xfrm>
        </p:spPr>
        <p:txBody>
          <a:bodyPr/>
          <a:lstStyle/>
          <a:p>
            <a:r>
              <a:rPr lang="en-US" dirty="0"/>
              <a:t>Mission Strateg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1613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6697848" y="2231110"/>
            <a:ext cx="5189337" cy="3615508"/>
            <a:chOff x="3192663" y="2231110"/>
            <a:chExt cx="5802635" cy="4626890"/>
          </a:xfrm>
        </p:grpSpPr>
        <p:sp>
          <p:nvSpPr>
            <p:cNvPr id="11" name="Rectangle 10"/>
            <p:cNvSpPr/>
            <p:nvPr/>
          </p:nvSpPr>
          <p:spPr>
            <a:xfrm>
              <a:off x="5839449" y="275127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836733" y="326555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836733" y="378186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836733" y="430452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836733" y="482083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836733" y="533714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836733" y="585345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836733" y="636342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797765" y="326373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797765" y="378004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797765" y="430270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797765" y="481901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88657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886571" y="378639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886571" y="429817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886571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268765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268765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268765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268765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726188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726188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726188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726188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268765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726188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268765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726188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721662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732532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197189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197189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192663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203532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3203532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3209876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424622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424622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424622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7424622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424622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7424622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7962673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7962673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962673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7962673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962673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7962673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7958147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7969016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849438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8494381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8489855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500724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8500724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8496198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7" name="Rectangle 66"/>
          <p:cNvSpPr/>
          <p:nvPr/>
        </p:nvSpPr>
        <p:spPr>
          <a:xfrm>
            <a:off x="9050971" y="1990167"/>
            <a:ext cx="494574" cy="4945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8534658" y="1413164"/>
            <a:ext cx="494574" cy="494574"/>
          </a:xfrm>
          <a:prstGeom prst="rect">
            <a:avLst/>
          </a:prstGeom>
          <a:solidFill>
            <a:srgbClr val="F99D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/>
        </p:nvSpPr>
        <p:spPr>
          <a:xfrm>
            <a:off x="9578153" y="1413164"/>
            <a:ext cx="494574" cy="494574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/>
          <p:cNvSpPr/>
          <p:nvPr/>
        </p:nvSpPr>
        <p:spPr>
          <a:xfrm>
            <a:off x="-33861" y="3607988"/>
            <a:ext cx="541237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>
                <a:solidFill>
                  <a:srgbClr val="516283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rPr>
              <a:t>Data Driven Governance </a:t>
            </a:r>
            <a:endParaRPr lang="en-IN" sz="4400" dirty="0">
              <a:solidFill>
                <a:srgbClr val="516283"/>
              </a:solidFill>
              <a:latin typeface="Roboto Black" panose="02000000000000000000" pitchFamily="2" charset="0"/>
              <a:ea typeface="Roboto Black" panose="02000000000000000000" pitchFamily="2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42398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6" name="Picture 355"/>
          <p:cNvPicPr>
            <a:picLocks noChangeAspect="1"/>
          </p:cNvPicPr>
          <p:nvPr/>
        </p:nvPicPr>
        <p:blipFill rotWithShape="1">
          <a:blip r:embed="rId2"/>
          <a:srcRect t="11055"/>
          <a:stretch/>
        </p:blipFill>
        <p:spPr>
          <a:xfrm>
            <a:off x="-112542" y="1287888"/>
            <a:ext cx="12304542" cy="486630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153405"/>
            <a:ext cx="5851025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5000" dirty="0">
                <a:solidFill>
                  <a:schemeClr val="bg1"/>
                </a:solidFill>
              </a:rPr>
              <a:t>DATA IS EVERYWHERE</a:t>
            </a:r>
          </a:p>
        </p:txBody>
      </p:sp>
    </p:spTree>
    <p:extLst>
      <p:ext uri="{BB962C8B-B14F-4D97-AF65-F5344CB8AC3E}">
        <p14:creationId xmlns:p14="http://schemas.microsoft.com/office/powerpoint/2010/main" val="3446391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30" y="1461303"/>
            <a:ext cx="1638027" cy="21153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4083" y="1481989"/>
            <a:ext cx="1597182" cy="195448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86306" y="1415458"/>
            <a:ext cx="3450207" cy="216121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234" y="4045888"/>
            <a:ext cx="3643915" cy="2044591"/>
          </a:xfrm>
          <a:prstGeom prst="rect">
            <a:avLst/>
          </a:prstGeom>
        </p:spPr>
      </p:pic>
      <p:sp>
        <p:nvSpPr>
          <p:cNvPr id="9" name="TextBox 9"/>
          <p:cNvSpPr txBox="1"/>
          <p:nvPr/>
        </p:nvSpPr>
        <p:spPr>
          <a:xfrm>
            <a:off x="675406" y="6122069"/>
            <a:ext cx="2374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F8F9F9"/>
                </a:solidFill>
              </a:rPr>
              <a:t>100 City Data Officer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4050270"/>
            <a:ext cx="3536326" cy="2013908"/>
          </a:xfrm>
          <a:prstGeom prst="rect">
            <a:avLst/>
          </a:prstGeom>
        </p:spPr>
      </p:pic>
      <p:sp>
        <p:nvSpPr>
          <p:cNvPr id="11" name="TextBox 11"/>
          <p:cNvSpPr txBox="1"/>
          <p:nvPr/>
        </p:nvSpPr>
        <p:spPr>
          <a:xfrm>
            <a:off x="527497" y="3471081"/>
            <a:ext cx="1208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Strategy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032975" y="3399557"/>
            <a:ext cx="34778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Maturity Assessment </a:t>
            </a:r>
          </a:p>
          <a:p>
            <a:pPr algn="ctr"/>
            <a:r>
              <a:rPr lang="en-GB" b="1" dirty="0"/>
              <a:t>Framework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71778" y="1378962"/>
            <a:ext cx="4510226" cy="2528832"/>
          </a:xfrm>
          <a:prstGeom prst="rect">
            <a:avLst/>
          </a:prstGeom>
        </p:spPr>
      </p:pic>
      <p:sp>
        <p:nvSpPr>
          <p:cNvPr id="14" name="TextBox 15"/>
          <p:cNvSpPr txBox="1"/>
          <p:nvPr/>
        </p:nvSpPr>
        <p:spPr>
          <a:xfrm>
            <a:off x="4156811" y="3678747"/>
            <a:ext cx="34778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1" dirty="0"/>
              <a:t>Smart Cities Open Data Portal</a:t>
            </a:r>
          </a:p>
        </p:txBody>
      </p:sp>
      <p:sp>
        <p:nvSpPr>
          <p:cNvPr id="15" name="TextBox 16"/>
          <p:cNvSpPr txBox="1"/>
          <p:nvPr/>
        </p:nvSpPr>
        <p:spPr>
          <a:xfrm>
            <a:off x="4696017" y="6122069"/>
            <a:ext cx="31949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>
                <a:solidFill>
                  <a:srgbClr val="F8F9F9"/>
                </a:solidFill>
              </a:rPr>
              <a:t>India Urban Observatory</a:t>
            </a:r>
          </a:p>
        </p:txBody>
      </p:sp>
      <p:sp>
        <p:nvSpPr>
          <p:cNvPr id="16" name="TextBox 17"/>
          <p:cNvSpPr txBox="1"/>
          <p:nvPr/>
        </p:nvSpPr>
        <p:spPr>
          <a:xfrm>
            <a:off x="8851252" y="3636072"/>
            <a:ext cx="3083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India Urban Data Exchang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63112" cy="707319"/>
          </a:xfrm>
        </p:spPr>
        <p:txBody>
          <a:bodyPr/>
          <a:lstStyle/>
          <a:p>
            <a:r>
              <a:rPr lang="en-IN" dirty="0"/>
              <a:t>Mission Initiatives on DATA Empower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6731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On behalf of 100 Smart Cities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l="-1" t="-397" r="1592"/>
          <a:stretch/>
        </p:blipFill>
        <p:spPr>
          <a:xfrm>
            <a:off x="347584" y="2579572"/>
            <a:ext cx="5687456" cy="305357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8"/>
          <a:srcRect l="937" t="721" r="-1" b="567"/>
          <a:stretch/>
        </p:blipFill>
        <p:spPr>
          <a:xfrm>
            <a:off x="6035040" y="2581937"/>
            <a:ext cx="5768833" cy="305120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499959" y="6077686"/>
            <a:ext cx="6320513" cy="7017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IN" sz="4400" i="1" dirty="0">
                <a:solidFill>
                  <a:srgbClr val="00206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rPr>
              <a:t>Special word of thanks to al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-2051"/>
          <a:stretch/>
        </p:blipFill>
        <p:spPr>
          <a:xfrm>
            <a:off x="0" y="-90152"/>
            <a:ext cx="12191999" cy="708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86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Rectangle 442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4310" y="1468192"/>
            <a:ext cx="7097690" cy="5389808"/>
          </a:xfrm>
          <a:prstGeom prst="rect">
            <a:avLst/>
          </a:prstGeom>
        </p:spPr>
      </p:pic>
      <p:sp>
        <p:nvSpPr>
          <p:cNvPr id="381" name="Rectangle 380"/>
          <p:cNvSpPr/>
          <p:nvPr/>
        </p:nvSpPr>
        <p:spPr>
          <a:xfrm>
            <a:off x="-1" y="1468192"/>
            <a:ext cx="5123207" cy="53898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198" tIns="30599" rIns="61198" bIns="305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sz="1205"/>
          </a:p>
        </p:txBody>
      </p:sp>
      <p:grpSp>
        <p:nvGrpSpPr>
          <p:cNvPr id="382" name="Group 46"/>
          <p:cNvGrpSpPr>
            <a:grpSpLocks noChangeAspect="1"/>
          </p:cNvGrpSpPr>
          <p:nvPr/>
        </p:nvGrpSpPr>
        <p:grpSpPr bwMode="auto">
          <a:xfrm>
            <a:off x="906566" y="2336509"/>
            <a:ext cx="2741798" cy="2747131"/>
            <a:chOff x="3324" y="1646"/>
            <a:chExt cx="1028" cy="1030"/>
          </a:xfrm>
          <a:solidFill>
            <a:srgbClr val="113037"/>
          </a:solidFill>
        </p:grpSpPr>
        <p:sp>
          <p:nvSpPr>
            <p:cNvPr id="383" name="Rectangle 47"/>
            <p:cNvSpPr>
              <a:spLocks noChangeArrowheads="1"/>
            </p:cNvSpPr>
            <p:nvPr/>
          </p:nvSpPr>
          <p:spPr bwMode="auto">
            <a:xfrm>
              <a:off x="3324" y="2029"/>
              <a:ext cx="73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84" name="Rectangle 48"/>
            <p:cNvSpPr>
              <a:spLocks noChangeArrowheads="1"/>
            </p:cNvSpPr>
            <p:nvPr/>
          </p:nvSpPr>
          <p:spPr bwMode="auto">
            <a:xfrm>
              <a:off x="4275" y="2029"/>
              <a:ext cx="77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85" name="Rectangle 49"/>
            <p:cNvSpPr>
              <a:spLocks noChangeArrowheads="1"/>
            </p:cNvSpPr>
            <p:nvPr/>
          </p:nvSpPr>
          <p:spPr bwMode="auto">
            <a:xfrm>
              <a:off x="3797" y="2122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86" name="Rectangle 50"/>
            <p:cNvSpPr>
              <a:spLocks noChangeArrowheads="1"/>
            </p:cNvSpPr>
            <p:nvPr/>
          </p:nvSpPr>
          <p:spPr bwMode="auto">
            <a:xfrm>
              <a:off x="3324" y="1932"/>
              <a:ext cx="73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87" name="Rectangle 51"/>
            <p:cNvSpPr>
              <a:spLocks noChangeArrowheads="1"/>
            </p:cNvSpPr>
            <p:nvPr/>
          </p:nvSpPr>
          <p:spPr bwMode="auto">
            <a:xfrm>
              <a:off x="4275" y="1932"/>
              <a:ext cx="77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88" name="Rectangle 52"/>
            <p:cNvSpPr>
              <a:spLocks noChangeArrowheads="1"/>
            </p:cNvSpPr>
            <p:nvPr/>
          </p:nvSpPr>
          <p:spPr bwMode="auto">
            <a:xfrm>
              <a:off x="3797" y="2027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89" name="Rectangle 53"/>
            <p:cNvSpPr>
              <a:spLocks noChangeArrowheads="1"/>
            </p:cNvSpPr>
            <p:nvPr/>
          </p:nvSpPr>
          <p:spPr bwMode="auto">
            <a:xfrm>
              <a:off x="3797" y="2217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0" name="Rectangle 54"/>
            <p:cNvSpPr>
              <a:spLocks noChangeArrowheads="1"/>
            </p:cNvSpPr>
            <p:nvPr/>
          </p:nvSpPr>
          <p:spPr bwMode="auto">
            <a:xfrm>
              <a:off x="3797" y="2315"/>
              <a:ext cx="76" cy="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1" name="Rectangle 55"/>
            <p:cNvSpPr>
              <a:spLocks noChangeArrowheads="1"/>
            </p:cNvSpPr>
            <p:nvPr/>
          </p:nvSpPr>
          <p:spPr bwMode="auto">
            <a:xfrm>
              <a:off x="3324" y="2315"/>
              <a:ext cx="73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2" name="Rectangle 56"/>
            <p:cNvSpPr>
              <a:spLocks noChangeArrowheads="1"/>
            </p:cNvSpPr>
            <p:nvPr/>
          </p:nvSpPr>
          <p:spPr bwMode="auto">
            <a:xfrm>
              <a:off x="4275" y="2315"/>
              <a:ext cx="77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3" name="Rectangle 57"/>
            <p:cNvSpPr>
              <a:spLocks noChangeArrowheads="1"/>
            </p:cNvSpPr>
            <p:nvPr/>
          </p:nvSpPr>
          <p:spPr bwMode="auto">
            <a:xfrm>
              <a:off x="3797" y="2410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4" name="Rectangle 58"/>
            <p:cNvSpPr>
              <a:spLocks noChangeArrowheads="1"/>
            </p:cNvSpPr>
            <p:nvPr/>
          </p:nvSpPr>
          <p:spPr bwMode="auto">
            <a:xfrm>
              <a:off x="3324" y="2410"/>
              <a:ext cx="73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5" name="Rectangle 59"/>
            <p:cNvSpPr>
              <a:spLocks noChangeArrowheads="1"/>
            </p:cNvSpPr>
            <p:nvPr/>
          </p:nvSpPr>
          <p:spPr bwMode="auto">
            <a:xfrm>
              <a:off x="4275" y="2410"/>
              <a:ext cx="77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6" name="Rectangle 60"/>
            <p:cNvSpPr>
              <a:spLocks noChangeArrowheads="1"/>
            </p:cNvSpPr>
            <p:nvPr/>
          </p:nvSpPr>
          <p:spPr bwMode="auto">
            <a:xfrm>
              <a:off x="3797" y="2505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7" name="Rectangle 61"/>
            <p:cNvSpPr>
              <a:spLocks noChangeArrowheads="1"/>
            </p:cNvSpPr>
            <p:nvPr/>
          </p:nvSpPr>
          <p:spPr bwMode="auto">
            <a:xfrm>
              <a:off x="3324" y="2507"/>
              <a:ext cx="73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8" name="Rectangle 62"/>
            <p:cNvSpPr>
              <a:spLocks noChangeArrowheads="1"/>
            </p:cNvSpPr>
            <p:nvPr/>
          </p:nvSpPr>
          <p:spPr bwMode="auto">
            <a:xfrm>
              <a:off x="4275" y="2507"/>
              <a:ext cx="77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399" name="Rectangle 63"/>
            <p:cNvSpPr>
              <a:spLocks noChangeArrowheads="1"/>
            </p:cNvSpPr>
            <p:nvPr/>
          </p:nvSpPr>
          <p:spPr bwMode="auto">
            <a:xfrm>
              <a:off x="3797" y="2600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0" name="Rectangle 64"/>
            <p:cNvSpPr>
              <a:spLocks noChangeArrowheads="1"/>
            </p:cNvSpPr>
            <p:nvPr/>
          </p:nvSpPr>
          <p:spPr bwMode="auto">
            <a:xfrm>
              <a:off x="3324" y="1836"/>
              <a:ext cx="73" cy="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1" name="Rectangle 65"/>
            <p:cNvSpPr>
              <a:spLocks noChangeArrowheads="1"/>
            </p:cNvSpPr>
            <p:nvPr/>
          </p:nvSpPr>
          <p:spPr bwMode="auto">
            <a:xfrm>
              <a:off x="4275" y="1836"/>
              <a:ext cx="77" cy="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2" name="Rectangle 66"/>
            <p:cNvSpPr>
              <a:spLocks noChangeArrowheads="1"/>
            </p:cNvSpPr>
            <p:nvPr/>
          </p:nvSpPr>
          <p:spPr bwMode="auto">
            <a:xfrm>
              <a:off x="3797" y="1932"/>
              <a:ext cx="76" cy="7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3" name="Rectangle 67"/>
            <p:cNvSpPr>
              <a:spLocks noChangeArrowheads="1"/>
            </p:cNvSpPr>
            <p:nvPr/>
          </p:nvSpPr>
          <p:spPr bwMode="auto">
            <a:xfrm>
              <a:off x="3797" y="1741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4" name="Rectangle 68"/>
            <p:cNvSpPr>
              <a:spLocks noChangeArrowheads="1"/>
            </p:cNvSpPr>
            <p:nvPr/>
          </p:nvSpPr>
          <p:spPr bwMode="auto">
            <a:xfrm>
              <a:off x="3419" y="2029"/>
              <a:ext cx="73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5" name="Rectangle 69"/>
            <p:cNvSpPr>
              <a:spLocks noChangeArrowheads="1"/>
            </p:cNvSpPr>
            <p:nvPr/>
          </p:nvSpPr>
          <p:spPr bwMode="auto">
            <a:xfrm>
              <a:off x="4180" y="2029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6" name="Rectangle 70"/>
            <p:cNvSpPr>
              <a:spLocks noChangeArrowheads="1"/>
            </p:cNvSpPr>
            <p:nvPr/>
          </p:nvSpPr>
          <p:spPr bwMode="auto">
            <a:xfrm>
              <a:off x="3419" y="1932"/>
              <a:ext cx="73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7" name="Rectangle 71"/>
            <p:cNvSpPr>
              <a:spLocks noChangeArrowheads="1"/>
            </p:cNvSpPr>
            <p:nvPr/>
          </p:nvSpPr>
          <p:spPr bwMode="auto">
            <a:xfrm>
              <a:off x="4180" y="1932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8" name="Rectangle 72"/>
            <p:cNvSpPr>
              <a:spLocks noChangeArrowheads="1"/>
            </p:cNvSpPr>
            <p:nvPr/>
          </p:nvSpPr>
          <p:spPr bwMode="auto">
            <a:xfrm>
              <a:off x="3419" y="2124"/>
              <a:ext cx="73" cy="7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09" name="Rectangle 73"/>
            <p:cNvSpPr>
              <a:spLocks noChangeArrowheads="1"/>
            </p:cNvSpPr>
            <p:nvPr/>
          </p:nvSpPr>
          <p:spPr bwMode="auto">
            <a:xfrm>
              <a:off x="4180" y="2124"/>
              <a:ext cx="76" cy="7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0" name="Rectangle 74"/>
            <p:cNvSpPr>
              <a:spLocks noChangeArrowheads="1"/>
            </p:cNvSpPr>
            <p:nvPr/>
          </p:nvSpPr>
          <p:spPr bwMode="auto">
            <a:xfrm>
              <a:off x="3419" y="2220"/>
              <a:ext cx="73" cy="76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1" name="Rectangle 75"/>
            <p:cNvSpPr>
              <a:spLocks noChangeArrowheads="1"/>
            </p:cNvSpPr>
            <p:nvPr/>
          </p:nvSpPr>
          <p:spPr bwMode="auto">
            <a:xfrm>
              <a:off x="4180" y="2220"/>
              <a:ext cx="76" cy="76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2" name="Rectangle 76"/>
            <p:cNvSpPr>
              <a:spLocks noChangeArrowheads="1"/>
            </p:cNvSpPr>
            <p:nvPr/>
          </p:nvSpPr>
          <p:spPr bwMode="auto">
            <a:xfrm>
              <a:off x="3419" y="2315"/>
              <a:ext cx="73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3" name="Rectangle 77"/>
            <p:cNvSpPr>
              <a:spLocks noChangeArrowheads="1"/>
            </p:cNvSpPr>
            <p:nvPr/>
          </p:nvSpPr>
          <p:spPr bwMode="auto">
            <a:xfrm>
              <a:off x="4180" y="2315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4" name="Rectangle 78"/>
            <p:cNvSpPr>
              <a:spLocks noChangeArrowheads="1"/>
            </p:cNvSpPr>
            <p:nvPr/>
          </p:nvSpPr>
          <p:spPr bwMode="auto">
            <a:xfrm>
              <a:off x="3419" y="2410"/>
              <a:ext cx="73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5" name="Rectangle 79"/>
            <p:cNvSpPr>
              <a:spLocks noChangeArrowheads="1"/>
            </p:cNvSpPr>
            <p:nvPr/>
          </p:nvSpPr>
          <p:spPr bwMode="auto">
            <a:xfrm>
              <a:off x="4180" y="2410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6" name="Rectangle 80"/>
            <p:cNvSpPr>
              <a:spLocks noChangeArrowheads="1"/>
            </p:cNvSpPr>
            <p:nvPr/>
          </p:nvSpPr>
          <p:spPr bwMode="auto">
            <a:xfrm>
              <a:off x="3419" y="2507"/>
              <a:ext cx="73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7" name="Rectangle 81"/>
            <p:cNvSpPr>
              <a:spLocks noChangeArrowheads="1"/>
            </p:cNvSpPr>
            <p:nvPr/>
          </p:nvSpPr>
          <p:spPr bwMode="auto">
            <a:xfrm>
              <a:off x="4180" y="2507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8" name="Rectangle 82"/>
            <p:cNvSpPr>
              <a:spLocks noChangeArrowheads="1"/>
            </p:cNvSpPr>
            <p:nvPr/>
          </p:nvSpPr>
          <p:spPr bwMode="auto">
            <a:xfrm>
              <a:off x="3419" y="1836"/>
              <a:ext cx="73" cy="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19" name="Rectangle 83"/>
            <p:cNvSpPr>
              <a:spLocks noChangeArrowheads="1"/>
            </p:cNvSpPr>
            <p:nvPr/>
          </p:nvSpPr>
          <p:spPr bwMode="auto">
            <a:xfrm>
              <a:off x="4180" y="1836"/>
              <a:ext cx="76" cy="7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0" name="Rectangle 84"/>
            <p:cNvSpPr>
              <a:spLocks noChangeArrowheads="1"/>
            </p:cNvSpPr>
            <p:nvPr/>
          </p:nvSpPr>
          <p:spPr bwMode="auto">
            <a:xfrm>
              <a:off x="3514" y="2029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1" name="Rectangle 85"/>
            <p:cNvSpPr>
              <a:spLocks noChangeArrowheads="1"/>
            </p:cNvSpPr>
            <p:nvPr/>
          </p:nvSpPr>
          <p:spPr bwMode="auto">
            <a:xfrm>
              <a:off x="4085" y="2029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2" name="Rectangle 86"/>
            <p:cNvSpPr>
              <a:spLocks noChangeArrowheads="1"/>
            </p:cNvSpPr>
            <p:nvPr/>
          </p:nvSpPr>
          <p:spPr bwMode="auto">
            <a:xfrm>
              <a:off x="3514" y="1932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3" name="Rectangle 87"/>
            <p:cNvSpPr>
              <a:spLocks noChangeArrowheads="1"/>
            </p:cNvSpPr>
            <p:nvPr/>
          </p:nvSpPr>
          <p:spPr bwMode="auto">
            <a:xfrm>
              <a:off x="4085" y="1932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4" name="Rectangle 88"/>
            <p:cNvSpPr>
              <a:spLocks noChangeArrowheads="1"/>
            </p:cNvSpPr>
            <p:nvPr/>
          </p:nvSpPr>
          <p:spPr bwMode="auto">
            <a:xfrm>
              <a:off x="3514" y="2124"/>
              <a:ext cx="76" cy="7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5" name="Rectangle 89"/>
            <p:cNvSpPr>
              <a:spLocks noChangeArrowheads="1"/>
            </p:cNvSpPr>
            <p:nvPr/>
          </p:nvSpPr>
          <p:spPr bwMode="auto">
            <a:xfrm>
              <a:off x="4085" y="2124"/>
              <a:ext cx="76" cy="7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6" name="Rectangle 90"/>
            <p:cNvSpPr>
              <a:spLocks noChangeArrowheads="1"/>
            </p:cNvSpPr>
            <p:nvPr/>
          </p:nvSpPr>
          <p:spPr bwMode="auto">
            <a:xfrm>
              <a:off x="3514" y="2220"/>
              <a:ext cx="76" cy="76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7" name="Rectangle 91"/>
            <p:cNvSpPr>
              <a:spLocks noChangeArrowheads="1"/>
            </p:cNvSpPr>
            <p:nvPr/>
          </p:nvSpPr>
          <p:spPr bwMode="auto">
            <a:xfrm>
              <a:off x="4085" y="2220"/>
              <a:ext cx="76" cy="76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8" name="Rectangle 92"/>
            <p:cNvSpPr>
              <a:spLocks noChangeArrowheads="1"/>
            </p:cNvSpPr>
            <p:nvPr/>
          </p:nvSpPr>
          <p:spPr bwMode="auto">
            <a:xfrm>
              <a:off x="3514" y="2315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29" name="Rectangle 93"/>
            <p:cNvSpPr>
              <a:spLocks noChangeArrowheads="1"/>
            </p:cNvSpPr>
            <p:nvPr/>
          </p:nvSpPr>
          <p:spPr bwMode="auto">
            <a:xfrm>
              <a:off x="4085" y="2315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0" name="Rectangle 94"/>
            <p:cNvSpPr>
              <a:spLocks noChangeArrowheads="1"/>
            </p:cNvSpPr>
            <p:nvPr/>
          </p:nvSpPr>
          <p:spPr bwMode="auto">
            <a:xfrm>
              <a:off x="3514" y="2410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1" name="Rectangle 95"/>
            <p:cNvSpPr>
              <a:spLocks noChangeArrowheads="1"/>
            </p:cNvSpPr>
            <p:nvPr/>
          </p:nvSpPr>
          <p:spPr bwMode="auto">
            <a:xfrm>
              <a:off x="4085" y="2410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2" name="Rectangle 96"/>
            <p:cNvSpPr>
              <a:spLocks noChangeArrowheads="1"/>
            </p:cNvSpPr>
            <p:nvPr/>
          </p:nvSpPr>
          <p:spPr bwMode="auto">
            <a:xfrm>
              <a:off x="3609" y="2029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3" name="Rectangle 97"/>
            <p:cNvSpPr>
              <a:spLocks noChangeArrowheads="1"/>
            </p:cNvSpPr>
            <p:nvPr/>
          </p:nvSpPr>
          <p:spPr bwMode="auto">
            <a:xfrm>
              <a:off x="3702" y="1646"/>
              <a:ext cx="74" cy="74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4" name="Rectangle 98"/>
            <p:cNvSpPr>
              <a:spLocks noChangeArrowheads="1"/>
            </p:cNvSpPr>
            <p:nvPr/>
          </p:nvSpPr>
          <p:spPr bwMode="auto">
            <a:xfrm>
              <a:off x="3895" y="1646"/>
              <a:ext cx="76" cy="74"/>
            </a:xfrm>
            <a:prstGeom prst="rect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5" name="Rectangle 99"/>
            <p:cNvSpPr>
              <a:spLocks noChangeArrowheads="1"/>
            </p:cNvSpPr>
            <p:nvPr/>
          </p:nvSpPr>
          <p:spPr bwMode="auto">
            <a:xfrm>
              <a:off x="3990" y="2029"/>
              <a:ext cx="74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6" name="Rectangle 100"/>
            <p:cNvSpPr>
              <a:spLocks noChangeArrowheads="1"/>
            </p:cNvSpPr>
            <p:nvPr/>
          </p:nvSpPr>
          <p:spPr bwMode="auto">
            <a:xfrm>
              <a:off x="3609" y="2124"/>
              <a:ext cx="76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7" name="Rectangle 101"/>
            <p:cNvSpPr>
              <a:spLocks noChangeArrowheads="1"/>
            </p:cNvSpPr>
            <p:nvPr/>
          </p:nvSpPr>
          <p:spPr bwMode="auto">
            <a:xfrm>
              <a:off x="3990" y="2124"/>
              <a:ext cx="74" cy="7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8" name="Rectangle 102"/>
            <p:cNvSpPr>
              <a:spLocks noChangeArrowheads="1"/>
            </p:cNvSpPr>
            <p:nvPr/>
          </p:nvSpPr>
          <p:spPr bwMode="auto">
            <a:xfrm>
              <a:off x="3609" y="2220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39" name="Rectangle 103"/>
            <p:cNvSpPr>
              <a:spLocks noChangeArrowheads="1"/>
            </p:cNvSpPr>
            <p:nvPr/>
          </p:nvSpPr>
          <p:spPr bwMode="auto">
            <a:xfrm>
              <a:off x="3990" y="2220"/>
              <a:ext cx="74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40" name="Rectangle 104"/>
            <p:cNvSpPr>
              <a:spLocks noChangeArrowheads="1"/>
            </p:cNvSpPr>
            <p:nvPr/>
          </p:nvSpPr>
          <p:spPr bwMode="auto">
            <a:xfrm>
              <a:off x="3609" y="2315"/>
              <a:ext cx="76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  <p:sp>
          <p:nvSpPr>
            <p:cNvPr id="441" name="Rectangle 105"/>
            <p:cNvSpPr>
              <a:spLocks noChangeArrowheads="1"/>
            </p:cNvSpPr>
            <p:nvPr/>
          </p:nvSpPr>
          <p:spPr bwMode="auto">
            <a:xfrm>
              <a:off x="3990" y="2315"/>
              <a:ext cx="74" cy="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1198" tIns="30599" rIns="61198" bIns="30599" numCol="1" anchor="t" anchorCtr="0" compatLnSpc="1">
              <a:prstTxWarp prst="textNoShape">
                <a:avLst/>
              </a:prstTxWarp>
            </a:bodyPr>
            <a:lstStyle/>
            <a:p>
              <a:endParaRPr lang="en-GB" sz="1205"/>
            </a:p>
          </p:txBody>
        </p:sp>
      </p:grpSp>
      <p:sp>
        <p:nvSpPr>
          <p:cNvPr id="442" name="TextBox 441"/>
          <p:cNvSpPr txBox="1"/>
          <p:nvPr/>
        </p:nvSpPr>
        <p:spPr>
          <a:xfrm>
            <a:off x="403006" y="5176690"/>
            <a:ext cx="3763662" cy="6088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945" b="1" dirty="0"/>
              <a:t>Smart Cities Mission</a:t>
            </a:r>
            <a:endParaRPr lang="en-IN" sz="2945" b="1" dirty="0"/>
          </a:p>
        </p:txBody>
      </p:sp>
      <p:sp>
        <p:nvSpPr>
          <p:cNvPr id="444" name="Rectangle 443"/>
          <p:cNvSpPr/>
          <p:nvPr/>
        </p:nvSpPr>
        <p:spPr>
          <a:xfrm>
            <a:off x="5123206" y="4315511"/>
            <a:ext cx="7068794" cy="1470075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5" name="Title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63112" cy="707319"/>
          </a:xfrm>
        </p:spPr>
        <p:txBody>
          <a:bodyPr/>
          <a:lstStyle/>
          <a:p>
            <a:r>
              <a:rPr lang="en-IN" dirty="0"/>
              <a:t>Standardization in the field of Smart Citi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0423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Need for the Standar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Standards are creating a foundation of interoperability, upon which next-generation technologies and capabilities can be cost-effectively and seamlessly layered in the decades to come.</a:t>
            </a:r>
          </a:p>
          <a:p>
            <a:r>
              <a:rPr lang="en-US" dirty="0"/>
              <a:t>Given the scale of things in India, moving forward cannot be successfully, efficiently, and swiftly accomplished without </a:t>
            </a:r>
            <a:r>
              <a:rPr lang="en-US" b="1" dirty="0">
                <a:solidFill>
                  <a:srgbClr val="516283"/>
                </a:solidFill>
              </a:rPr>
              <a:t>standards</a:t>
            </a:r>
            <a:endParaRPr lang="en-IN" b="1" dirty="0">
              <a:solidFill>
                <a:srgbClr val="516283"/>
              </a:solidFill>
            </a:endParaRPr>
          </a:p>
          <a:p>
            <a:r>
              <a:rPr lang="en-US" dirty="0"/>
              <a:t>Standards toggle between a smart cities and a sustainable &amp; livable city, which in turn will facilitate striking balance between services delivery and citizens’ aspirations.</a:t>
            </a:r>
          </a:p>
          <a:p>
            <a:r>
              <a:rPr lang="en-US" dirty="0"/>
              <a:t>Smart cities encourage standards; significant economies of scale can be achieved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154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D355C61F-C8F1-4977-8E1F-F16C0D9EA8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9884" y="1404171"/>
            <a:ext cx="6623424" cy="475192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ZA" sz="1600" b="1" dirty="0"/>
              <a:t>Civil Engineering Departments(CED)</a:t>
            </a:r>
            <a:r>
              <a:rPr lang="en-IN" sz="1600" b="1" dirty="0"/>
              <a:t> </a:t>
            </a:r>
          </a:p>
          <a:p>
            <a:pPr lvl="1"/>
            <a:r>
              <a:rPr lang="en-IN" sz="1600" dirty="0"/>
              <a:t>Standardization in the field Civil Engineering including Structural Engineering, Building Materials and Components, Planning, Design Construction and Maintenance of Civil Engineering structures and Built Environment, Construction Practices, Safety In Building; </a:t>
            </a:r>
          </a:p>
          <a:p>
            <a:pPr marL="0" indent="0">
              <a:buNone/>
            </a:pPr>
            <a:r>
              <a:rPr lang="en-ZA" sz="1600" b="1" dirty="0"/>
              <a:t>Transport Engineering Department(TED)</a:t>
            </a:r>
          </a:p>
          <a:p>
            <a:pPr lvl="1"/>
            <a:r>
              <a:rPr lang="en-IN" sz="1600" dirty="0"/>
              <a:t>Standardization in the field of transport engineering including air, water, road and rail transport; diesel engines for stationery application and ISO freight containers, transport packaging et</a:t>
            </a:r>
            <a:endParaRPr lang="en-ZA" sz="1600" dirty="0"/>
          </a:p>
          <a:p>
            <a:pPr marL="0" indent="0">
              <a:buNone/>
            </a:pPr>
            <a:r>
              <a:rPr lang="en-ZA" sz="1600" b="1" dirty="0"/>
              <a:t>Electro Technical Departments(ETD)</a:t>
            </a:r>
          </a:p>
          <a:p>
            <a:pPr lvl="1"/>
            <a:r>
              <a:rPr lang="en-IN" sz="1600" dirty="0"/>
              <a:t>Standardization in the field of electrical power generation, transmission, distribution and utilization equipment; and insulating materials, winding wires, measuring and process control instruments and primary and secondary batteries</a:t>
            </a:r>
          </a:p>
          <a:p>
            <a:pPr marL="0" lvl="1" indent="0">
              <a:spcBef>
                <a:spcPts val="1000"/>
              </a:spcBef>
              <a:buNone/>
            </a:pPr>
            <a:r>
              <a:rPr lang="en-IN" sz="1600" b="1" dirty="0"/>
              <a:t>Electronic &amp; IT Department (LITD)</a:t>
            </a:r>
          </a:p>
          <a:p>
            <a:pPr lvl="1"/>
            <a:r>
              <a:rPr lang="en-IN" sz="1600" dirty="0"/>
              <a:t>Standardization in the field of Smart Cities (Electro-technical and ICT aspects) and related domains including Smart manufacturing &amp; Active Assisted Living.</a:t>
            </a:r>
            <a:endParaRPr lang="en-US" sz="1600" dirty="0"/>
          </a:p>
        </p:txBody>
      </p:sp>
      <p:pic>
        <p:nvPicPr>
          <p:cNvPr id="5" name="Picture Placeholder 8" descr="Handing touching mobile phone">
            <a:extLst>
              <a:ext uri="{FF2B5EF4-FFF2-40B4-BE49-F238E27FC236}">
                <a16:creationId xmlns:a16="http://schemas.microsoft.com/office/drawing/2014/main" xmlns="" id="{A9A75888-22E3-1D43-9112-DA02186070B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74658" y="1404171"/>
            <a:ext cx="5017342" cy="4193064"/>
          </a:xfrm>
          <a:prstGeom prst="rect">
            <a:avLst/>
          </a:prstGeom>
        </p:spPr>
      </p:pic>
      <p:sp>
        <p:nvSpPr>
          <p:cNvPr id="6" name="Rectangle 5" descr="Accent block">
            <a:extLst>
              <a:ext uri="{FF2B5EF4-FFF2-40B4-BE49-F238E27FC236}">
                <a16:creationId xmlns:a16="http://schemas.microsoft.com/office/drawing/2014/main" xmlns="" id="{EFA08948-2B6F-46B1-9D2D-8D7B2B3FBD5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9760709" y="4100202"/>
            <a:ext cx="2411412" cy="11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ZA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3560F281-4FF6-4617-A809-AC9C15ECF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3308" y="2081426"/>
            <a:ext cx="4648200" cy="985000"/>
          </a:xfrm>
        </p:spPr>
        <p:txBody>
          <a:bodyPr>
            <a:normAutofit/>
          </a:bodyPr>
          <a:lstStyle/>
          <a:p>
            <a:r>
              <a:rPr lang="en-ZA" dirty="0"/>
              <a:t>Department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11DC577-0A95-47D0-95D9-5F8DA763D46B}"/>
              </a:ext>
            </a:extLst>
          </p:cNvPr>
          <p:cNvSpPr txBox="1">
            <a:spLocks/>
          </p:cNvSpPr>
          <p:nvPr/>
        </p:nvSpPr>
        <p:spPr>
          <a:xfrm>
            <a:off x="7174659" y="4014357"/>
            <a:ext cx="5017342" cy="15196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2000" b="1" dirty="0">
                <a:solidFill>
                  <a:srgbClr val="002060"/>
                </a:solidFill>
              </a:rPr>
              <a:t>Civil Engineering Departments(CED)</a:t>
            </a:r>
          </a:p>
          <a:p>
            <a:r>
              <a:rPr lang="en-ZA" sz="2000" b="1" dirty="0">
                <a:solidFill>
                  <a:srgbClr val="002060"/>
                </a:solidFill>
              </a:rPr>
              <a:t>Transport Engineering Department(TED)</a:t>
            </a:r>
          </a:p>
          <a:p>
            <a:r>
              <a:rPr lang="en-ZA" sz="2000" b="1" dirty="0">
                <a:solidFill>
                  <a:srgbClr val="002060"/>
                </a:solidFill>
              </a:rPr>
              <a:t>Electro Technical Departments(ETD)</a:t>
            </a:r>
          </a:p>
          <a:p>
            <a:r>
              <a:rPr lang="en-IN" sz="2000" b="1" dirty="0">
                <a:solidFill>
                  <a:srgbClr val="002060"/>
                </a:solidFill>
              </a:rPr>
              <a:t>Electronic &amp; IT Department (LITD)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1C554D9F-1895-486E-BFBA-905BB2D29E0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8884356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9B51A1E-902D-48AF-9020-955120F399B6}" type="slidenum">
              <a:rPr lang="en-ZA" smtClean="0"/>
              <a:pPr/>
              <a:t>38</a:t>
            </a:fld>
            <a:endParaRPr lang="en-ZA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3560F281-4FF6-4617-A809-AC9C15ECF18A}"/>
              </a:ext>
            </a:extLst>
          </p:cNvPr>
          <p:cNvSpPr txBox="1">
            <a:spLocks/>
          </p:cNvSpPr>
          <p:nvPr/>
        </p:nvSpPr>
        <p:spPr>
          <a:xfrm>
            <a:off x="109884" y="169499"/>
            <a:ext cx="8272116" cy="985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ZA" dirty="0"/>
              <a:t>MoHUA – BIS Collaboration </a:t>
            </a:r>
          </a:p>
        </p:txBody>
      </p:sp>
    </p:spTree>
    <p:extLst>
      <p:ext uri="{BB962C8B-B14F-4D97-AF65-F5344CB8AC3E}">
        <p14:creationId xmlns:p14="http://schemas.microsoft.com/office/powerpoint/2010/main" val="30697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1" descr="Hands coming together in circle">
            <a:extLst>
              <a:ext uri="{FF2B5EF4-FFF2-40B4-BE49-F238E27FC236}">
                <a16:creationId xmlns:a16="http://schemas.microsoft.com/office/drawing/2014/main" xmlns="" id="{AA8A1CBA-9BB5-2246-9F4B-98EAD7C901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90152"/>
            <a:ext cx="9780588" cy="694815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780588" y="-90152"/>
            <a:ext cx="2411412" cy="6948152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 sz="3200" dirty="0">
              <a:solidFill>
                <a:srgbClr val="F99D1C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713629" y="2583802"/>
            <a:ext cx="2478371" cy="206210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IN" sz="32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T</a:t>
            </a:r>
            <a:r>
              <a:rPr lang="en-IN" sz="32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eam work </a:t>
            </a:r>
          </a:p>
          <a:p>
            <a:pPr algn="ctr"/>
            <a:r>
              <a:rPr lang="en-IN" sz="32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and </a:t>
            </a:r>
          </a:p>
          <a:p>
            <a:pPr algn="ctr"/>
            <a:r>
              <a:rPr lang="en-IN" sz="32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C</a:t>
            </a:r>
            <a:r>
              <a:rPr lang="en-IN" sz="32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ollaborative </a:t>
            </a:r>
          </a:p>
          <a:p>
            <a:pPr algn="ctr"/>
            <a:r>
              <a:rPr lang="en-IN" sz="320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A</a:t>
            </a:r>
            <a:r>
              <a:rPr lang="en-IN" sz="32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pproach </a:t>
            </a:r>
          </a:p>
        </p:txBody>
      </p:sp>
    </p:spTree>
    <p:extLst>
      <p:ext uri="{BB962C8B-B14F-4D97-AF65-F5344CB8AC3E}">
        <p14:creationId xmlns:p14="http://schemas.microsoft.com/office/powerpoint/2010/main" val="3020185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6697848" y="2231110"/>
            <a:ext cx="5189337" cy="3615508"/>
            <a:chOff x="3192663" y="2231110"/>
            <a:chExt cx="5802635" cy="4626890"/>
          </a:xfrm>
        </p:grpSpPr>
        <p:sp>
          <p:nvSpPr>
            <p:cNvPr id="9" name="Rectangle 8"/>
            <p:cNvSpPr/>
            <p:nvPr/>
          </p:nvSpPr>
          <p:spPr>
            <a:xfrm>
              <a:off x="5839449" y="275127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5836733" y="326555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836733" y="378186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836733" y="430452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836733" y="482083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836733" y="533714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836733" y="585345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836733" y="636342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797765" y="326373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797765" y="378004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797765" y="430270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797765" y="481901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88657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886571" y="378639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886571" y="429817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886571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268765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268765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268765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268765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726188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726188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726188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726188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4268765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726188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268765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726188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721662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732532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197189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197189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192663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203532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203532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209876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424622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7424622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424622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424622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424622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7424622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962673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7962673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7962673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7962673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962673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7962673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958147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7969016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849438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8494381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8489855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8500724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8500724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496198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2" name="Rectangle 121"/>
          <p:cNvSpPr/>
          <p:nvPr/>
        </p:nvSpPr>
        <p:spPr>
          <a:xfrm>
            <a:off x="9050971" y="1990167"/>
            <a:ext cx="494574" cy="4945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22"/>
          <p:cNvSpPr/>
          <p:nvPr/>
        </p:nvSpPr>
        <p:spPr>
          <a:xfrm>
            <a:off x="8534658" y="1413164"/>
            <a:ext cx="494574" cy="494574"/>
          </a:xfrm>
          <a:prstGeom prst="rect">
            <a:avLst/>
          </a:prstGeom>
          <a:solidFill>
            <a:srgbClr val="F99D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Rectangle 123"/>
          <p:cNvSpPr/>
          <p:nvPr/>
        </p:nvSpPr>
        <p:spPr>
          <a:xfrm>
            <a:off x="9578153" y="1413164"/>
            <a:ext cx="494574" cy="494574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5" name="Title 126"/>
          <p:cNvSpPr txBox="1">
            <a:spLocks/>
          </p:cNvSpPr>
          <p:nvPr/>
        </p:nvSpPr>
        <p:spPr>
          <a:xfrm>
            <a:off x="117692" y="3187758"/>
            <a:ext cx="11063112" cy="7073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dirty="0">
                <a:solidFill>
                  <a:srgbClr val="516283"/>
                </a:solidFill>
              </a:rPr>
              <a:t>Smart Cities Mission </a:t>
            </a:r>
          </a:p>
        </p:txBody>
      </p:sp>
      <p:sp>
        <p:nvSpPr>
          <p:cNvPr id="127" name="Rectangle 126"/>
          <p:cNvSpPr/>
          <p:nvPr/>
        </p:nvSpPr>
        <p:spPr>
          <a:xfrm>
            <a:off x="1035622" y="4225206"/>
            <a:ext cx="2610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516283"/>
                </a:solidFill>
              </a:rPr>
              <a:t>Mission Transform-Nation</a:t>
            </a:r>
            <a:endParaRPr lang="en-GB" dirty="0">
              <a:solidFill>
                <a:srgbClr val="5162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73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422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5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Rectangle 12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192663" y="2231110"/>
            <a:ext cx="5802635" cy="4626890"/>
            <a:chOff x="3192663" y="2231110"/>
            <a:chExt cx="5802635" cy="4626890"/>
          </a:xfrm>
        </p:grpSpPr>
        <p:sp>
          <p:nvSpPr>
            <p:cNvPr id="5" name="Rectangle 4"/>
            <p:cNvSpPr/>
            <p:nvPr/>
          </p:nvSpPr>
          <p:spPr>
            <a:xfrm>
              <a:off x="5839449" y="275127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>
            <a:xfrm>
              <a:off x="5836733" y="326555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5836733" y="378186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>
            <a:xfrm>
              <a:off x="5836733" y="430452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5836733" y="482083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5836733" y="533714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836733" y="585345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836733" y="636342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4797765" y="326373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797765" y="378004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797765" y="430270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797765" y="481901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88657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886571" y="378639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886571" y="429817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886571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268765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268765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268765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268765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726188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726188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726188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726188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4268765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726188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268765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726188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721662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732532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197189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197189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192663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203532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3203532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3209876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424622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424622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7424622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424622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424622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424622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7962673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7962673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7962673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7962673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7962673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962673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7958147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969016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849438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8494381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8489855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8500724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8500724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8496198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3192663" y="2231110"/>
            <a:ext cx="5802635" cy="4626890"/>
            <a:chOff x="3196702" y="2231110"/>
            <a:chExt cx="5802635" cy="4626890"/>
          </a:xfrm>
        </p:grpSpPr>
        <p:sp>
          <p:nvSpPr>
            <p:cNvPr id="66" name="Rectangle 65"/>
            <p:cNvSpPr/>
            <p:nvPr/>
          </p:nvSpPr>
          <p:spPr>
            <a:xfrm>
              <a:off x="5843488" y="2751276"/>
              <a:ext cx="494574" cy="494574"/>
            </a:xfrm>
            <a:prstGeom prst="rect">
              <a:avLst/>
            </a:prstGeom>
            <a:blipFill>
              <a:blip r:embed="rId7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5840772" y="3265552"/>
              <a:ext cx="494574" cy="494574"/>
            </a:xfrm>
            <a:prstGeom prst="rect">
              <a:avLst/>
            </a:prstGeom>
            <a:blipFill>
              <a:blip r:embed="rId8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5840772" y="3781864"/>
              <a:ext cx="494574" cy="494574"/>
            </a:xfrm>
            <a:prstGeom prst="rect">
              <a:avLst/>
            </a:prstGeom>
            <a:blipFill>
              <a:blip r:embed="rId9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5840772" y="4304520"/>
              <a:ext cx="494574" cy="494574"/>
            </a:xfrm>
            <a:prstGeom prst="rect">
              <a:avLst/>
            </a:prstGeom>
            <a:blipFill>
              <a:blip r:embed="rId1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840772" y="4820833"/>
              <a:ext cx="494574" cy="494574"/>
            </a:xfrm>
            <a:prstGeom prst="rect">
              <a:avLst/>
            </a:prstGeom>
            <a:blipFill>
              <a:blip r:embed="rId11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/>
            <p:cNvSpPr/>
            <p:nvPr/>
          </p:nvSpPr>
          <p:spPr>
            <a:xfrm>
              <a:off x="5840772" y="5337145"/>
              <a:ext cx="494574" cy="494574"/>
            </a:xfrm>
            <a:prstGeom prst="rect">
              <a:avLst/>
            </a:prstGeom>
            <a:blipFill>
              <a:blip r:embed="rId1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5840772" y="5853457"/>
              <a:ext cx="494574" cy="494574"/>
            </a:xfrm>
            <a:prstGeom prst="rect">
              <a:avLst/>
            </a:prstGeom>
            <a:blipFill>
              <a:blip r:embed="rId1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ectangle 72"/>
            <p:cNvSpPr/>
            <p:nvPr/>
          </p:nvSpPr>
          <p:spPr>
            <a:xfrm>
              <a:off x="5840772" y="6363426"/>
              <a:ext cx="494574" cy="494574"/>
            </a:xfrm>
            <a:prstGeom prst="rect">
              <a:avLst/>
            </a:prstGeom>
            <a:blipFill>
              <a:blip r:embed="rId14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4801804" y="3263735"/>
              <a:ext cx="494574" cy="494574"/>
            </a:xfrm>
            <a:prstGeom prst="rect">
              <a:avLst/>
            </a:prstGeom>
            <a:blipFill>
              <a:blip r:embed="rId1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4801804" y="3780047"/>
              <a:ext cx="494574" cy="494574"/>
            </a:xfrm>
            <a:prstGeom prst="rect">
              <a:avLst/>
            </a:prstGeom>
            <a:blipFill>
              <a:blip r:embed="rId16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4801804" y="4302703"/>
              <a:ext cx="494574" cy="494574"/>
            </a:xfrm>
            <a:prstGeom prst="rect">
              <a:avLst/>
            </a:prstGeom>
            <a:blipFill>
              <a:blip r:embed="rId17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4801804" y="4819015"/>
              <a:ext cx="494574" cy="494574"/>
            </a:xfrm>
            <a:prstGeom prst="rect">
              <a:avLst/>
            </a:prstGeom>
            <a:blipFill>
              <a:blip r:embed="rId18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/>
            <p:cNvSpPr/>
            <p:nvPr/>
          </p:nvSpPr>
          <p:spPr>
            <a:xfrm>
              <a:off x="6890610" y="3270078"/>
              <a:ext cx="494574" cy="494574"/>
            </a:xfrm>
            <a:prstGeom prst="rect">
              <a:avLst/>
            </a:prstGeom>
            <a:blipFill>
              <a:blip r:embed="rId19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/>
            <p:cNvSpPr/>
            <p:nvPr/>
          </p:nvSpPr>
          <p:spPr>
            <a:xfrm>
              <a:off x="6890610" y="3786391"/>
              <a:ext cx="494574" cy="494574"/>
            </a:xfrm>
            <a:prstGeom prst="rect">
              <a:avLst/>
            </a:prstGeom>
            <a:blipFill>
              <a:blip r:embed="rId2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/>
            <p:cNvSpPr/>
            <p:nvPr/>
          </p:nvSpPr>
          <p:spPr>
            <a:xfrm>
              <a:off x="6890610" y="4298177"/>
              <a:ext cx="494574" cy="494574"/>
            </a:xfrm>
            <a:prstGeom prst="rect">
              <a:avLst/>
            </a:prstGeom>
            <a:blipFill>
              <a:blip r:embed="rId21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/>
            <p:cNvSpPr/>
            <p:nvPr/>
          </p:nvSpPr>
          <p:spPr>
            <a:xfrm>
              <a:off x="6890610" y="4814489"/>
              <a:ext cx="494574" cy="494574"/>
            </a:xfrm>
            <a:prstGeom prst="rect">
              <a:avLst/>
            </a:prstGeom>
            <a:blipFill>
              <a:blip r:embed="rId2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272805" y="3270078"/>
              <a:ext cx="494574" cy="494574"/>
            </a:xfrm>
            <a:prstGeom prst="rect">
              <a:avLst/>
            </a:prstGeom>
            <a:blipFill>
              <a:blip r:embed="rId2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4272805" y="3786391"/>
              <a:ext cx="494574" cy="494574"/>
            </a:xfrm>
            <a:prstGeom prst="rect">
              <a:avLst/>
            </a:prstGeom>
            <a:blipFill>
              <a:blip r:embed="rId24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 83"/>
            <p:cNvSpPr/>
            <p:nvPr/>
          </p:nvSpPr>
          <p:spPr>
            <a:xfrm>
              <a:off x="4272805" y="4298177"/>
              <a:ext cx="494574" cy="494574"/>
            </a:xfrm>
            <a:prstGeom prst="rect">
              <a:avLst/>
            </a:prstGeom>
            <a:blipFill>
              <a:blip r:embed="rId2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tangle 84"/>
            <p:cNvSpPr/>
            <p:nvPr/>
          </p:nvSpPr>
          <p:spPr>
            <a:xfrm>
              <a:off x="4272805" y="4814489"/>
              <a:ext cx="494574" cy="494574"/>
            </a:xfrm>
            <a:prstGeom prst="rect">
              <a:avLst/>
            </a:prstGeom>
            <a:blipFill>
              <a:blip r:embed="rId26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3730227" y="3270078"/>
              <a:ext cx="494574" cy="494574"/>
            </a:xfrm>
            <a:prstGeom prst="rect">
              <a:avLst/>
            </a:prstGeom>
            <a:blipFill>
              <a:blip r:embed="rId27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Rectangle 86"/>
            <p:cNvSpPr/>
            <p:nvPr/>
          </p:nvSpPr>
          <p:spPr>
            <a:xfrm>
              <a:off x="3730227" y="3786391"/>
              <a:ext cx="494574" cy="494574"/>
            </a:xfrm>
            <a:prstGeom prst="rect">
              <a:avLst/>
            </a:prstGeom>
            <a:blipFill>
              <a:blip r:embed="rId28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tangle 87"/>
            <p:cNvSpPr/>
            <p:nvPr/>
          </p:nvSpPr>
          <p:spPr>
            <a:xfrm>
              <a:off x="3730227" y="4298177"/>
              <a:ext cx="494574" cy="494574"/>
            </a:xfrm>
            <a:prstGeom prst="rect">
              <a:avLst/>
            </a:prstGeom>
            <a:blipFill>
              <a:blip r:embed="rId29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3730227" y="4814489"/>
              <a:ext cx="494574" cy="494574"/>
            </a:xfrm>
            <a:prstGeom prst="rect">
              <a:avLst/>
            </a:prstGeom>
            <a:blipFill>
              <a:blip r:embed="rId3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tangle 89"/>
            <p:cNvSpPr/>
            <p:nvPr/>
          </p:nvSpPr>
          <p:spPr>
            <a:xfrm>
              <a:off x="4272805" y="2747422"/>
              <a:ext cx="494574" cy="494574"/>
            </a:xfrm>
            <a:prstGeom prst="rect">
              <a:avLst/>
            </a:prstGeom>
            <a:blipFill>
              <a:blip r:embed="rId31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3730227" y="2747422"/>
              <a:ext cx="494574" cy="494574"/>
            </a:xfrm>
            <a:prstGeom prst="rect">
              <a:avLst/>
            </a:prstGeom>
            <a:blipFill>
              <a:blip r:embed="rId3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tangle 91"/>
            <p:cNvSpPr/>
            <p:nvPr/>
          </p:nvSpPr>
          <p:spPr>
            <a:xfrm>
              <a:off x="4272805" y="5330802"/>
              <a:ext cx="494574" cy="494574"/>
            </a:xfrm>
            <a:prstGeom prst="rect">
              <a:avLst/>
            </a:prstGeom>
            <a:blipFill>
              <a:blip r:embed="rId3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tangle 92"/>
            <p:cNvSpPr/>
            <p:nvPr/>
          </p:nvSpPr>
          <p:spPr>
            <a:xfrm>
              <a:off x="3730227" y="5330802"/>
              <a:ext cx="494574" cy="494574"/>
            </a:xfrm>
            <a:prstGeom prst="rect">
              <a:avLst/>
            </a:prstGeom>
            <a:blipFill>
              <a:blip r:embed="rId34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tangle 93"/>
            <p:cNvSpPr/>
            <p:nvPr/>
          </p:nvSpPr>
          <p:spPr>
            <a:xfrm>
              <a:off x="3725701" y="2231110"/>
              <a:ext cx="494574" cy="494574"/>
            </a:xfrm>
            <a:prstGeom prst="rect">
              <a:avLst/>
            </a:prstGeom>
            <a:blipFill>
              <a:blip r:embed="rId3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tangle 94"/>
            <p:cNvSpPr/>
            <p:nvPr/>
          </p:nvSpPr>
          <p:spPr>
            <a:xfrm>
              <a:off x="3736571" y="5847114"/>
              <a:ext cx="494574" cy="494574"/>
            </a:xfrm>
            <a:prstGeom prst="rect">
              <a:avLst/>
            </a:prstGeom>
            <a:blipFill>
              <a:blip r:embed="rId36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tangle 95"/>
            <p:cNvSpPr/>
            <p:nvPr/>
          </p:nvSpPr>
          <p:spPr>
            <a:xfrm>
              <a:off x="3201228" y="3270078"/>
              <a:ext cx="494574" cy="494574"/>
            </a:xfrm>
            <a:prstGeom prst="rect">
              <a:avLst/>
            </a:prstGeom>
            <a:blipFill>
              <a:blip r:embed="rId37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tangle 96"/>
            <p:cNvSpPr/>
            <p:nvPr/>
          </p:nvSpPr>
          <p:spPr>
            <a:xfrm>
              <a:off x="3201228" y="2747422"/>
              <a:ext cx="494574" cy="494574"/>
            </a:xfrm>
            <a:prstGeom prst="rect">
              <a:avLst/>
            </a:prstGeom>
            <a:blipFill>
              <a:blip r:embed="rId38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196702" y="2231110"/>
              <a:ext cx="494574" cy="494574"/>
            </a:xfrm>
            <a:prstGeom prst="rect">
              <a:avLst/>
            </a:prstGeom>
            <a:blipFill>
              <a:blip r:embed="rId39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207572" y="4808146"/>
              <a:ext cx="494574" cy="494574"/>
            </a:xfrm>
            <a:prstGeom prst="rect">
              <a:avLst/>
            </a:prstGeom>
            <a:blipFill>
              <a:blip r:embed="rId4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207572" y="5324458"/>
              <a:ext cx="494574" cy="494574"/>
            </a:xfrm>
            <a:prstGeom prst="rect">
              <a:avLst/>
            </a:prstGeom>
            <a:blipFill>
              <a:blip r:embed="rId41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3213915" y="5840771"/>
              <a:ext cx="494574" cy="494574"/>
            </a:xfrm>
            <a:prstGeom prst="rect">
              <a:avLst/>
            </a:prstGeom>
            <a:blipFill>
              <a:blip r:embed="rId4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7428661" y="3270078"/>
              <a:ext cx="494574" cy="494574"/>
            </a:xfrm>
            <a:prstGeom prst="rect">
              <a:avLst/>
            </a:prstGeom>
            <a:blipFill>
              <a:blip r:embed="rId4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7428661" y="3786391"/>
              <a:ext cx="494574" cy="494574"/>
            </a:xfrm>
            <a:prstGeom prst="rect">
              <a:avLst/>
            </a:prstGeom>
            <a:blipFill>
              <a:blip r:embed="rId44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7428661" y="4298177"/>
              <a:ext cx="494574" cy="494574"/>
            </a:xfrm>
            <a:prstGeom prst="rect">
              <a:avLst/>
            </a:prstGeom>
            <a:blipFill>
              <a:blip r:embed="rId4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7428661" y="4814489"/>
              <a:ext cx="494574" cy="494574"/>
            </a:xfrm>
            <a:prstGeom prst="rect">
              <a:avLst/>
            </a:prstGeom>
            <a:blipFill>
              <a:blip r:embed="rId46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7428661" y="2747422"/>
              <a:ext cx="494574" cy="494574"/>
            </a:xfrm>
            <a:prstGeom prst="rect">
              <a:avLst/>
            </a:prstGeom>
            <a:blipFill>
              <a:blip r:embed="rId47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7428661" y="5330802"/>
              <a:ext cx="494574" cy="494574"/>
            </a:xfrm>
            <a:prstGeom prst="rect">
              <a:avLst/>
            </a:prstGeom>
            <a:blipFill>
              <a:blip r:embed="rId48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7966712" y="3270078"/>
              <a:ext cx="494574" cy="494574"/>
            </a:xfrm>
            <a:prstGeom prst="rect">
              <a:avLst/>
            </a:prstGeom>
            <a:blipFill>
              <a:blip r:embed="rId49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7966712" y="3786391"/>
              <a:ext cx="494574" cy="494574"/>
            </a:xfrm>
            <a:prstGeom prst="rect">
              <a:avLst/>
            </a:prstGeom>
            <a:blipFill>
              <a:blip r:embed="rId5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tangle 109"/>
            <p:cNvSpPr/>
            <p:nvPr/>
          </p:nvSpPr>
          <p:spPr>
            <a:xfrm>
              <a:off x="7966712" y="4298177"/>
              <a:ext cx="494574" cy="494574"/>
            </a:xfrm>
            <a:prstGeom prst="rect">
              <a:avLst/>
            </a:prstGeom>
            <a:blipFill>
              <a:blip r:embed="rId51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7966712" y="4814489"/>
              <a:ext cx="494574" cy="494574"/>
            </a:xfrm>
            <a:prstGeom prst="rect">
              <a:avLst/>
            </a:prstGeom>
            <a:blipFill>
              <a:blip r:embed="rId5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7966712" y="2747422"/>
              <a:ext cx="494574" cy="494574"/>
            </a:xfrm>
            <a:prstGeom prst="rect">
              <a:avLst/>
            </a:prstGeom>
            <a:blipFill>
              <a:blip r:embed="rId5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7966712" y="5330802"/>
              <a:ext cx="494574" cy="494574"/>
            </a:xfrm>
            <a:prstGeom prst="rect">
              <a:avLst/>
            </a:prstGeom>
            <a:blipFill>
              <a:blip r:embed="rId54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959514" y="2231110"/>
              <a:ext cx="494574" cy="494574"/>
            </a:xfrm>
            <a:prstGeom prst="rect">
              <a:avLst/>
            </a:prstGeom>
            <a:blipFill>
              <a:blip r:embed="rId55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7973055" y="5847114"/>
              <a:ext cx="494574" cy="494574"/>
            </a:xfrm>
            <a:prstGeom prst="rect">
              <a:avLst/>
            </a:prstGeom>
            <a:blipFill>
              <a:blip r:embed="rId56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8498420" y="3270078"/>
              <a:ext cx="494574" cy="494574"/>
            </a:xfrm>
            <a:prstGeom prst="rect">
              <a:avLst/>
            </a:prstGeom>
            <a:blipFill>
              <a:blip r:embed="rId57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8498420" y="2747422"/>
              <a:ext cx="494574" cy="494574"/>
            </a:xfrm>
            <a:prstGeom prst="rect">
              <a:avLst/>
            </a:prstGeom>
            <a:blipFill>
              <a:blip r:embed="rId58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8493894" y="2231110"/>
              <a:ext cx="494574" cy="494574"/>
            </a:xfrm>
            <a:prstGeom prst="rect">
              <a:avLst/>
            </a:prstGeom>
            <a:blipFill>
              <a:blip r:embed="rId59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8504763" y="4808146"/>
              <a:ext cx="494574" cy="494574"/>
            </a:xfrm>
            <a:prstGeom prst="rect">
              <a:avLst/>
            </a:prstGeom>
            <a:blipFill>
              <a:blip r:embed="rId60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8504763" y="5324458"/>
              <a:ext cx="494574" cy="494574"/>
            </a:xfrm>
            <a:prstGeom prst="rect">
              <a:avLst/>
            </a:prstGeom>
            <a:blipFill>
              <a:blip r:embed="rId61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8500237" y="5840771"/>
              <a:ext cx="494574" cy="494574"/>
            </a:xfrm>
            <a:prstGeom prst="rect">
              <a:avLst/>
            </a:prstGeom>
            <a:blipFill>
              <a:blip r:embed="rId6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Rectangle 12"/>
          <p:cNvSpPr/>
          <p:nvPr/>
        </p:nvSpPr>
        <p:spPr>
          <a:xfrm>
            <a:off x="5836733" y="1990167"/>
            <a:ext cx="494574" cy="4945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5320420" y="1413164"/>
            <a:ext cx="494574" cy="494574"/>
          </a:xfrm>
          <a:prstGeom prst="rect">
            <a:avLst/>
          </a:prstGeom>
          <a:solidFill>
            <a:srgbClr val="F99D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363915" y="1413164"/>
            <a:ext cx="494574" cy="494574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7" name="Title 1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Transform-N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5111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2" name="Object 4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  <a:endParaRPr lang="en-GB" dirty="0"/>
          </a:p>
        </p:txBody>
      </p:sp>
      <p:grpSp>
        <p:nvGrpSpPr>
          <p:cNvPr id="3" name="Group 5"/>
          <p:cNvGrpSpPr>
            <a:grpSpLocks noChangeAspect="1"/>
          </p:cNvGrpSpPr>
          <p:nvPr/>
        </p:nvGrpSpPr>
        <p:grpSpPr bwMode="auto">
          <a:xfrm>
            <a:off x="4078571" y="2833115"/>
            <a:ext cx="4557150" cy="1838376"/>
            <a:chOff x="2577" y="1650"/>
            <a:chExt cx="2526" cy="1019"/>
          </a:xfrm>
          <a:solidFill>
            <a:schemeClr val="tx1"/>
          </a:solidFill>
        </p:grpSpPr>
        <p:sp>
          <p:nvSpPr>
            <p:cNvPr id="4" name="Freeform 6"/>
            <p:cNvSpPr>
              <a:spLocks noEditPoints="1"/>
            </p:cNvSpPr>
            <p:nvPr/>
          </p:nvSpPr>
          <p:spPr bwMode="auto">
            <a:xfrm>
              <a:off x="3849" y="1700"/>
              <a:ext cx="31" cy="27"/>
            </a:xfrm>
            <a:custGeom>
              <a:avLst/>
              <a:gdLst>
                <a:gd name="T0" fmla="*/ 6 w 13"/>
                <a:gd name="T1" fmla="*/ 10 h 11"/>
                <a:gd name="T2" fmla="*/ 12 w 13"/>
                <a:gd name="T3" fmla="*/ 8 h 11"/>
                <a:gd name="T4" fmla="*/ 11 w 13"/>
                <a:gd name="T5" fmla="*/ 3 h 11"/>
                <a:gd name="T6" fmla="*/ 4 w 13"/>
                <a:gd name="T7" fmla="*/ 2 h 11"/>
                <a:gd name="T8" fmla="*/ 0 w 13"/>
                <a:gd name="T9" fmla="*/ 5 h 11"/>
                <a:gd name="T10" fmla="*/ 4 w 13"/>
                <a:gd name="T11" fmla="*/ 10 h 11"/>
                <a:gd name="T12" fmla="*/ 6 w 13"/>
                <a:gd name="T13" fmla="*/ 10 h 11"/>
                <a:gd name="T14" fmla="*/ 10 w 13"/>
                <a:gd name="T15" fmla="*/ 8 h 11"/>
                <a:gd name="T16" fmla="*/ 4 w 13"/>
                <a:gd name="T17" fmla="*/ 8 h 11"/>
                <a:gd name="T18" fmla="*/ 4 w 13"/>
                <a:gd name="T19" fmla="*/ 7 h 11"/>
                <a:gd name="T20" fmla="*/ 10 w 13"/>
                <a:gd name="T21" fmla="*/ 6 h 11"/>
                <a:gd name="T22" fmla="*/ 10 w 13"/>
                <a:gd name="T23" fmla="*/ 8 h 11"/>
                <a:gd name="T24" fmla="*/ 3 w 13"/>
                <a:gd name="T25" fmla="*/ 5 h 11"/>
                <a:gd name="T26" fmla="*/ 5 w 13"/>
                <a:gd name="T27" fmla="*/ 3 h 11"/>
                <a:gd name="T28" fmla="*/ 10 w 13"/>
                <a:gd name="T29" fmla="*/ 3 h 11"/>
                <a:gd name="T30" fmla="*/ 10 w 13"/>
                <a:gd name="T31" fmla="*/ 4 h 11"/>
                <a:gd name="T32" fmla="*/ 7 w 13"/>
                <a:gd name="T33" fmla="*/ 4 h 11"/>
                <a:gd name="T34" fmla="*/ 3 w 13"/>
                <a:gd name="T3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11">
                  <a:moveTo>
                    <a:pt x="6" y="10"/>
                  </a:moveTo>
                  <a:cubicBezTo>
                    <a:pt x="8" y="11"/>
                    <a:pt x="10" y="10"/>
                    <a:pt x="12" y="8"/>
                  </a:cubicBezTo>
                  <a:cubicBezTo>
                    <a:pt x="13" y="6"/>
                    <a:pt x="13" y="5"/>
                    <a:pt x="11" y="3"/>
                  </a:cubicBezTo>
                  <a:cubicBezTo>
                    <a:pt x="9" y="0"/>
                    <a:pt x="7" y="0"/>
                    <a:pt x="4" y="2"/>
                  </a:cubicBezTo>
                  <a:cubicBezTo>
                    <a:pt x="2" y="2"/>
                    <a:pt x="1" y="3"/>
                    <a:pt x="0" y="5"/>
                  </a:cubicBezTo>
                  <a:cubicBezTo>
                    <a:pt x="0" y="6"/>
                    <a:pt x="0" y="6"/>
                    <a:pt x="4" y="10"/>
                  </a:cubicBezTo>
                  <a:lnTo>
                    <a:pt x="6" y="10"/>
                  </a:lnTo>
                  <a:close/>
                  <a:moveTo>
                    <a:pt x="10" y="8"/>
                  </a:moveTo>
                  <a:cubicBezTo>
                    <a:pt x="8" y="9"/>
                    <a:pt x="6" y="9"/>
                    <a:pt x="4" y="8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5" y="5"/>
                    <a:pt x="8" y="5"/>
                    <a:pt x="10" y="6"/>
                  </a:cubicBezTo>
                  <a:cubicBezTo>
                    <a:pt x="11" y="7"/>
                    <a:pt x="11" y="7"/>
                    <a:pt x="10" y="8"/>
                  </a:cubicBezTo>
                  <a:moveTo>
                    <a:pt x="3" y="5"/>
                  </a:moveTo>
                  <a:cubicBezTo>
                    <a:pt x="3" y="4"/>
                    <a:pt x="4" y="3"/>
                    <a:pt x="5" y="3"/>
                  </a:cubicBezTo>
                  <a:cubicBezTo>
                    <a:pt x="5" y="3"/>
                    <a:pt x="8" y="2"/>
                    <a:pt x="10" y="3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5" y="4"/>
                    <a:pt x="4" y="5"/>
                    <a:pt x="3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" name="Freeform 7"/>
            <p:cNvSpPr>
              <a:spLocks/>
            </p:cNvSpPr>
            <p:nvPr/>
          </p:nvSpPr>
          <p:spPr bwMode="auto">
            <a:xfrm>
              <a:off x="3951" y="1715"/>
              <a:ext cx="10" cy="5"/>
            </a:xfrm>
            <a:custGeom>
              <a:avLst/>
              <a:gdLst>
                <a:gd name="T0" fmla="*/ 3 w 4"/>
                <a:gd name="T1" fmla="*/ 2 h 2"/>
                <a:gd name="T2" fmla="*/ 4 w 4"/>
                <a:gd name="T3" fmla="*/ 0 h 2"/>
                <a:gd name="T4" fmla="*/ 2 w 4"/>
                <a:gd name="T5" fmla="*/ 0 h 2"/>
                <a:gd name="T6" fmla="*/ 3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3" y="2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0" y="0"/>
                    <a:pt x="0" y="2"/>
                    <a:pt x="3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8"/>
            <p:cNvSpPr>
              <a:spLocks noEditPoints="1"/>
            </p:cNvSpPr>
            <p:nvPr/>
          </p:nvSpPr>
          <p:spPr bwMode="auto">
            <a:xfrm>
              <a:off x="3655" y="1650"/>
              <a:ext cx="370" cy="579"/>
            </a:xfrm>
            <a:custGeom>
              <a:avLst/>
              <a:gdLst>
                <a:gd name="T0" fmla="*/ 53 w 156"/>
                <a:gd name="T1" fmla="*/ 20 h 243"/>
                <a:gd name="T2" fmla="*/ 20 w 156"/>
                <a:gd name="T3" fmla="*/ 105 h 243"/>
                <a:gd name="T4" fmla="*/ 148 w 156"/>
                <a:gd name="T5" fmla="*/ 212 h 243"/>
                <a:gd name="T6" fmla="*/ 132 w 156"/>
                <a:gd name="T7" fmla="*/ 73 h 243"/>
                <a:gd name="T8" fmla="*/ 117 w 156"/>
                <a:gd name="T9" fmla="*/ 44 h 243"/>
                <a:gd name="T10" fmla="*/ 114 w 156"/>
                <a:gd name="T11" fmla="*/ 105 h 243"/>
                <a:gd name="T12" fmla="*/ 87 w 156"/>
                <a:gd name="T13" fmla="*/ 176 h 243"/>
                <a:gd name="T14" fmla="*/ 66 w 156"/>
                <a:gd name="T15" fmla="*/ 176 h 243"/>
                <a:gd name="T16" fmla="*/ 66 w 156"/>
                <a:gd name="T17" fmla="*/ 166 h 243"/>
                <a:gd name="T18" fmla="*/ 46 w 156"/>
                <a:gd name="T19" fmla="*/ 188 h 243"/>
                <a:gd name="T20" fmla="*/ 52 w 156"/>
                <a:gd name="T21" fmla="*/ 186 h 243"/>
                <a:gd name="T22" fmla="*/ 81 w 156"/>
                <a:gd name="T23" fmla="*/ 52 h 243"/>
                <a:gd name="T24" fmla="*/ 113 w 156"/>
                <a:gd name="T25" fmla="*/ 79 h 243"/>
                <a:gd name="T26" fmla="*/ 110 w 156"/>
                <a:gd name="T27" fmla="*/ 56 h 243"/>
                <a:gd name="T28" fmla="*/ 91 w 156"/>
                <a:gd name="T29" fmla="*/ 104 h 243"/>
                <a:gd name="T30" fmla="*/ 77 w 156"/>
                <a:gd name="T31" fmla="*/ 102 h 243"/>
                <a:gd name="T32" fmla="*/ 76 w 156"/>
                <a:gd name="T33" fmla="*/ 98 h 243"/>
                <a:gd name="T34" fmla="*/ 56 w 156"/>
                <a:gd name="T35" fmla="*/ 94 h 243"/>
                <a:gd name="T36" fmla="*/ 57 w 156"/>
                <a:gd name="T37" fmla="*/ 87 h 243"/>
                <a:gd name="T38" fmla="*/ 70 w 156"/>
                <a:gd name="T39" fmla="*/ 73 h 243"/>
                <a:gd name="T40" fmla="*/ 70 w 156"/>
                <a:gd name="T41" fmla="*/ 93 h 243"/>
                <a:gd name="T42" fmla="*/ 89 w 156"/>
                <a:gd name="T43" fmla="*/ 71 h 243"/>
                <a:gd name="T44" fmla="*/ 102 w 156"/>
                <a:gd name="T45" fmla="*/ 95 h 243"/>
                <a:gd name="T46" fmla="*/ 100 w 156"/>
                <a:gd name="T47" fmla="*/ 113 h 243"/>
                <a:gd name="T48" fmla="*/ 100 w 156"/>
                <a:gd name="T49" fmla="*/ 56 h 243"/>
                <a:gd name="T50" fmla="*/ 51 w 156"/>
                <a:gd name="T51" fmla="*/ 73 h 243"/>
                <a:gd name="T52" fmla="*/ 37 w 156"/>
                <a:gd name="T53" fmla="*/ 69 h 243"/>
                <a:gd name="T54" fmla="*/ 36 w 156"/>
                <a:gd name="T55" fmla="*/ 60 h 243"/>
                <a:gd name="T56" fmla="*/ 38 w 156"/>
                <a:gd name="T57" fmla="*/ 87 h 243"/>
                <a:gd name="T58" fmla="*/ 34 w 156"/>
                <a:gd name="T59" fmla="*/ 115 h 243"/>
                <a:gd name="T60" fmla="*/ 47 w 156"/>
                <a:gd name="T61" fmla="*/ 111 h 243"/>
                <a:gd name="T62" fmla="*/ 76 w 156"/>
                <a:gd name="T63" fmla="*/ 128 h 243"/>
                <a:gd name="T64" fmla="*/ 99 w 156"/>
                <a:gd name="T65" fmla="*/ 187 h 243"/>
                <a:gd name="T66" fmla="*/ 106 w 156"/>
                <a:gd name="T67" fmla="*/ 105 h 243"/>
                <a:gd name="T68" fmla="*/ 125 w 156"/>
                <a:gd name="T69" fmla="*/ 106 h 243"/>
                <a:gd name="T70" fmla="*/ 111 w 156"/>
                <a:gd name="T71" fmla="*/ 33 h 243"/>
                <a:gd name="T72" fmla="*/ 100 w 156"/>
                <a:gd name="T73" fmla="*/ 35 h 243"/>
                <a:gd name="T74" fmla="*/ 89 w 156"/>
                <a:gd name="T75" fmla="*/ 46 h 243"/>
                <a:gd name="T76" fmla="*/ 72 w 156"/>
                <a:gd name="T77" fmla="*/ 41 h 243"/>
                <a:gd name="T78" fmla="*/ 85 w 156"/>
                <a:gd name="T79" fmla="*/ 10 h 243"/>
                <a:gd name="T80" fmla="*/ 70 w 156"/>
                <a:gd name="T81" fmla="*/ 10 h 243"/>
                <a:gd name="T82" fmla="*/ 52 w 156"/>
                <a:gd name="T83" fmla="*/ 38 h 243"/>
                <a:gd name="T84" fmla="*/ 40 w 156"/>
                <a:gd name="T85" fmla="*/ 34 h 243"/>
                <a:gd name="T86" fmla="*/ 31 w 156"/>
                <a:gd name="T87" fmla="*/ 49 h 243"/>
                <a:gd name="T88" fmla="*/ 21 w 156"/>
                <a:gd name="T89" fmla="*/ 61 h 243"/>
                <a:gd name="T90" fmla="*/ 28 w 156"/>
                <a:gd name="T91" fmla="*/ 92 h 243"/>
                <a:gd name="T92" fmla="*/ 40 w 156"/>
                <a:gd name="T93" fmla="*/ 120 h 243"/>
                <a:gd name="T94" fmla="*/ 43 w 156"/>
                <a:gd name="T95" fmla="*/ 178 h 243"/>
                <a:gd name="T96" fmla="*/ 32 w 156"/>
                <a:gd name="T97" fmla="*/ 179 h 243"/>
                <a:gd name="T98" fmla="*/ 14 w 156"/>
                <a:gd name="T99" fmla="*/ 216 h 243"/>
                <a:gd name="T100" fmla="*/ 49 w 156"/>
                <a:gd name="T101" fmla="*/ 228 h 243"/>
                <a:gd name="T102" fmla="*/ 26 w 156"/>
                <a:gd name="T103" fmla="*/ 220 h 243"/>
                <a:gd name="T104" fmla="*/ 53 w 156"/>
                <a:gd name="T105" fmla="*/ 211 h 243"/>
                <a:gd name="T106" fmla="*/ 121 w 156"/>
                <a:gd name="T107" fmla="*/ 222 h 243"/>
                <a:gd name="T108" fmla="*/ 109 w 156"/>
                <a:gd name="T109" fmla="*/ 207 h 243"/>
                <a:gd name="T110" fmla="*/ 117 w 156"/>
                <a:gd name="T111" fmla="*/ 187 h 243"/>
                <a:gd name="T112" fmla="*/ 130 w 156"/>
                <a:gd name="T113" fmla="*/ 188 h 243"/>
                <a:gd name="T114" fmla="*/ 135 w 156"/>
                <a:gd name="T115" fmla="*/ 188 h 243"/>
                <a:gd name="T116" fmla="*/ 106 w 156"/>
                <a:gd name="T117" fmla="*/ 157 h 243"/>
                <a:gd name="T118" fmla="*/ 122 w 156"/>
                <a:gd name="T119" fmla="*/ 116 h 243"/>
                <a:gd name="T120" fmla="*/ 131 w 156"/>
                <a:gd name="T121" fmla="*/ 80 h 243"/>
                <a:gd name="T122" fmla="*/ 147 w 156"/>
                <a:gd name="T123" fmla="*/ 52 h 243"/>
                <a:gd name="T124" fmla="*/ 150 w 156"/>
                <a:gd name="T125" fmla="*/ 5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243">
                  <a:moveTo>
                    <a:pt x="152" y="48"/>
                  </a:moveTo>
                  <a:cubicBezTo>
                    <a:pt x="152" y="47"/>
                    <a:pt x="151" y="45"/>
                    <a:pt x="151" y="44"/>
                  </a:cubicBezTo>
                  <a:cubicBezTo>
                    <a:pt x="150" y="40"/>
                    <a:pt x="150" y="37"/>
                    <a:pt x="146" y="35"/>
                  </a:cubicBezTo>
                  <a:cubicBezTo>
                    <a:pt x="145" y="34"/>
                    <a:pt x="139" y="33"/>
                    <a:pt x="138" y="33"/>
                  </a:cubicBezTo>
                  <a:cubicBezTo>
                    <a:pt x="137" y="32"/>
                    <a:pt x="137" y="30"/>
                    <a:pt x="135" y="28"/>
                  </a:cubicBezTo>
                  <a:cubicBezTo>
                    <a:pt x="134" y="27"/>
                    <a:pt x="133" y="26"/>
                    <a:pt x="132" y="25"/>
                  </a:cubicBezTo>
                  <a:cubicBezTo>
                    <a:pt x="129" y="22"/>
                    <a:pt x="125" y="21"/>
                    <a:pt x="121" y="23"/>
                  </a:cubicBezTo>
                  <a:cubicBezTo>
                    <a:pt x="118" y="24"/>
                    <a:pt x="118" y="25"/>
                    <a:pt x="116" y="29"/>
                  </a:cubicBezTo>
                  <a:cubicBezTo>
                    <a:pt x="115" y="30"/>
                    <a:pt x="114" y="29"/>
                    <a:pt x="112" y="29"/>
                  </a:cubicBezTo>
                  <a:cubicBezTo>
                    <a:pt x="111" y="29"/>
                    <a:pt x="110" y="30"/>
                    <a:pt x="109" y="30"/>
                  </a:cubicBezTo>
                  <a:cubicBezTo>
                    <a:pt x="108" y="31"/>
                    <a:pt x="107" y="31"/>
                    <a:pt x="107" y="31"/>
                  </a:cubicBezTo>
                  <a:cubicBezTo>
                    <a:pt x="107" y="31"/>
                    <a:pt x="107" y="29"/>
                    <a:pt x="106" y="28"/>
                  </a:cubicBezTo>
                  <a:cubicBezTo>
                    <a:pt x="106" y="27"/>
                    <a:pt x="106" y="27"/>
                    <a:pt x="105" y="26"/>
                  </a:cubicBezTo>
                  <a:cubicBezTo>
                    <a:pt x="105" y="25"/>
                    <a:pt x="105" y="23"/>
                    <a:pt x="105" y="21"/>
                  </a:cubicBezTo>
                  <a:cubicBezTo>
                    <a:pt x="105" y="20"/>
                    <a:pt x="103" y="14"/>
                    <a:pt x="102" y="14"/>
                  </a:cubicBezTo>
                  <a:cubicBezTo>
                    <a:pt x="102" y="13"/>
                    <a:pt x="101" y="12"/>
                    <a:pt x="101" y="12"/>
                  </a:cubicBezTo>
                  <a:cubicBezTo>
                    <a:pt x="99" y="9"/>
                    <a:pt x="99" y="5"/>
                    <a:pt x="96" y="5"/>
                  </a:cubicBezTo>
                  <a:cubicBezTo>
                    <a:pt x="95" y="5"/>
                    <a:pt x="90" y="7"/>
                    <a:pt x="90" y="7"/>
                  </a:cubicBezTo>
                  <a:cubicBezTo>
                    <a:pt x="89" y="7"/>
                    <a:pt x="89" y="5"/>
                    <a:pt x="88" y="4"/>
                  </a:cubicBezTo>
                  <a:cubicBezTo>
                    <a:pt x="87" y="3"/>
                    <a:pt x="86" y="4"/>
                    <a:pt x="84" y="4"/>
                  </a:cubicBezTo>
                  <a:cubicBezTo>
                    <a:pt x="83" y="4"/>
                    <a:pt x="83" y="3"/>
                    <a:pt x="82" y="3"/>
                  </a:cubicBezTo>
                  <a:cubicBezTo>
                    <a:pt x="81" y="3"/>
                    <a:pt x="80" y="3"/>
                    <a:pt x="79" y="4"/>
                  </a:cubicBezTo>
                  <a:cubicBezTo>
                    <a:pt x="79" y="4"/>
                    <a:pt x="76" y="3"/>
                    <a:pt x="75" y="3"/>
                  </a:cubicBezTo>
                  <a:cubicBezTo>
                    <a:pt x="74" y="2"/>
                    <a:pt x="74" y="2"/>
                    <a:pt x="73" y="1"/>
                  </a:cubicBezTo>
                  <a:cubicBezTo>
                    <a:pt x="72" y="1"/>
                    <a:pt x="70" y="0"/>
                    <a:pt x="70" y="0"/>
                  </a:cubicBezTo>
                  <a:cubicBezTo>
                    <a:pt x="70" y="0"/>
                    <a:pt x="69" y="3"/>
                    <a:pt x="68" y="4"/>
                  </a:cubicBezTo>
                  <a:cubicBezTo>
                    <a:pt x="67" y="5"/>
                    <a:pt x="67" y="4"/>
                    <a:pt x="65" y="4"/>
                  </a:cubicBezTo>
                  <a:cubicBezTo>
                    <a:pt x="64" y="4"/>
                    <a:pt x="63" y="5"/>
                    <a:pt x="63" y="6"/>
                  </a:cubicBezTo>
                  <a:cubicBezTo>
                    <a:pt x="62" y="7"/>
                    <a:pt x="61" y="8"/>
                    <a:pt x="60" y="8"/>
                  </a:cubicBezTo>
                  <a:cubicBezTo>
                    <a:pt x="59" y="9"/>
                    <a:pt x="58" y="8"/>
                    <a:pt x="56" y="8"/>
                  </a:cubicBezTo>
                  <a:cubicBezTo>
                    <a:pt x="55" y="8"/>
                    <a:pt x="54" y="8"/>
                    <a:pt x="53" y="8"/>
                  </a:cubicBezTo>
                  <a:cubicBezTo>
                    <a:pt x="50" y="9"/>
                    <a:pt x="51" y="15"/>
                    <a:pt x="52" y="18"/>
                  </a:cubicBezTo>
                  <a:cubicBezTo>
                    <a:pt x="52" y="19"/>
                    <a:pt x="52" y="19"/>
                    <a:pt x="53" y="20"/>
                  </a:cubicBezTo>
                  <a:cubicBezTo>
                    <a:pt x="53" y="23"/>
                    <a:pt x="52" y="22"/>
                    <a:pt x="50" y="25"/>
                  </a:cubicBezTo>
                  <a:cubicBezTo>
                    <a:pt x="49" y="26"/>
                    <a:pt x="49" y="28"/>
                    <a:pt x="49" y="30"/>
                  </a:cubicBezTo>
                  <a:cubicBezTo>
                    <a:pt x="50" y="31"/>
                    <a:pt x="51" y="33"/>
                    <a:pt x="50" y="34"/>
                  </a:cubicBezTo>
                  <a:cubicBezTo>
                    <a:pt x="48" y="34"/>
                    <a:pt x="45" y="32"/>
                    <a:pt x="45" y="31"/>
                  </a:cubicBezTo>
                  <a:cubicBezTo>
                    <a:pt x="44" y="29"/>
                    <a:pt x="43" y="27"/>
                    <a:pt x="42" y="26"/>
                  </a:cubicBezTo>
                  <a:cubicBezTo>
                    <a:pt x="41" y="25"/>
                    <a:pt x="35" y="22"/>
                    <a:pt x="34" y="22"/>
                  </a:cubicBezTo>
                  <a:cubicBezTo>
                    <a:pt x="31" y="20"/>
                    <a:pt x="30" y="22"/>
                    <a:pt x="26" y="23"/>
                  </a:cubicBezTo>
                  <a:cubicBezTo>
                    <a:pt x="25" y="24"/>
                    <a:pt x="23" y="24"/>
                    <a:pt x="22" y="25"/>
                  </a:cubicBezTo>
                  <a:cubicBezTo>
                    <a:pt x="18" y="27"/>
                    <a:pt x="20" y="28"/>
                    <a:pt x="16" y="33"/>
                  </a:cubicBezTo>
                  <a:cubicBezTo>
                    <a:pt x="15" y="34"/>
                    <a:pt x="11" y="36"/>
                    <a:pt x="8" y="38"/>
                  </a:cubicBezTo>
                  <a:cubicBezTo>
                    <a:pt x="7" y="39"/>
                    <a:pt x="5" y="41"/>
                    <a:pt x="5" y="43"/>
                  </a:cubicBezTo>
                  <a:cubicBezTo>
                    <a:pt x="5" y="44"/>
                    <a:pt x="5" y="45"/>
                    <a:pt x="5" y="45"/>
                  </a:cubicBezTo>
                  <a:cubicBezTo>
                    <a:pt x="5" y="46"/>
                    <a:pt x="3" y="48"/>
                    <a:pt x="2" y="49"/>
                  </a:cubicBezTo>
                  <a:cubicBezTo>
                    <a:pt x="1" y="50"/>
                    <a:pt x="0" y="53"/>
                    <a:pt x="0" y="54"/>
                  </a:cubicBezTo>
                  <a:cubicBezTo>
                    <a:pt x="0" y="56"/>
                    <a:pt x="1" y="60"/>
                    <a:pt x="3" y="61"/>
                  </a:cubicBezTo>
                  <a:cubicBezTo>
                    <a:pt x="5" y="62"/>
                    <a:pt x="5" y="61"/>
                    <a:pt x="5" y="62"/>
                  </a:cubicBezTo>
                  <a:cubicBezTo>
                    <a:pt x="6" y="63"/>
                    <a:pt x="7" y="65"/>
                    <a:pt x="7" y="66"/>
                  </a:cubicBezTo>
                  <a:cubicBezTo>
                    <a:pt x="8" y="67"/>
                    <a:pt x="8" y="67"/>
                    <a:pt x="9" y="68"/>
                  </a:cubicBezTo>
                  <a:cubicBezTo>
                    <a:pt x="10" y="68"/>
                    <a:pt x="11" y="70"/>
                    <a:pt x="12" y="71"/>
                  </a:cubicBezTo>
                  <a:cubicBezTo>
                    <a:pt x="12" y="73"/>
                    <a:pt x="13" y="74"/>
                    <a:pt x="13" y="75"/>
                  </a:cubicBezTo>
                  <a:cubicBezTo>
                    <a:pt x="14" y="76"/>
                    <a:pt x="18" y="78"/>
                    <a:pt x="20" y="77"/>
                  </a:cubicBezTo>
                  <a:cubicBezTo>
                    <a:pt x="20" y="77"/>
                    <a:pt x="20" y="77"/>
                    <a:pt x="21" y="77"/>
                  </a:cubicBezTo>
                  <a:cubicBezTo>
                    <a:pt x="21" y="76"/>
                    <a:pt x="22" y="75"/>
                    <a:pt x="23" y="75"/>
                  </a:cubicBezTo>
                  <a:cubicBezTo>
                    <a:pt x="23" y="75"/>
                    <a:pt x="23" y="75"/>
                    <a:pt x="24" y="76"/>
                  </a:cubicBezTo>
                  <a:cubicBezTo>
                    <a:pt x="24" y="78"/>
                    <a:pt x="23" y="78"/>
                    <a:pt x="22" y="80"/>
                  </a:cubicBezTo>
                  <a:cubicBezTo>
                    <a:pt x="22" y="80"/>
                    <a:pt x="22" y="83"/>
                    <a:pt x="21" y="84"/>
                  </a:cubicBezTo>
                  <a:cubicBezTo>
                    <a:pt x="21" y="84"/>
                    <a:pt x="20" y="85"/>
                    <a:pt x="20" y="85"/>
                  </a:cubicBezTo>
                  <a:cubicBezTo>
                    <a:pt x="20" y="86"/>
                    <a:pt x="20" y="88"/>
                    <a:pt x="20" y="89"/>
                  </a:cubicBezTo>
                  <a:cubicBezTo>
                    <a:pt x="20" y="90"/>
                    <a:pt x="19" y="90"/>
                    <a:pt x="19" y="90"/>
                  </a:cubicBezTo>
                  <a:cubicBezTo>
                    <a:pt x="19" y="91"/>
                    <a:pt x="18" y="92"/>
                    <a:pt x="18" y="93"/>
                  </a:cubicBezTo>
                  <a:cubicBezTo>
                    <a:pt x="18" y="95"/>
                    <a:pt x="18" y="94"/>
                    <a:pt x="19" y="96"/>
                  </a:cubicBezTo>
                  <a:cubicBezTo>
                    <a:pt x="19" y="98"/>
                    <a:pt x="19" y="99"/>
                    <a:pt x="18" y="101"/>
                  </a:cubicBezTo>
                  <a:cubicBezTo>
                    <a:pt x="18" y="103"/>
                    <a:pt x="19" y="103"/>
                    <a:pt x="20" y="105"/>
                  </a:cubicBezTo>
                  <a:cubicBezTo>
                    <a:pt x="20" y="106"/>
                    <a:pt x="20" y="107"/>
                    <a:pt x="20" y="109"/>
                  </a:cubicBezTo>
                  <a:cubicBezTo>
                    <a:pt x="20" y="109"/>
                    <a:pt x="21" y="111"/>
                    <a:pt x="21" y="112"/>
                  </a:cubicBezTo>
                  <a:cubicBezTo>
                    <a:pt x="22" y="113"/>
                    <a:pt x="24" y="114"/>
                    <a:pt x="24" y="114"/>
                  </a:cubicBezTo>
                  <a:cubicBezTo>
                    <a:pt x="25" y="116"/>
                    <a:pt x="26" y="118"/>
                    <a:pt x="27" y="119"/>
                  </a:cubicBezTo>
                  <a:cubicBezTo>
                    <a:pt x="27" y="120"/>
                    <a:pt x="29" y="121"/>
                    <a:pt x="29" y="122"/>
                  </a:cubicBezTo>
                  <a:cubicBezTo>
                    <a:pt x="29" y="122"/>
                    <a:pt x="29" y="122"/>
                    <a:pt x="29" y="123"/>
                  </a:cubicBezTo>
                  <a:cubicBezTo>
                    <a:pt x="29" y="124"/>
                    <a:pt x="29" y="125"/>
                    <a:pt x="31" y="126"/>
                  </a:cubicBezTo>
                  <a:cubicBezTo>
                    <a:pt x="31" y="127"/>
                    <a:pt x="32" y="127"/>
                    <a:pt x="33" y="127"/>
                  </a:cubicBezTo>
                  <a:cubicBezTo>
                    <a:pt x="33" y="128"/>
                    <a:pt x="33" y="131"/>
                    <a:pt x="33" y="134"/>
                  </a:cubicBezTo>
                  <a:cubicBezTo>
                    <a:pt x="33" y="136"/>
                    <a:pt x="34" y="143"/>
                    <a:pt x="35" y="148"/>
                  </a:cubicBezTo>
                  <a:cubicBezTo>
                    <a:pt x="35" y="149"/>
                    <a:pt x="35" y="151"/>
                    <a:pt x="35" y="152"/>
                  </a:cubicBezTo>
                  <a:cubicBezTo>
                    <a:pt x="35" y="156"/>
                    <a:pt x="34" y="161"/>
                    <a:pt x="34" y="164"/>
                  </a:cubicBezTo>
                  <a:cubicBezTo>
                    <a:pt x="34" y="167"/>
                    <a:pt x="34" y="172"/>
                    <a:pt x="34" y="172"/>
                  </a:cubicBezTo>
                  <a:cubicBezTo>
                    <a:pt x="34" y="172"/>
                    <a:pt x="31" y="172"/>
                    <a:pt x="30" y="172"/>
                  </a:cubicBezTo>
                  <a:cubicBezTo>
                    <a:pt x="27" y="172"/>
                    <a:pt x="28" y="173"/>
                    <a:pt x="25" y="176"/>
                  </a:cubicBezTo>
                  <a:cubicBezTo>
                    <a:pt x="25" y="176"/>
                    <a:pt x="24" y="177"/>
                    <a:pt x="23" y="177"/>
                  </a:cubicBezTo>
                  <a:cubicBezTo>
                    <a:pt x="21" y="178"/>
                    <a:pt x="20" y="183"/>
                    <a:pt x="21" y="185"/>
                  </a:cubicBezTo>
                  <a:cubicBezTo>
                    <a:pt x="21" y="186"/>
                    <a:pt x="21" y="186"/>
                    <a:pt x="21" y="187"/>
                  </a:cubicBezTo>
                  <a:cubicBezTo>
                    <a:pt x="22" y="188"/>
                    <a:pt x="20" y="190"/>
                    <a:pt x="18" y="191"/>
                  </a:cubicBezTo>
                  <a:cubicBezTo>
                    <a:pt x="16" y="193"/>
                    <a:pt x="14" y="194"/>
                    <a:pt x="13" y="197"/>
                  </a:cubicBezTo>
                  <a:cubicBezTo>
                    <a:pt x="13" y="198"/>
                    <a:pt x="13" y="207"/>
                    <a:pt x="13" y="208"/>
                  </a:cubicBezTo>
                  <a:cubicBezTo>
                    <a:pt x="12" y="209"/>
                    <a:pt x="12" y="209"/>
                    <a:pt x="11" y="210"/>
                  </a:cubicBezTo>
                  <a:cubicBezTo>
                    <a:pt x="9" y="213"/>
                    <a:pt x="11" y="215"/>
                    <a:pt x="13" y="218"/>
                  </a:cubicBezTo>
                  <a:cubicBezTo>
                    <a:pt x="14" y="220"/>
                    <a:pt x="14" y="220"/>
                    <a:pt x="14" y="224"/>
                  </a:cubicBezTo>
                  <a:cubicBezTo>
                    <a:pt x="14" y="225"/>
                    <a:pt x="14" y="226"/>
                    <a:pt x="14" y="228"/>
                  </a:cubicBezTo>
                  <a:cubicBezTo>
                    <a:pt x="16" y="232"/>
                    <a:pt x="17" y="234"/>
                    <a:pt x="22" y="235"/>
                  </a:cubicBezTo>
                  <a:cubicBezTo>
                    <a:pt x="25" y="236"/>
                    <a:pt x="29" y="236"/>
                    <a:pt x="30" y="237"/>
                  </a:cubicBezTo>
                  <a:cubicBezTo>
                    <a:pt x="32" y="239"/>
                    <a:pt x="31" y="242"/>
                    <a:pt x="35" y="243"/>
                  </a:cubicBezTo>
                  <a:cubicBezTo>
                    <a:pt x="54" y="243"/>
                    <a:pt x="54" y="243"/>
                    <a:pt x="54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30" y="243"/>
                    <a:pt x="133" y="237"/>
                    <a:pt x="133" y="233"/>
                  </a:cubicBezTo>
                  <a:cubicBezTo>
                    <a:pt x="140" y="230"/>
                    <a:pt x="145" y="228"/>
                    <a:pt x="146" y="220"/>
                  </a:cubicBezTo>
                  <a:cubicBezTo>
                    <a:pt x="147" y="217"/>
                    <a:pt x="148" y="212"/>
                    <a:pt x="148" y="212"/>
                  </a:cubicBezTo>
                  <a:cubicBezTo>
                    <a:pt x="148" y="211"/>
                    <a:pt x="149" y="211"/>
                    <a:pt x="149" y="210"/>
                  </a:cubicBezTo>
                  <a:cubicBezTo>
                    <a:pt x="152" y="208"/>
                    <a:pt x="150" y="205"/>
                    <a:pt x="148" y="202"/>
                  </a:cubicBezTo>
                  <a:cubicBezTo>
                    <a:pt x="147" y="202"/>
                    <a:pt x="147" y="201"/>
                    <a:pt x="147" y="200"/>
                  </a:cubicBezTo>
                  <a:cubicBezTo>
                    <a:pt x="146" y="200"/>
                    <a:pt x="147" y="197"/>
                    <a:pt x="146" y="196"/>
                  </a:cubicBezTo>
                  <a:cubicBezTo>
                    <a:pt x="146" y="194"/>
                    <a:pt x="145" y="192"/>
                    <a:pt x="144" y="191"/>
                  </a:cubicBezTo>
                  <a:cubicBezTo>
                    <a:pt x="144" y="190"/>
                    <a:pt x="143" y="189"/>
                    <a:pt x="142" y="188"/>
                  </a:cubicBezTo>
                  <a:cubicBezTo>
                    <a:pt x="141" y="187"/>
                    <a:pt x="141" y="186"/>
                    <a:pt x="140" y="185"/>
                  </a:cubicBezTo>
                  <a:cubicBezTo>
                    <a:pt x="140" y="184"/>
                    <a:pt x="140" y="184"/>
                    <a:pt x="140" y="183"/>
                  </a:cubicBezTo>
                  <a:cubicBezTo>
                    <a:pt x="139" y="182"/>
                    <a:pt x="140" y="182"/>
                    <a:pt x="140" y="180"/>
                  </a:cubicBezTo>
                  <a:cubicBezTo>
                    <a:pt x="140" y="179"/>
                    <a:pt x="137" y="177"/>
                    <a:pt x="136" y="176"/>
                  </a:cubicBezTo>
                  <a:cubicBezTo>
                    <a:pt x="136" y="175"/>
                    <a:pt x="136" y="174"/>
                    <a:pt x="135" y="173"/>
                  </a:cubicBezTo>
                  <a:cubicBezTo>
                    <a:pt x="134" y="172"/>
                    <a:pt x="131" y="169"/>
                    <a:pt x="129" y="169"/>
                  </a:cubicBezTo>
                  <a:cubicBezTo>
                    <a:pt x="129" y="170"/>
                    <a:pt x="128" y="170"/>
                    <a:pt x="127" y="170"/>
                  </a:cubicBezTo>
                  <a:cubicBezTo>
                    <a:pt x="126" y="170"/>
                    <a:pt x="125" y="170"/>
                    <a:pt x="124" y="152"/>
                  </a:cubicBezTo>
                  <a:cubicBezTo>
                    <a:pt x="123" y="133"/>
                    <a:pt x="123" y="133"/>
                    <a:pt x="124" y="132"/>
                  </a:cubicBezTo>
                  <a:cubicBezTo>
                    <a:pt x="124" y="131"/>
                    <a:pt x="124" y="130"/>
                    <a:pt x="125" y="130"/>
                  </a:cubicBezTo>
                  <a:cubicBezTo>
                    <a:pt x="126" y="127"/>
                    <a:pt x="128" y="123"/>
                    <a:pt x="129" y="121"/>
                  </a:cubicBezTo>
                  <a:cubicBezTo>
                    <a:pt x="129" y="119"/>
                    <a:pt x="129" y="118"/>
                    <a:pt x="129" y="117"/>
                  </a:cubicBezTo>
                  <a:cubicBezTo>
                    <a:pt x="130" y="116"/>
                    <a:pt x="132" y="114"/>
                    <a:pt x="133" y="112"/>
                  </a:cubicBezTo>
                  <a:cubicBezTo>
                    <a:pt x="133" y="111"/>
                    <a:pt x="134" y="108"/>
                    <a:pt x="134" y="107"/>
                  </a:cubicBezTo>
                  <a:cubicBezTo>
                    <a:pt x="134" y="106"/>
                    <a:pt x="134" y="105"/>
                    <a:pt x="134" y="105"/>
                  </a:cubicBezTo>
                  <a:cubicBezTo>
                    <a:pt x="134" y="104"/>
                    <a:pt x="136" y="103"/>
                    <a:pt x="136" y="103"/>
                  </a:cubicBezTo>
                  <a:cubicBezTo>
                    <a:pt x="137" y="102"/>
                    <a:pt x="137" y="100"/>
                    <a:pt x="137" y="98"/>
                  </a:cubicBezTo>
                  <a:cubicBezTo>
                    <a:pt x="137" y="97"/>
                    <a:pt x="137" y="96"/>
                    <a:pt x="138" y="95"/>
                  </a:cubicBezTo>
                  <a:cubicBezTo>
                    <a:pt x="138" y="94"/>
                    <a:pt x="138" y="93"/>
                    <a:pt x="139" y="93"/>
                  </a:cubicBezTo>
                  <a:cubicBezTo>
                    <a:pt x="139" y="92"/>
                    <a:pt x="139" y="91"/>
                    <a:pt x="139" y="91"/>
                  </a:cubicBezTo>
                  <a:cubicBezTo>
                    <a:pt x="138" y="89"/>
                    <a:pt x="137" y="87"/>
                    <a:pt x="137" y="87"/>
                  </a:cubicBezTo>
                  <a:cubicBezTo>
                    <a:pt x="137" y="86"/>
                    <a:pt x="137" y="86"/>
                    <a:pt x="137" y="85"/>
                  </a:cubicBezTo>
                  <a:cubicBezTo>
                    <a:pt x="137" y="85"/>
                    <a:pt x="137" y="84"/>
                    <a:pt x="137" y="84"/>
                  </a:cubicBezTo>
                  <a:cubicBezTo>
                    <a:pt x="137" y="83"/>
                    <a:pt x="137" y="83"/>
                    <a:pt x="137" y="82"/>
                  </a:cubicBezTo>
                  <a:cubicBezTo>
                    <a:pt x="136" y="82"/>
                    <a:pt x="137" y="81"/>
                    <a:pt x="136" y="81"/>
                  </a:cubicBezTo>
                  <a:cubicBezTo>
                    <a:pt x="136" y="80"/>
                    <a:pt x="134" y="79"/>
                    <a:pt x="133" y="77"/>
                  </a:cubicBezTo>
                  <a:cubicBezTo>
                    <a:pt x="133" y="77"/>
                    <a:pt x="133" y="75"/>
                    <a:pt x="132" y="73"/>
                  </a:cubicBezTo>
                  <a:cubicBezTo>
                    <a:pt x="132" y="73"/>
                    <a:pt x="131" y="73"/>
                    <a:pt x="131" y="72"/>
                  </a:cubicBezTo>
                  <a:cubicBezTo>
                    <a:pt x="131" y="72"/>
                    <a:pt x="130" y="70"/>
                    <a:pt x="131" y="70"/>
                  </a:cubicBezTo>
                  <a:cubicBezTo>
                    <a:pt x="131" y="70"/>
                    <a:pt x="133" y="71"/>
                    <a:pt x="133" y="72"/>
                  </a:cubicBezTo>
                  <a:cubicBezTo>
                    <a:pt x="134" y="74"/>
                    <a:pt x="135" y="76"/>
                    <a:pt x="137" y="76"/>
                  </a:cubicBezTo>
                  <a:cubicBezTo>
                    <a:pt x="140" y="76"/>
                    <a:pt x="140" y="75"/>
                    <a:pt x="142" y="72"/>
                  </a:cubicBezTo>
                  <a:cubicBezTo>
                    <a:pt x="144" y="71"/>
                    <a:pt x="145" y="69"/>
                    <a:pt x="146" y="68"/>
                  </a:cubicBezTo>
                  <a:cubicBezTo>
                    <a:pt x="146" y="67"/>
                    <a:pt x="145" y="65"/>
                    <a:pt x="145" y="65"/>
                  </a:cubicBezTo>
                  <a:cubicBezTo>
                    <a:pt x="145" y="65"/>
                    <a:pt x="147" y="65"/>
                    <a:pt x="148" y="65"/>
                  </a:cubicBezTo>
                  <a:cubicBezTo>
                    <a:pt x="149" y="65"/>
                    <a:pt x="153" y="62"/>
                    <a:pt x="154" y="62"/>
                  </a:cubicBezTo>
                  <a:cubicBezTo>
                    <a:pt x="155" y="60"/>
                    <a:pt x="156" y="60"/>
                    <a:pt x="156" y="58"/>
                  </a:cubicBezTo>
                  <a:cubicBezTo>
                    <a:pt x="156" y="53"/>
                    <a:pt x="155" y="52"/>
                    <a:pt x="152" y="48"/>
                  </a:cubicBezTo>
                  <a:moveTo>
                    <a:pt x="139" y="36"/>
                  </a:moveTo>
                  <a:cubicBezTo>
                    <a:pt x="142" y="36"/>
                    <a:pt x="145" y="37"/>
                    <a:pt x="146" y="39"/>
                  </a:cubicBezTo>
                  <a:cubicBezTo>
                    <a:pt x="147" y="41"/>
                    <a:pt x="145" y="41"/>
                    <a:pt x="143" y="41"/>
                  </a:cubicBezTo>
                  <a:cubicBezTo>
                    <a:pt x="142" y="42"/>
                    <a:pt x="139" y="45"/>
                    <a:pt x="138" y="45"/>
                  </a:cubicBezTo>
                  <a:cubicBezTo>
                    <a:pt x="137" y="45"/>
                    <a:pt x="137" y="45"/>
                    <a:pt x="136" y="44"/>
                  </a:cubicBezTo>
                  <a:cubicBezTo>
                    <a:pt x="135" y="44"/>
                    <a:pt x="135" y="44"/>
                    <a:pt x="135" y="44"/>
                  </a:cubicBezTo>
                  <a:cubicBezTo>
                    <a:pt x="134" y="44"/>
                    <a:pt x="132" y="44"/>
                    <a:pt x="131" y="44"/>
                  </a:cubicBezTo>
                  <a:cubicBezTo>
                    <a:pt x="131" y="44"/>
                    <a:pt x="130" y="43"/>
                    <a:pt x="130" y="42"/>
                  </a:cubicBezTo>
                  <a:cubicBezTo>
                    <a:pt x="131" y="40"/>
                    <a:pt x="131" y="39"/>
                    <a:pt x="132" y="39"/>
                  </a:cubicBezTo>
                  <a:cubicBezTo>
                    <a:pt x="135" y="36"/>
                    <a:pt x="136" y="36"/>
                    <a:pt x="139" y="36"/>
                  </a:cubicBezTo>
                  <a:moveTo>
                    <a:pt x="116" y="34"/>
                  </a:moveTo>
                  <a:cubicBezTo>
                    <a:pt x="119" y="30"/>
                    <a:pt x="119" y="30"/>
                    <a:pt x="119" y="29"/>
                  </a:cubicBezTo>
                  <a:cubicBezTo>
                    <a:pt x="120" y="27"/>
                    <a:pt x="123" y="25"/>
                    <a:pt x="124" y="25"/>
                  </a:cubicBezTo>
                  <a:cubicBezTo>
                    <a:pt x="127" y="24"/>
                    <a:pt x="131" y="26"/>
                    <a:pt x="132" y="28"/>
                  </a:cubicBezTo>
                  <a:cubicBezTo>
                    <a:pt x="133" y="29"/>
                    <a:pt x="134" y="31"/>
                    <a:pt x="134" y="32"/>
                  </a:cubicBezTo>
                  <a:cubicBezTo>
                    <a:pt x="133" y="33"/>
                    <a:pt x="130" y="34"/>
                    <a:pt x="129" y="35"/>
                  </a:cubicBezTo>
                  <a:cubicBezTo>
                    <a:pt x="128" y="36"/>
                    <a:pt x="128" y="37"/>
                    <a:pt x="127" y="38"/>
                  </a:cubicBezTo>
                  <a:cubicBezTo>
                    <a:pt x="127" y="39"/>
                    <a:pt x="126" y="39"/>
                    <a:pt x="126" y="39"/>
                  </a:cubicBezTo>
                  <a:cubicBezTo>
                    <a:pt x="124" y="41"/>
                    <a:pt x="121" y="42"/>
                    <a:pt x="121" y="43"/>
                  </a:cubicBezTo>
                  <a:cubicBezTo>
                    <a:pt x="120" y="44"/>
                    <a:pt x="120" y="46"/>
                    <a:pt x="120" y="47"/>
                  </a:cubicBezTo>
                  <a:cubicBezTo>
                    <a:pt x="119" y="47"/>
                    <a:pt x="118" y="48"/>
                    <a:pt x="118" y="48"/>
                  </a:cubicBezTo>
                  <a:cubicBezTo>
                    <a:pt x="118" y="48"/>
                    <a:pt x="117" y="45"/>
                    <a:pt x="117" y="44"/>
                  </a:cubicBezTo>
                  <a:cubicBezTo>
                    <a:pt x="117" y="44"/>
                    <a:pt x="118" y="42"/>
                    <a:pt x="118" y="41"/>
                  </a:cubicBezTo>
                  <a:cubicBezTo>
                    <a:pt x="119" y="40"/>
                    <a:pt x="119" y="40"/>
                    <a:pt x="120" y="40"/>
                  </a:cubicBezTo>
                  <a:cubicBezTo>
                    <a:pt x="120" y="39"/>
                    <a:pt x="119" y="36"/>
                    <a:pt x="118" y="35"/>
                  </a:cubicBezTo>
                  <a:cubicBezTo>
                    <a:pt x="117" y="35"/>
                    <a:pt x="116" y="36"/>
                    <a:pt x="115" y="36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4" y="36"/>
                    <a:pt x="114" y="36"/>
                    <a:pt x="116" y="34"/>
                  </a:cubicBezTo>
                  <a:moveTo>
                    <a:pt x="122" y="86"/>
                  </a:moveTo>
                  <a:cubicBezTo>
                    <a:pt x="123" y="86"/>
                    <a:pt x="124" y="85"/>
                    <a:pt x="125" y="84"/>
                  </a:cubicBezTo>
                  <a:cubicBezTo>
                    <a:pt x="125" y="84"/>
                    <a:pt x="127" y="82"/>
                    <a:pt x="127" y="83"/>
                  </a:cubicBezTo>
                  <a:cubicBezTo>
                    <a:pt x="128" y="83"/>
                    <a:pt x="129" y="83"/>
                    <a:pt x="129" y="84"/>
                  </a:cubicBezTo>
                  <a:cubicBezTo>
                    <a:pt x="130" y="85"/>
                    <a:pt x="129" y="85"/>
                    <a:pt x="127" y="86"/>
                  </a:cubicBezTo>
                  <a:cubicBezTo>
                    <a:pt x="126" y="89"/>
                    <a:pt x="126" y="90"/>
                    <a:pt x="125" y="90"/>
                  </a:cubicBezTo>
                  <a:cubicBezTo>
                    <a:pt x="122" y="89"/>
                    <a:pt x="122" y="88"/>
                    <a:pt x="121" y="86"/>
                  </a:cubicBezTo>
                  <a:cubicBezTo>
                    <a:pt x="120" y="85"/>
                    <a:pt x="118" y="83"/>
                    <a:pt x="116" y="82"/>
                  </a:cubicBezTo>
                  <a:cubicBezTo>
                    <a:pt x="116" y="82"/>
                    <a:pt x="116" y="81"/>
                    <a:pt x="116" y="81"/>
                  </a:cubicBezTo>
                  <a:cubicBezTo>
                    <a:pt x="116" y="81"/>
                    <a:pt x="116" y="80"/>
                    <a:pt x="116" y="79"/>
                  </a:cubicBezTo>
                  <a:cubicBezTo>
                    <a:pt x="116" y="78"/>
                    <a:pt x="115" y="76"/>
                    <a:pt x="115" y="76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6" y="76"/>
                    <a:pt x="116" y="75"/>
                    <a:pt x="117" y="75"/>
                  </a:cubicBezTo>
                  <a:cubicBezTo>
                    <a:pt x="117" y="75"/>
                    <a:pt x="120" y="74"/>
                    <a:pt x="121" y="74"/>
                  </a:cubicBezTo>
                  <a:cubicBezTo>
                    <a:pt x="121" y="74"/>
                    <a:pt x="121" y="74"/>
                    <a:pt x="121" y="74"/>
                  </a:cubicBezTo>
                  <a:cubicBezTo>
                    <a:pt x="123" y="75"/>
                    <a:pt x="121" y="77"/>
                    <a:pt x="120" y="79"/>
                  </a:cubicBezTo>
                  <a:cubicBezTo>
                    <a:pt x="119" y="79"/>
                    <a:pt x="119" y="80"/>
                    <a:pt x="119" y="81"/>
                  </a:cubicBezTo>
                  <a:cubicBezTo>
                    <a:pt x="119" y="82"/>
                    <a:pt x="119" y="83"/>
                    <a:pt x="119" y="83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83"/>
                    <a:pt x="120" y="83"/>
                    <a:pt x="121" y="82"/>
                  </a:cubicBezTo>
                  <a:cubicBezTo>
                    <a:pt x="121" y="81"/>
                    <a:pt x="122" y="79"/>
                    <a:pt x="123" y="78"/>
                  </a:cubicBezTo>
                  <a:cubicBezTo>
                    <a:pt x="124" y="78"/>
                    <a:pt x="124" y="78"/>
                    <a:pt x="125" y="78"/>
                  </a:cubicBezTo>
                  <a:cubicBezTo>
                    <a:pt x="125" y="78"/>
                    <a:pt x="126" y="79"/>
                    <a:pt x="125" y="80"/>
                  </a:cubicBezTo>
                  <a:cubicBezTo>
                    <a:pt x="125" y="81"/>
                    <a:pt x="123" y="84"/>
                    <a:pt x="122" y="85"/>
                  </a:cubicBezTo>
                  <a:cubicBezTo>
                    <a:pt x="122" y="85"/>
                    <a:pt x="122" y="86"/>
                    <a:pt x="122" y="86"/>
                  </a:cubicBezTo>
                  <a:moveTo>
                    <a:pt x="117" y="113"/>
                  </a:moveTo>
                  <a:cubicBezTo>
                    <a:pt x="114" y="111"/>
                    <a:pt x="113" y="108"/>
                    <a:pt x="114" y="105"/>
                  </a:cubicBezTo>
                  <a:cubicBezTo>
                    <a:pt x="114" y="104"/>
                    <a:pt x="115" y="103"/>
                    <a:pt x="116" y="102"/>
                  </a:cubicBezTo>
                  <a:cubicBezTo>
                    <a:pt x="116" y="100"/>
                    <a:pt x="117" y="100"/>
                    <a:pt x="118" y="101"/>
                  </a:cubicBezTo>
                  <a:cubicBezTo>
                    <a:pt x="119" y="102"/>
                    <a:pt x="119" y="103"/>
                    <a:pt x="119" y="104"/>
                  </a:cubicBezTo>
                  <a:cubicBezTo>
                    <a:pt x="118" y="106"/>
                    <a:pt x="116" y="108"/>
                    <a:pt x="116" y="108"/>
                  </a:cubicBezTo>
                  <a:cubicBezTo>
                    <a:pt x="116" y="109"/>
                    <a:pt x="117" y="110"/>
                    <a:pt x="117" y="110"/>
                  </a:cubicBezTo>
                  <a:cubicBezTo>
                    <a:pt x="117" y="111"/>
                    <a:pt x="118" y="111"/>
                    <a:pt x="119" y="110"/>
                  </a:cubicBezTo>
                  <a:cubicBezTo>
                    <a:pt x="119" y="110"/>
                    <a:pt x="119" y="109"/>
                    <a:pt x="120" y="108"/>
                  </a:cubicBezTo>
                  <a:cubicBezTo>
                    <a:pt x="120" y="107"/>
                    <a:pt x="121" y="106"/>
                    <a:pt x="122" y="107"/>
                  </a:cubicBezTo>
                  <a:cubicBezTo>
                    <a:pt x="123" y="108"/>
                    <a:pt x="122" y="109"/>
                    <a:pt x="122" y="110"/>
                  </a:cubicBezTo>
                  <a:cubicBezTo>
                    <a:pt x="120" y="112"/>
                    <a:pt x="119" y="114"/>
                    <a:pt x="117" y="113"/>
                  </a:cubicBezTo>
                  <a:moveTo>
                    <a:pt x="122" y="120"/>
                  </a:moveTo>
                  <a:cubicBezTo>
                    <a:pt x="123" y="120"/>
                    <a:pt x="123" y="121"/>
                    <a:pt x="123" y="122"/>
                  </a:cubicBezTo>
                  <a:cubicBezTo>
                    <a:pt x="122" y="123"/>
                    <a:pt x="122" y="127"/>
                    <a:pt x="120" y="127"/>
                  </a:cubicBezTo>
                  <a:cubicBezTo>
                    <a:pt x="119" y="126"/>
                    <a:pt x="118" y="124"/>
                    <a:pt x="119" y="123"/>
                  </a:cubicBezTo>
                  <a:cubicBezTo>
                    <a:pt x="119" y="121"/>
                    <a:pt x="120" y="119"/>
                    <a:pt x="122" y="120"/>
                  </a:cubicBezTo>
                  <a:moveTo>
                    <a:pt x="94" y="179"/>
                  </a:moveTo>
                  <a:cubicBezTo>
                    <a:pt x="95" y="179"/>
                    <a:pt x="95" y="180"/>
                    <a:pt x="95" y="180"/>
                  </a:cubicBezTo>
                  <a:cubicBezTo>
                    <a:pt x="95" y="180"/>
                    <a:pt x="95" y="181"/>
                    <a:pt x="95" y="181"/>
                  </a:cubicBezTo>
                  <a:cubicBezTo>
                    <a:pt x="95" y="182"/>
                    <a:pt x="94" y="179"/>
                    <a:pt x="93" y="179"/>
                  </a:cubicBezTo>
                  <a:cubicBezTo>
                    <a:pt x="93" y="178"/>
                    <a:pt x="92" y="178"/>
                    <a:pt x="91" y="178"/>
                  </a:cubicBezTo>
                  <a:cubicBezTo>
                    <a:pt x="90" y="177"/>
                    <a:pt x="90" y="173"/>
                    <a:pt x="90" y="171"/>
                  </a:cubicBezTo>
                  <a:cubicBezTo>
                    <a:pt x="90" y="170"/>
                    <a:pt x="91" y="168"/>
                    <a:pt x="91" y="166"/>
                  </a:cubicBezTo>
                  <a:cubicBezTo>
                    <a:pt x="91" y="165"/>
                    <a:pt x="91" y="163"/>
                    <a:pt x="92" y="163"/>
                  </a:cubicBezTo>
                  <a:cubicBezTo>
                    <a:pt x="92" y="162"/>
                    <a:pt x="92" y="163"/>
                    <a:pt x="93" y="164"/>
                  </a:cubicBezTo>
                  <a:cubicBezTo>
                    <a:pt x="93" y="165"/>
                    <a:pt x="93" y="166"/>
                    <a:pt x="93" y="168"/>
                  </a:cubicBezTo>
                  <a:cubicBezTo>
                    <a:pt x="93" y="170"/>
                    <a:pt x="93" y="175"/>
                    <a:pt x="93" y="175"/>
                  </a:cubicBezTo>
                  <a:cubicBezTo>
                    <a:pt x="94" y="176"/>
                    <a:pt x="95" y="177"/>
                    <a:pt x="95" y="177"/>
                  </a:cubicBezTo>
                  <a:cubicBezTo>
                    <a:pt x="95" y="178"/>
                    <a:pt x="94" y="178"/>
                    <a:pt x="94" y="179"/>
                  </a:cubicBezTo>
                  <a:moveTo>
                    <a:pt x="92" y="151"/>
                  </a:moveTo>
                  <a:cubicBezTo>
                    <a:pt x="92" y="151"/>
                    <a:pt x="91" y="153"/>
                    <a:pt x="91" y="155"/>
                  </a:cubicBezTo>
                  <a:cubicBezTo>
                    <a:pt x="89" y="162"/>
                    <a:pt x="87" y="170"/>
                    <a:pt x="88" y="171"/>
                  </a:cubicBezTo>
                  <a:cubicBezTo>
                    <a:pt x="88" y="174"/>
                    <a:pt x="89" y="178"/>
                    <a:pt x="89" y="179"/>
                  </a:cubicBezTo>
                  <a:cubicBezTo>
                    <a:pt x="88" y="180"/>
                    <a:pt x="87" y="178"/>
                    <a:pt x="87" y="176"/>
                  </a:cubicBezTo>
                  <a:cubicBezTo>
                    <a:pt x="86" y="167"/>
                    <a:pt x="86" y="167"/>
                    <a:pt x="89" y="159"/>
                  </a:cubicBezTo>
                  <a:cubicBezTo>
                    <a:pt x="90" y="157"/>
                    <a:pt x="92" y="145"/>
                    <a:pt x="92" y="141"/>
                  </a:cubicBezTo>
                  <a:cubicBezTo>
                    <a:pt x="92" y="139"/>
                    <a:pt x="92" y="134"/>
                    <a:pt x="91" y="133"/>
                  </a:cubicBezTo>
                  <a:cubicBezTo>
                    <a:pt x="91" y="130"/>
                    <a:pt x="89" y="126"/>
                    <a:pt x="93" y="123"/>
                  </a:cubicBezTo>
                  <a:cubicBezTo>
                    <a:pt x="96" y="120"/>
                    <a:pt x="99" y="123"/>
                    <a:pt x="100" y="123"/>
                  </a:cubicBezTo>
                  <a:cubicBezTo>
                    <a:pt x="100" y="124"/>
                    <a:pt x="100" y="126"/>
                    <a:pt x="100" y="127"/>
                  </a:cubicBezTo>
                  <a:cubicBezTo>
                    <a:pt x="99" y="129"/>
                    <a:pt x="99" y="136"/>
                    <a:pt x="98" y="139"/>
                  </a:cubicBezTo>
                  <a:cubicBezTo>
                    <a:pt x="97" y="144"/>
                    <a:pt x="95" y="151"/>
                    <a:pt x="95" y="152"/>
                  </a:cubicBezTo>
                  <a:cubicBezTo>
                    <a:pt x="95" y="153"/>
                    <a:pt x="95" y="154"/>
                    <a:pt x="96" y="155"/>
                  </a:cubicBezTo>
                  <a:cubicBezTo>
                    <a:pt x="97" y="158"/>
                    <a:pt x="98" y="160"/>
                    <a:pt x="98" y="163"/>
                  </a:cubicBezTo>
                  <a:cubicBezTo>
                    <a:pt x="98" y="165"/>
                    <a:pt x="97" y="170"/>
                    <a:pt x="99" y="172"/>
                  </a:cubicBezTo>
                  <a:cubicBezTo>
                    <a:pt x="100" y="173"/>
                    <a:pt x="101" y="174"/>
                    <a:pt x="102" y="174"/>
                  </a:cubicBezTo>
                  <a:cubicBezTo>
                    <a:pt x="102" y="175"/>
                    <a:pt x="104" y="180"/>
                    <a:pt x="103" y="181"/>
                  </a:cubicBezTo>
                  <a:cubicBezTo>
                    <a:pt x="103" y="182"/>
                    <a:pt x="102" y="182"/>
                    <a:pt x="102" y="183"/>
                  </a:cubicBezTo>
                  <a:cubicBezTo>
                    <a:pt x="101" y="183"/>
                    <a:pt x="100" y="182"/>
                    <a:pt x="99" y="182"/>
                  </a:cubicBezTo>
                  <a:cubicBezTo>
                    <a:pt x="99" y="182"/>
                    <a:pt x="99" y="181"/>
                    <a:pt x="99" y="181"/>
                  </a:cubicBezTo>
                  <a:cubicBezTo>
                    <a:pt x="99" y="181"/>
                    <a:pt x="100" y="181"/>
                    <a:pt x="101" y="181"/>
                  </a:cubicBezTo>
                  <a:cubicBezTo>
                    <a:pt x="101" y="181"/>
                    <a:pt x="101" y="181"/>
                    <a:pt x="101" y="181"/>
                  </a:cubicBezTo>
                  <a:cubicBezTo>
                    <a:pt x="102" y="180"/>
                    <a:pt x="100" y="176"/>
                    <a:pt x="99" y="175"/>
                  </a:cubicBezTo>
                  <a:cubicBezTo>
                    <a:pt x="98" y="175"/>
                    <a:pt x="97" y="174"/>
                    <a:pt x="96" y="174"/>
                  </a:cubicBezTo>
                  <a:cubicBezTo>
                    <a:pt x="96" y="173"/>
                    <a:pt x="96" y="170"/>
                    <a:pt x="96" y="168"/>
                  </a:cubicBezTo>
                  <a:cubicBezTo>
                    <a:pt x="96" y="166"/>
                    <a:pt x="93" y="151"/>
                    <a:pt x="92" y="151"/>
                  </a:cubicBezTo>
                  <a:moveTo>
                    <a:pt x="73" y="145"/>
                  </a:moveTo>
                  <a:cubicBezTo>
                    <a:pt x="73" y="146"/>
                    <a:pt x="73" y="147"/>
                    <a:pt x="73" y="149"/>
                  </a:cubicBezTo>
                  <a:cubicBezTo>
                    <a:pt x="73" y="150"/>
                    <a:pt x="72" y="152"/>
                    <a:pt x="72" y="153"/>
                  </a:cubicBezTo>
                  <a:cubicBezTo>
                    <a:pt x="71" y="153"/>
                    <a:pt x="71" y="152"/>
                    <a:pt x="70" y="152"/>
                  </a:cubicBezTo>
                  <a:cubicBezTo>
                    <a:pt x="68" y="147"/>
                    <a:pt x="68" y="129"/>
                    <a:pt x="68" y="126"/>
                  </a:cubicBezTo>
                  <a:cubicBezTo>
                    <a:pt x="68" y="125"/>
                    <a:pt x="69" y="125"/>
                    <a:pt x="69" y="124"/>
                  </a:cubicBezTo>
                  <a:cubicBezTo>
                    <a:pt x="69" y="124"/>
                    <a:pt x="70" y="124"/>
                    <a:pt x="70" y="124"/>
                  </a:cubicBezTo>
                  <a:cubicBezTo>
                    <a:pt x="71" y="124"/>
                    <a:pt x="72" y="125"/>
                    <a:pt x="73" y="126"/>
                  </a:cubicBezTo>
                  <a:cubicBezTo>
                    <a:pt x="75" y="128"/>
                    <a:pt x="73" y="129"/>
                    <a:pt x="72" y="133"/>
                  </a:cubicBezTo>
                  <a:cubicBezTo>
                    <a:pt x="72" y="134"/>
                    <a:pt x="73" y="141"/>
                    <a:pt x="73" y="145"/>
                  </a:cubicBezTo>
                  <a:moveTo>
                    <a:pt x="66" y="176"/>
                  </a:moveTo>
                  <a:cubicBezTo>
                    <a:pt x="65" y="176"/>
                    <a:pt x="64" y="176"/>
                    <a:pt x="64" y="176"/>
                  </a:cubicBezTo>
                  <a:cubicBezTo>
                    <a:pt x="63" y="176"/>
                    <a:pt x="63" y="175"/>
                    <a:pt x="62" y="175"/>
                  </a:cubicBezTo>
                  <a:cubicBezTo>
                    <a:pt x="62" y="175"/>
                    <a:pt x="58" y="179"/>
                    <a:pt x="57" y="179"/>
                  </a:cubicBezTo>
                  <a:cubicBezTo>
                    <a:pt x="57" y="181"/>
                    <a:pt x="57" y="183"/>
                    <a:pt x="56" y="183"/>
                  </a:cubicBezTo>
                  <a:cubicBezTo>
                    <a:pt x="54" y="182"/>
                    <a:pt x="55" y="180"/>
                    <a:pt x="56" y="179"/>
                  </a:cubicBezTo>
                  <a:cubicBezTo>
                    <a:pt x="57" y="177"/>
                    <a:pt x="59" y="177"/>
                    <a:pt x="59" y="175"/>
                  </a:cubicBezTo>
                  <a:cubicBezTo>
                    <a:pt x="59" y="174"/>
                    <a:pt x="58" y="174"/>
                    <a:pt x="58" y="174"/>
                  </a:cubicBezTo>
                  <a:cubicBezTo>
                    <a:pt x="57" y="175"/>
                    <a:pt x="54" y="178"/>
                    <a:pt x="54" y="178"/>
                  </a:cubicBezTo>
                  <a:cubicBezTo>
                    <a:pt x="53" y="179"/>
                    <a:pt x="53" y="180"/>
                    <a:pt x="53" y="180"/>
                  </a:cubicBezTo>
                  <a:cubicBezTo>
                    <a:pt x="53" y="181"/>
                    <a:pt x="51" y="183"/>
                    <a:pt x="51" y="183"/>
                  </a:cubicBezTo>
                  <a:cubicBezTo>
                    <a:pt x="50" y="183"/>
                    <a:pt x="50" y="183"/>
                    <a:pt x="50" y="183"/>
                  </a:cubicBezTo>
                  <a:cubicBezTo>
                    <a:pt x="49" y="182"/>
                    <a:pt x="51" y="181"/>
                    <a:pt x="52" y="181"/>
                  </a:cubicBezTo>
                  <a:cubicBezTo>
                    <a:pt x="52" y="180"/>
                    <a:pt x="52" y="180"/>
                    <a:pt x="52" y="179"/>
                  </a:cubicBezTo>
                  <a:cubicBezTo>
                    <a:pt x="52" y="179"/>
                    <a:pt x="52" y="178"/>
                    <a:pt x="52" y="177"/>
                  </a:cubicBezTo>
                  <a:cubicBezTo>
                    <a:pt x="52" y="177"/>
                    <a:pt x="54" y="175"/>
                    <a:pt x="55" y="174"/>
                  </a:cubicBezTo>
                  <a:cubicBezTo>
                    <a:pt x="56" y="174"/>
                    <a:pt x="59" y="173"/>
                    <a:pt x="60" y="172"/>
                  </a:cubicBezTo>
                  <a:cubicBezTo>
                    <a:pt x="62" y="171"/>
                    <a:pt x="62" y="170"/>
                    <a:pt x="60" y="169"/>
                  </a:cubicBezTo>
                  <a:cubicBezTo>
                    <a:pt x="60" y="169"/>
                    <a:pt x="60" y="169"/>
                    <a:pt x="60" y="168"/>
                  </a:cubicBezTo>
                  <a:cubicBezTo>
                    <a:pt x="60" y="164"/>
                    <a:pt x="60" y="161"/>
                    <a:pt x="60" y="157"/>
                  </a:cubicBezTo>
                  <a:cubicBezTo>
                    <a:pt x="60" y="154"/>
                    <a:pt x="59" y="152"/>
                    <a:pt x="59" y="149"/>
                  </a:cubicBezTo>
                  <a:cubicBezTo>
                    <a:pt x="58" y="144"/>
                    <a:pt x="58" y="134"/>
                    <a:pt x="57" y="126"/>
                  </a:cubicBezTo>
                  <a:cubicBezTo>
                    <a:pt x="57" y="125"/>
                    <a:pt x="57" y="125"/>
                    <a:pt x="58" y="125"/>
                  </a:cubicBezTo>
                  <a:cubicBezTo>
                    <a:pt x="58" y="124"/>
                    <a:pt x="58" y="124"/>
                    <a:pt x="59" y="124"/>
                  </a:cubicBezTo>
                  <a:cubicBezTo>
                    <a:pt x="60" y="123"/>
                    <a:pt x="63" y="123"/>
                    <a:pt x="63" y="123"/>
                  </a:cubicBezTo>
                  <a:cubicBezTo>
                    <a:pt x="63" y="123"/>
                    <a:pt x="64" y="123"/>
                    <a:pt x="64" y="123"/>
                  </a:cubicBezTo>
                  <a:cubicBezTo>
                    <a:pt x="67" y="127"/>
                    <a:pt x="66" y="131"/>
                    <a:pt x="66" y="137"/>
                  </a:cubicBezTo>
                  <a:cubicBezTo>
                    <a:pt x="66" y="140"/>
                    <a:pt x="68" y="150"/>
                    <a:pt x="69" y="154"/>
                  </a:cubicBezTo>
                  <a:cubicBezTo>
                    <a:pt x="69" y="156"/>
                    <a:pt x="71" y="160"/>
                    <a:pt x="71" y="163"/>
                  </a:cubicBezTo>
                  <a:cubicBezTo>
                    <a:pt x="71" y="163"/>
                    <a:pt x="71" y="165"/>
                    <a:pt x="70" y="165"/>
                  </a:cubicBezTo>
                  <a:cubicBezTo>
                    <a:pt x="70" y="166"/>
                    <a:pt x="68" y="165"/>
                    <a:pt x="68" y="165"/>
                  </a:cubicBezTo>
                  <a:cubicBezTo>
                    <a:pt x="68" y="165"/>
                    <a:pt x="68" y="165"/>
                    <a:pt x="68" y="165"/>
                  </a:cubicBezTo>
                  <a:cubicBezTo>
                    <a:pt x="67" y="166"/>
                    <a:pt x="67" y="167"/>
                    <a:pt x="67" y="168"/>
                  </a:cubicBezTo>
                  <a:cubicBezTo>
                    <a:pt x="67" y="168"/>
                    <a:pt x="66" y="167"/>
                    <a:pt x="66" y="166"/>
                  </a:cubicBezTo>
                  <a:cubicBezTo>
                    <a:pt x="66" y="166"/>
                    <a:pt x="65" y="166"/>
                    <a:pt x="65" y="166"/>
                  </a:cubicBezTo>
                  <a:cubicBezTo>
                    <a:pt x="65" y="166"/>
                    <a:pt x="65" y="168"/>
                    <a:pt x="65" y="168"/>
                  </a:cubicBezTo>
                  <a:cubicBezTo>
                    <a:pt x="65" y="170"/>
                    <a:pt x="64" y="171"/>
                    <a:pt x="64" y="172"/>
                  </a:cubicBezTo>
                  <a:cubicBezTo>
                    <a:pt x="64" y="172"/>
                    <a:pt x="64" y="173"/>
                    <a:pt x="64" y="173"/>
                  </a:cubicBezTo>
                  <a:cubicBezTo>
                    <a:pt x="64" y="173"/>
                    <a:pt x="65" y="173"/>
                    <a:pt x="66" y="173"/>
                  </a:cubicBezTo>
                  <a:cubicBezTo>
                    <a:pt x="67" y="172"/>
                    <a:pt x="67" y="171"/>
                    <a:pt x="69" y="172"/>
                  </a:cubicBezTo>
                  <a:cubicBezTo>
                    <a:pt x="70" y="172"/>
                    <a:pt x="70" y="172"/>
                    <a:pt x="70" y="173"/>
                  </a:cubicBezTo>
                  <a:cubicBezTo>
                    <a:pt x="69" y="174"/>
                    <a:pt x="71" y="178"/>
                    <a:pt x="72" y="177"/>
                  </a:cubicBezTo>
                  <a:cubicBezTo>
                    <a:pt x="73" y="177"/>
                    <a:pt x="73" y="178"/>
                    <a:pt x="73" y="179"/>
                  </a:cubicBezTo>
                  <a:cubicBezTo>
                    <a:pt x="73" y="180"/>
                    <a:pt x="72" y="181"/>
                    <a:pt x="72" y="182"/>
                  </a:cubicBezTo>
                  <a:cubicBezTo>
                    <a:pt x="71" y="183"/>
                    <a:pt x="70" y="183"/>
                    <a:pt x="69" y="182"/>
                  </a:cubicBezTo>
                  <a:cubicBezTo>
                    <a:pt x="68" y="181"/>
                    <a:pt x="66" y="177"/>
                    <a:pt x="66" y="176"/>
                  </a:cubicBezTo>
                  <a:moveTo>
                    <a:pt x="67" y="186"/>
                  </a:moveTo>
                  <a:cubicBezTo>
                    <a:pt x="67" y="186"/>
                    <a:pt x="67" y="186"/>
                    <a:pt x="66" y="187"/>
                  </a:cubicBezTo>
                  <a:cubicBezTo>
                    <a:pt x="66" y="187"/>
                    <a:pt x="65" y="188"/>
                    <a:pt x="65" y="187"/>
                  </a:cubicBezTo>
                  <a:cubicBezTo>
                    <a:pt x="64" y="186"/>
                    <a:pt x="66" y="185"/>
                    <a:pt x="66" y="184"/>
                  </a:cubicBezTo>
                  <a:cubicBezTo>
                    <a:pt x="66" y="184"/>
                    <a:pt x="67" y="185"/>
                    <a:pt x="67" y="185"/>
                  </a:cubicBezTo>
                  <a:cubicBezTo>
                    <a:pt x="67" y="185"/>
                    <a:pt x="67" y="186"/>
                    <a:pt x="67" y="186"/>
                  </a:cubicBezTo>
                  <a:moveTo>
                    <a:pt x="59" y="183"/>
                  </a:moveTo>
                  <a:cubicBezTo>
                    <a:pt x="59" y="182"/>
                    <a:pt x="59" y="182"/>
                    <a:pt x="59" y="182"/>
                  </a:cubicBezTo>
                  <a:cubicBezTo>
                    <a:pt x="60" y="181"/>
                    <a:pt x="62" y="179"/>
                    <a:pt x="63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2" y="182"/>
                    <a:pt x="62" y="183"/>
                    <a:pt x="59" y="183"/>
                  </a:cubicBezTo>
                  <a:moveTo>
                    <a:pt x="61" y="187"/>
                  </a:moveTo>
                  <a:cubicBezTo>
                    <a:pt x="61" y="187"/>
                    <a:pt x="61" y="187"/>
                    <a:pt x="60" y="187"/>
                  </a:cubicBezTo>
                  <a:cubicBezTo>
                    <a:pt x="60" y="187"/>
                    <a:pt x="60" y="186"/>
                    <a:pt x="61" y="186"/>
                  </a:cubicBezTo>
                  <a:cubicBezTo>
                    <a:pt x="61" y="185"/>
                    <a:pt x="61" y="185"/>
                    <a:pt x="62" y="186"/>
                  </a:cubicBezTo>
                  <a:cubicBezTo>
                    <a:pt x="63" y="187"/>
                    <a:pt x="61" y="187"/>
                    <a:pt x="61" y="187"/>
                  </a:cubicBezTo>
                  <a:moveTo>
                    <a:pt x="47" y="188"/>
                  </a:moveTo>
                  <a:cubicBezTo>
                    <a:pt x="48" y="188"/>
                    <a:pt x="48" y="187"/>
                    <a:pt x="49" y="186"/>
                  </a:cubicBezTo>
                  <a:cubicBezTo>
                    <a:pt x="50" y="186"/>
                    <a:pt x="51" y="186"/>
                    <a:pt x="51" y="186"/>
                  </a:cubicBezTo>
                  <a:cubicBezTo>
                    <a:pt x="51" y="187"/>
                    <a:pt x="49" y="189"/>
                    <a:pt x="49" y="189"/>
                  </a:cubicBezTo>
                  <a:cubicBezTo>
                    <a:pt x="48" y="189"/>
                    <a:pt x="47" y="188"/>
                    <a:pt x="46" y="188"/>
                  </a:cubicBezTo>
                  <a:cubicBezTo>
                    <a:pt x="46" y="188"/>
                    <a:pt x="45" y="188"/>
                    <a:pt x="45" y="189"/>
                  </a:cubicBezTo>
                  <a:cubicBezTo>
                    <a:pt x="44" y="189"/>
                    <a:pt x="43" y="189"/>
                    <a:pt x="43" y="189"/>
                  </a:cubicBezTo>
                  <a:cubicBezTo>
                    <a:pt x="43" y="189"/>
                    <a:pt x="43" y="188"/>
                    <a:pt x="43" y="188"/>
                  </a:cubicBezTo>
                  <a:cubicBezTo>
                    <a:pt x="43" y="187"/>
                    <a:pt x="44" y="186"/>
                    <a:pt x="44" y="186"/>
                  </a:cubicBezTo>
                  <a:cubicBezTo>
                    <a:pt x="46" y="186"/>
                    <a:pt x="46" y="187"/>
                    <a:pt x="47" y="188"/>
                  </a:cubicBezTo>
                  <a:moveTo>
                    <a:pt x="45" y="183"/>
                  </a:moveTo>
                  <a:cubicBezTo>
                    <a:pt x="46" y="182"/>
                    <a:pt x="47" y="181"/>
                    <a:pt x="47" y="181"/>
                  </a:cubicBezTo>
                  <a:cubicBezTo>
                    <a:pt x="47" y="181"/>
                    <a:pt x="47" y="181"/>
                    <a:pt x="48" y="181"/>
                  </a:cubicBezTo>
                  <a:cubicBezTo>
                    <a:pt x="48" y="183"/>
                    <a:pt x="48" y="183"/>
                    <a:pt x="47" y="183"/>
                  </a:cubicBezTo>
                  <a:cubicBezTo>
                    <a:pt x="47" y="183"/>
                    <a:pt x="47" y="184"/>
                    <a:pt x="47" y="184"/>
                  </a:cubicBezTo>
                  <a:cubicBezTo>
                    <a:pt x="46" y="184"/>
                    <a:pt x="45" y="184"/>
                    <a:pt x="45" y="184"/>
                  </a:cubicBezTo>
                  <a:cubicBezTo>
                    <a:pt x="45" y="184"/>
                    <a:pt x="45" y="183"/>
                    <a:pt x="45" y="183"/>
                  </a:cubicBezTo>
                  <a:moveTo>
                    <a:pt x="44" y="201"/>
                  </a:moveTo>
                  <a:cubicBezTo>
                    <a:pt x="44" y="201"/>
                    <a:pt x="45" y="198"/>
                    <a:pt x="45" y="197"/>
                  </a:cubicBezTo>
                  <a:cubicBezTo>
                    <a:pt x="45" y="197"/>
                    <a:pt x="44" y="197"/>
                    <a:pt x="44" y="197"/>
                  </a:cubicBezTo>
                  <a:cubicBezTo>
                    <a:pt x="44" y="196"/>
                    <a:pt x="45" y="196"/>
                    <a:pt x="45" y="195"/>
                  </a:cubicBezTo>
                  <a:cubicBezTo>
                    <a:pt x="45" y="195"/>
                    <a:pt x="46" y="194"/>
                    <a:pt x="46" y="194"/>
                  </a:cubicBezTo>
                  <a:cubicBezTo>
                    <a:pt x="45" y="193"/>
                    <a:pt x="45" y="193"/>
                    <a:pt x="46" y="192"/>
                  </a:cubicBezTo>
                  <a:cubicBezTo>
                    <a:pt x="48" y="192"/>
                    <a:pt x="49" y="191"/>
                    <a:pt x="51" y="191"/>
                  </a:cubicBezTo>
                  <a:cubicBezTo>
                    <a:pt x="53" y="191"/>
                    <a:pt x="57" y="192"/>
                    <a:pt x="57" y="192"/>
                  </a:cubicBezTo>
                  <a:cubicBezTo>
                    <a:pt x="57" y="192"/>
                    <a:pt x="57" y="192"/>
                    <a:pt x="57" y="193"/>
                  </a:cubicBezTo>
                  <a:cubicBezTo>
                    <a:pt x="56" y="193"/>
                    <a:pt x="55" y="195"/>
                    <a:pt x="54" y="196"/>
                  </a:cubicBezTo>
                  <a:cubicBezTo>
                    <a:pt x="53" y="196"/>
                    <a:pt x="53" y="198"/>
                    <a:pt x="53" y="199"/>
                  </a:cubicBezTo>
                  <a:cubicBezTo>
                    <a:pt x="52" y="202"/>
                    <a:pt x="53" y="207"/>
                    <a:pt x="50" y="207"/>
                  </a:cubicBezTo>
                  <a:cubicBezTo>
                    <a:pt x="49" y="207"/>
                    <a:pt x="44" y="207"/>
                    <a:pt x="43" y="204"/>
                  </a:cubicBezTo>
                  <a:cubicBezTo>
                    <a:pt x="42" y="202"/>
                    <a:pt x="42" y="202"/>
                    <a:pt x="43" y="201"/>
                  </a:cubicBezTo>
                  <a:cubicBezTo>
                    <a:pt x="43" y="201"/>
                    <a:pt x="43" y="201"/>
                    <a:pt x="44" y="201"/>
                  </a:cubicBezTo>
                  <a:moveTo>
                    <a:pt x="52" y="186"/>
                  </a:moveTo>
                  <a:cubicBezTo>
                    <a:pt x="53" y="186"/>
                    <a:pt x="53" y="186"/>
                    <a:pt x="54" y="186"/>
                  </a:cubicBezTo>
                  <a:cubicBezTo>
                    <a:pt x="54" y="186"/>
                    <a:pt x="55" y="186"/>
                    <a:pt x="55" y="186"/>
                  </a:cubicBezTo>
                  <a:cubicBezTo>
                    <a:pt x="55" y="187"/>
                    <a:pt x="55" y="188"/>
                    <a:pt x="55" y="188"/>
                  </a:cubicBezTo>
                  <a:cubicBezTo>
                    <a:pt x="54" y="189"/>
                    <a:pt x="52" y="189"/>
                    <a:pt x="51" y="188"/>
                  </a:cubicBezTo>
                  <a:cubicBezTo>
                    <a:pt x="51" y="187"/>
                    <a:pt x="52" y="186"/>
                    <a:pt x="52" y="186"/>
                  </a:cubicBezTo>
                  <a:moveTo>
                    <a:pt x="57" y="188"/>
                  </a:moveTo>
                  <a:cubicBezTo>
                    <a:pt x="56" y="188"/>
                    <a:pt x="56" y="187"/>
                    <a:pt x="56" y="187"/>
                  </a:cubicBezTo>
                  <a:cubicBezTo>
                    <a:pt x="57" y="186"/>
                    <a:pt x="58" y="185"/>
                    <a:pt x="59" y="186"/>
                  </a:cubicBezTo>
                  <a:cubicBezTo>
                    <a:pt x="60" y="186"/>
                    <a:pt x="60" y="186"/>
                    <a:pt x="60" y="187"/>
                  </a:cubicBezTo>
                  <a:cubicBezTo>
                    <a:pt x="59" y="188"/>
                    <a:pt x="58" y="188"/>
                    <a:pt x="57" y="188"/>
                  </a:cubicBezTo>
                  <a:moveTo>
                    <a:pt x="33" y="65"/>
                  </a:moveTo>
                  <a:cubicBezTo>
                    <a:pt x="33" y="63"/>
                    <a:pt x="32" y="62"/>
                    <a:pt x="31" y="61"/>
                  </a:cubicBezTo>
                  <a:cubicBezTo>
                    <a:pt x="30" y="60"/>
                    <a:pt x="27" y="58"/>
                    <a:pt x="28" y="56"/>
                  </a:cubicBezTo>
                  <a:cubicBezTo>
                    <a:pt x="28" y="55"/>
                    <a:pt x="30" y="55"/>
                    <a:pt x="30" y="55"/>
                  </a:cubicBezTo>
                  <a:cubicBezTo>
                    <a:pt x="31" y="55"/>
                    <a:pt x="35" y="62"/>
                    <a:pt x="35" y="64"/>
                  </a:cubicBezTo>
                  <a:cubicBezTo>
                    <a:pt x="34" y="65"/>
                    <a:pt x="33" y="67"/>
                    <a:pt x="33" y="67"/>
                  </a:cubicBezTo>
                  <a:cubicBezTo>
                    <a:pt x="33" y="68"/>
                    <a:pt x="34" y="70"/>
                    <a:pt x="35" y="71"/>
                  </a:cubicBezTo>
                  <a:cubicBezTo>
                    <a:pt x="35" y="71"/>
                    <a:pt x="35" y="73"/>
                    <a:pt x="34" y="73"/>
                  </a:cubicBezTo>
                  <a:cubicBezTo>
                    <a:pt x="34" y="73"/>
                    <a:pt x="32" y="73"/>
                    <a:pt x="31" y="72"/>
                  </a:cubicBezTo>
                  <a:cubicBezTo>
                    <a:pt x="31" y="71"/>
                    <a:pt x="32" y="71"/>
                    <a:pt x="32" y="70"/>
                  </a:cubicBezTo>
                  <a:cubicBezTo>
                    <a:pt x="32" y="69"/>
                    <a:pt x="28" y="65"/>
                    <a:pt x="28" y="65"/>
                  </a:cubicBezTo>
                  <a:cubicBezTo>
                    <a:pt x="28" y="64"/>
                    <a:pt x="28" y="62"/>
                    <a:pt x="29" y="62"/>
                  </a:cubicBezTo>
                  <a:cubicBezTo>
                    <a:pt x="29" y="62"/>
                    <a:pt x="30" y="63"/>
                    <a:pt x="31" y="64"/>
                  </a:cubicBezTo>
                  <a:cubicBezTo>
                    <a:pt x="31" y="64"/>
                    <a:pt x="32" y="65"/>
                    <a:pt x="32" y="66"/>
                  </a:cubicBezTo>
                  <a:cubicBezTo>
                    <a:pt x="33" y="66"/>
                    <a:pt x="33" y="65"/>
                    <a:pt x="33" y="65"/>
                  </a:cubicBezTo>
                  <a:moveTo>
                    <a:pt x="75" y="55"/>
                  </a:moveTo>
                  <a:cubicBezTo>
                    <a:pt x="77" y="57"/>
                    <a:pt x="83" y="57"/>
                    <a:pt x="86" y="56"/>
                  </a:cubicBezTo>
                  <a:cubicBezTo>
                    <a:pt x="88" y="56"/>
                    <a:pt x="94" y="50"/>
                    <a:pt x="95" y="51"/>
                  </a:cubicBezTo>
                  <a:cubicBezTo>
                    <a:pt x="95" y="54"/>
                    <a:pt x="95" y="53"/>
                    <a:pt x="95" y="55"/>
                  </a:cubicBezTo>
                  <a:cubicBezTo>
                    <a:pt x="94" y="58"/>
                    <a:pt x="91" y="61"/>
                    <a:pt x="86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3" y="61"/>
                    <a:pt x="68" y="58"/>
                    <a:pt x="70" y="54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3" y="52"/>
                    <a:pt x="74" y="54"/>
                    <a:pt x="75" y="55"/>
                  </a:cubicBezTo>
                  <a:moveTo>
                    <a:pt x="72" y="49"/>
                  </a:moveTo>
                  <a:cubicBezTo>
                    <a:pt x="73" y="48"/>
                    <a:pt x="77" y="46"/>
                    <a:pt x="80" y="47"/>
                  </a:cubicBezTo>
                  <a:cubicBezTo>
                    <a:pt x="83" y="46"/>
                    <a:pt x="87" y="48"/>
                    <a:pt x="88" y="49"/>
                  </a:cubicBezTo>
                  <a:cubicBezTo>
                    <a:pt x="87" y="51"/>
                    <a:pt x="84" y="52"/>
                    <a:pt x="81" y="52"/>
                  </a:cubicBezTo>
                  <a:cubicBezTo>
                    <a:pt x="77" y="52"/>
                    <a:pt x="73" y="51"/>
                    <a:pt x="72" y="49"/>
                  </a:cubicBezTo>
                  <a:moveTo>
                    <a:pt x="119" y="95"/>
                  </a:moveTo>
                  <a:cubicBezTo>
                    <a:pt x="118" y="96"/>
                    <a:pt x="118" y="97"/>
                    <a:pt x="117" y="97"/>
                  </a:cubicBezTo>
                  <a:cubicBezTo>
                    <a:pt x="117" y="97"/>
                    <a:pt x="115" y="93"/>
                    <a:pt x="115" y="93"/>
                  </a:cubicBezTo>
                  <a:cubicBezTo>
                    <a:pt x="115" y="92"/>
                    <a:pt x="116" y="89"/>
                    <a:pt x="117" y="88"/>
                  </a:cubicBezTo>
                  <a:cubicBezTo>
                    <a:pt x="117" y="88"/>
                    <a:pt x="118" y="87"/>
                    <a:pt x="118" y="87"/>
                  </a:cubicBezTo>
                  <a:cubicBezTo>
                    <a:pt x="119" y="87"/>
                    <a:pt x="120" y="89"/>
                    <a:pt x="120" y="90"/>
                  </a:cubicBezTo>
                  <a:cubicBezTo>
                    <a:pt x="120" y="91"/>
                    <a:pt x="119" y="94"/>
                    <a:pt x="119" y="95"/>
                  </a:cubicBezTo>
                  <a:moveTo>
                    <a:pt x="122" y="91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24" y="92"/>
                    <a:pt x="124" y="93"/>
                    <a:pt x="124" y="94"/>
                  </a:cubicBezTo>
                  <a:cubicBezTo>
                    <a:pt x="124" y="95"/>
                    <a:pt x="122" y="99"/>
                    <a:pt x="121" y="100"/>
                  </a:cubicBezTo>
                  <a:cubicBezTo>
                    <a:pt x="121" y="100"/>
                    <a:pt x="120" y="100"/>
                    <a:pt x="120" y="100"/>
                  </a:cubicBezTo>
                  <a:cubicBezTo>
                    <a:pt x="119" y="100"/>
                    <a:pt x="119" y="99"/>
                    <a:pt x="119" y="99"/>
                  </a:cubicBezTo>
                  <a:cubicBezTo>
                    <a:pt x="119" y="97"/>
                    <a:pt x="122" y="92"/>
                    <a:pt x="122" y="91"/>
                  </a:cubicBezTo>
                  <a:moveTo>
                    <a:pt x="116" y="87"/>
                  </a:moveTo>
                  <a:cubicBezTo>
                    <a:pt x="116" y="88"/>
                    <a:pt x="114" y="90"/>
                    <a:pt x="114" y="91"/>
                  </a:cubicBezTo>
                  <a:cubicBezTo>
                    <a:pt x="113" y="92"/>
                    <a:pt x="113" y="93"/>
                    <a:pt x="113" y="94"/>
                  </a:cubicBezTo>
                  <a:cubicBezTo>
                    <a:pt x="114" y="95"/>
                    <a:pt x="115" y="96"/>
                    <a:pt x="115" y="97"/>
                  </a:cubicBezTo>
                  <a:cubicBezTo>
                    <a:pt x="115" y="98"/>
                    <a:pt x="115" y="98"/>
                    <a:pt x="115" y="99"/>
                  </a:cubicBezTo>
                  <a:cubicBezTo>
                    <a:pt x="115" y="100"/>
                    <a:pt x="113" y="106"/>
                    <a:pt x="111" y="107"/>
                  </a:cubicBezTo>
                  <a:cubicBezTo>
                    <a:pt x="110" y="108"/>
                    <a:pt x="110" y="106"/>
                    <a:pt x="109" y="105"/>
                  </a:cubicBezTo>
                  <a:cubicBezTo>
                    <a:pt x="109" y="103"/>
                    <a:pt x="110" y="103"/>
                    <a:pt x="112" y="101"/>
                  </a:cubicBezTo>
                  <a:cubicBezTo>
                    <a:pt x="112" y="100"/>
                    <a:pt x="113" y="98"/>
                    <a:pt x="112" y="97"/>
                  </a:cubicBezTo>
                  <a:cubicBezTo>
                    <a:pt x="112" y="97"/>
                    <a:pt x="111" y="98"/>
                    <a:pt x="110" y="98"/>
                  </a:cubicBezTo>
                  <a:cubicBezTo>
                    <a:pt x="110" y="99"/>
                    <a:pt x="109" y="98"/>
                    <a:pt x="109" y="97"/>
                  </a:cubicBezTo>
                  <a:cubicBezTo>
                    <a:pt x="110" y="95"/>
                    <a:pt x="111" y="95"/>
                    <a:pt x="112" y="93"/>
                  </a:cubicBezTo>
                  <a:cubicBezTo>
                    <a:pt x="113" y="92"/>
                    <a:pt x="112" y="90"/>
                    <a:pt x="113" y="89"/>
                  </a:cubicBezTo>
                  <a:cubicBezTo>
                    <a:pt x="113" y="88"/>
                    <a:pt x="114" y="85"/>
                    <a:pt x="115" y="84"/>
                  </a:cubicBezTo>
                  <a:cubicBezTo>
                    <a:pt x="116" y="84"/>
                    <a:pt x="116" y="86"/>
                    <a:pt x="116" y="87"/>
                  </a:cubicBezTo>
                  <a:moveTo>
                    <a:pt x="109" y="85"/>
                  </a:moveTo>
                  <a:cubicBezTo>
                    <a:pt x="109" y="84"/>
                    <a:pt x="110" y="83"/>
                    <a:pt x="111" y="81"/>
                  </a:cubicBezTo>
                  <a:cubicBezTo>
                    <a:pt x="112" y="80"/>
                    <a:pt x="113" y="79"/>
                    <a:pt x="113" y="79"/>
                  </a:cubicBezTo>
                  <a:cubicBezTo>
                    <a:pt x="115" y="80"/>
                    <a:pt x="113" y="84"/>
                    <a:pt x="112" y="85"/>
                  </a:cubicBezTo>
                  <a:cubicBezTo>
                    <a:pt x="111" y="88"/>
                    <a:pt x="111" y="91"/>
                    <a:pt x="110" y="90"/>
                  </a:cubicBezTo>
                  <a:cubicBezTo>
                    <a:pt x="110" y="90"/>
                    <a:pt x="108" y="86"/>
                    <a:pt x="109" y="85"/>
                  </a:cubicBezTo>
                  <a:moveTo>
                    <a:pt x="108" y="109"/>
                  </a:moveTo>
                  <a:cubicBezTo>
                    <a:pt x="108" y="110"/>
                    <a:pt x="108" y="110"/>
                    <a:pt x="108" y="110"/>
                  </a:cubicBezTo>
                  <a:cubicBezTo>
                    <a:pt x="108" y="110"/>
                    <a:pt x="108" y="109"/>
                    <a:pt x="108" y="109"/>
                  </a:cubicBezTo>
                  <a:cubicBezTo>
                    <a:pt x="108" y="109"/>
                    <a:pt x="108" y="109"/>
                    <a:pt x="108" y="109"/>
                  </a:cubicBezTo>
                  <a:cubicBezTo>
                    <a:pt x="108" y="109"/>
                    <a:pt x="108" y="109"/>
                    <a:pt x="108" y="108"/>
                  </a:cubicBezTo>
                  <a:cubicBezTo>
                    <a:pt x="108" y="108"/>
                    <a:pt x="108" y="108"/>
                    <a:pt x="108" y="108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09" y="109"/>
                    <a:pt x="109" y="109"/>
                    <a:pt x="108" y="109"/>
                  </a:cubicBezTo>
                  <a:moveTo>
                    <a:pt x="115" y="74"/>
                  </a:moveTo>
                  <a:cubicBezTo>
                    <a:pt x="115" y="74"/>
                    <a:pt x="114" y="72"/>
                    <a:pt x="114" y="72"/>
                  </a:cubicBezTo>
                  <a:cubicBezTo>
                    <a:pt x="114" y="71"/>
                    <a:pt x="115" y="70"/>
                    <a:pt x="116" y="69"/>
                  </a:cubicBezTo>
                  <a:cubicBezTo>
                    <a:pt x="117" y="69"/>
                    <a:pt x="118" y="69"/>
                    <a:pt x="118" y="69"/>
                  </a:cubicBezTo>
                  <a:cubicBezTo>
                    <a:pt x="119" y="69"/>
                    <a:pt x="120" y="70"/>
                    <a:pt x="120" y="71"/>
                  </a:cubicBezTo>
                  <a:cubicBezTo>
                    <a:pt x="119" y="72"/>
                    <a:pt x="116" y="74"/>
                    <a:pt x="115" y="74"/>
                  </a:cubicBezTo>
                  <a:moveTo>
                    <a:pt x="117" y="66"/>
                  </a:moveTo>
                  <a:cubicBezTo>
                    <a:pt x="116" y="67"/>
                    <a:pt x="115" y="67"/>
                    <a:pt x="114" y="68"/>
                  </a:cubicBezTo>
                  <a:cubicBezTo>
                    <a:pt x="114" y="70"/>
                    <a:pt x="113" y="72"/>
                    <a:pt x="112" y="70"/>
                  </a:cubicBezTo>
                  <a:cubicBezTo>
                    <a:pt x="112" y="70"/>
                    <a:pt x="111" y="67"/>
                    <a:pt x="111" y="66"/>
                  </a:cubicBezTo>
                  <a:cubicBezTo>
                    <a:pt x="111" y="66"/>
                    <a:pt x="113" y="65"/>
                    <a:pt x="114" y="64"/>
                  </a:cubicBezTo>
                  <a:cubicBezTo>
                    <a:pt x="114" y="63"/>
                    <a:pt x="117" y="61"/>
                    <a:pt x="118" y="62"/>
                  </a:cubicBezTo>
                  <a:cubicBezTo>
                    <a:pt x="119" y="62"/>
                    <a:pt x="118" y="65"/>
                    <a:pt x="117" y="66"/>
                  </a:cubicBezTo>
                  <a:moveTo>
                    <a:pt x="110" y="61"/>
                  </a:moveTo>
                  <a:cubicBezTo>
                    <a:pt x="110" y="60"/>
                    <a:pt x="112" y="58"/>
                    <a:pt x="113" y="57"/>
                  </a:cubicBezTo>
                  <a:cubicBezTo>
                    <a:pt x="114" y="56"/>
                    <a:pt x="115" y="57"/>
                    <a:pt x="116" y="58"/>
                  </a:cubicBezTo>
                  <a:cubicBezTo>
                    <a:pt x="116" y="59"/>
                    <a:pt x="116" y="59"/>
                    <a:pt x="116" y="60"/>
                  </a:cubicBezTo>
                  <a:cubicBezTo>
                    <a:pt x="116" y="60"/>
                    <a:pt x="114" y="61"/>
                    <a:pt x="113" y="61"/>
                  </a:cubicBezTo>
                  <a:cubicBezTo>
                    <a:pt x="112" y="62"/>
                    <a:pt x="112" y="62"/>
                    <a:pt x="112" y="62"/>
                  </a:cubicBezTo>
                  <a:cubicBezTo>
                    <a:pt x="111" y="62"/>
                    <a:pt x="111" y="62"/>
                    <a:pt x="110" y="61"/>
                  </a:cubicBezTo>
                  <a:moveTo>
                    <a:pt x="116" y="53"/>
                  </a:moveTo>
                  <a:cubicBezTo>
                    <a:pt x="116" y="54"/>
                    <a:pt x="110" y="56"/>
                    <a:pt x="110" y="56"/>
                  </a:cubicBezTo>
                  <a:cubicBezTo>
                    <a:pt x="109" y="55"/>
                    <a:pt x="109" y="55"/>
                    <a:pt x="109" y="54"/>
                  </a:cubicBezTo>
                  <a:cubicBezTo>
                    <a:pt x="109" y="54"/>
                    <a:pt x="109" y="54"/>
                    <a:pt x="109" y="53"/>
                  </a:cubicBezTo>
                  <a:cubicBezTo>
                    <a:pt x="109" y="53"/>
                    <a:pt x="109" y="52"/>
                    <a:pt x="110" y="51"/>
                  </a:cubicBezTo>
                  <a:cubicBezTo>
                    <a:pt x="110" y="51"/>
                    <a:pt x="114" y="49"/>
                    <a:pt x="114" y="49"/>
                  </a:cubicBezTo>
                  <a:cubicBezTo>
                    <a:pt x="115" y="49"/>
                    <a:pt x="115" y="50"/>
                    <a:pt x="116" y="50"/>
                  </a:cubicBezTo>
                  <a:cubicBezTo>
                    <a:pt x="117" y="51"/>
                    <a:pt x="117" y="52"/>
                    <a:pt x="116" y="53"/>
                  </a:cubicBezTo>
                  <a:moveTo>
                    <a:pt x="109" y="68"/>
                  </a:moveTo>
                  <a:cubicBezTo>
                    <a:pt x="110" y="69"/>
                    <a:pt x="110" y="70"/>
                    <a:pt x="110" y="71"/>
                  </a:cubicBezTo>
                  <a:cubicBezTo>
                    <a:pt x="110" y="72"/>
                    <a:pt x="109" y="74"/>
                    <a:pt x="109" y="74"/>
                  </a:cubicBezTo>
                  <a:cubicBezTo>
                    <a:pt x="109" y="74"/>
                    <a:pt x="109" y="74"/>
                    <a:pt x="109" y="74"/>
                  </a:cubicBezTo>
                  <a:cubicBezTo>
                    <a:pt x="110" y="74"/>
                    <a:pt x="110" y="74"/>
                    <a:pt x="110" y="74"/>
                  </a:cubicBezTo>
                  <a:cubicBezTo>
                    <a:pt x="111" y="73"/>
                    <a:pt x="112" y="74"/>
                    <a:pt x="112" y="75"/>
                  </a:cubicBezTo>
                  <a:cubicBezTo>
                    <a:pt x="112" y="76"/>
                    <a:pt x="111" y="79"/>
                    <a:pt x="109" y="80"/>
                  </a:cubicBezTo>
                  <a:cubicBezTo>
                    <a:pt x="109" y="81"/>
                    <a:pt x="106" y="78"/>
                    <a:pt x="106" y="77"/>
                  </a:cubicBezTo>
                  <a:cubicBezTo>
                    <a:pt x="106" y="76"/>
                    <a:pt x="106" y="75"/>
                    <a:pt x="106" y="74"/>
                  </a:cubicBezTo>
                  <a:cubicBezTo>
                    <a:pt x="106" y="73"/>
                    <a:pt x="105" y="73"/>
                    <a:pt x="106" y="71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68"/>
                    <a:pt x="109" y="68"/>
                    <a:pt x="109" y="68"/>
                  </a:cubicBezTo>
                  <a:moveTo>
                    <a:pt x="106" y="68"/>
                  </a:moveTo>
                  <a:cubicBezTo>
                    <a:pt x="106" y="69"/>
                    <a:pt x="105" y="70"/>
                    <a:pt x="105" y="70"/>
                  </a:cubicBezTo>
                  <a:cubicBezTo>
                    <a:pt x="104" y="69"/>
                    <a:pt x="104" y="68"/>
                    <a:pt x="105" y="68"/>
                  </a:cubicBezTo>
                  <a:cubicBezTo>
                    <a:pt x="105" y="65"/>
                    <a:pt x="106" y="61"/>
                    <a:pt x="108" y="62"/>
                  </a:cubicBezTo>
                  <a:cubicBezTo>
                    <a:pt x="109" y="63"/>
                    <a:pt x="107" y="67"/>
                    <a:pt x="106" y="68"/>
                  </a:cubicBezTo>
                  <a:moveTo>
                    <a:pt x="106" y="83"/>
                  </a:moveTo>
                  <a:cubicBezTo>
                    <a:pt x="106" y="84"/>
                    <a:pt x="106" y="85"/>
                    <a:pt x="105" y="85"/>
                  </a:cubicBezTo>
                  <a:cubicBezTo>
                    <a:pt x="105" y="85"/>
                    <a:pt x="103" y="83"/>
                    <a:pt x="103" y="82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81"/>
                    <a:pt x="103" y="81"/>
                    <a:pt x="104" y="81"/>
                  </a:cubicBezTo>
                  <a:cubicBezTo>
                    <a:pt x="105" y="80"/>
                    <a:pt x="106" y="82"/>
                    <a:pt x="106" y="83"/>
                  </a:cubicBezTo>
                  <a:moveTo>
                    <a:pt x="96" y="109"/>
                  </a:moveTo>
                  <a:cubicBezTo>
                    <a:pt x="96" y="110"/>
                    <a:pt x="96" y="110"/>
                    <a:pt x="96" y="111"/>
                  </a:cubicBezTo>
                  <a:cubicBezTo>
                    <a:pt x="95" y="111"/>
                    <a:pt x="91" y="106"/>
                    <a:pt x="91" y="105"/>
                  </a:cubicBezTo>
                  <a:cubicBezTo>
                    <a:pt x="91" y="105"/>
                    <a:pt x="91" y="105"/>
                    <a:pt x="91" y="104"/>
                  </a:cubicBezTo>
                  <a:cubicBezTo>
                    <a:pt x="92" y="103"/>
                    <a:pt x="92" y="104"/>
                    <a:pt x="93" y="104"/>
                  </a:cubicBezTo>
                  <a:cubicBezTo>
                    <a:pt x="94" y="104"/>
                    <a:pt x="94" y="104"/>
                    <a:pt x="94" y="104"/>
                  </a:cubicBezTo>
                  <a:cubicBezTo>
                    <a:pt x="95" y="104"/>
                    <a:pt x="94" y="101"/>
                    <a:pt x="94" y="100"/>
                  </a:cubicBezTo>
                  <a:cubicBezTo>
                    <a:pt x="93" y="99"/>
                    <a:pt x="92" y="99"/>
                    <a:pt x="91" y="98"/>
                  </a:cubicBezTo>
                  <a:cubicBezTo>
                    <a:pt x="91" y="98"/>
                    <a:pt x="91" y="97"/>
                    <a:pt x="91" y="97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92" y="96"/>
                    <a:pt x="96" y="99"/>
                    <a:pt x="97" y="100"/>
                  </a:cubicBezTo>
                  <a:cubicBezTo>
                    <a:pt x="97" y="101"/>
                    <a:pt x="97" y="101"/>
                    <a:pt x="97" y="102"/>
                  </a:cubicBezTo>
                  <a:cubicBezTo>
                    <a:pt x="97" y="103"/>
                    <a:pt x="96" y="105"/>
                    <a:pt x="96" y="106"/>
                  </a:cubicBezTo>
                  <a:cubicBezTo>
                    <a:pt x="96" y="106"/>
                    <a:pt x="96" y="108"/>
                    <a:pt x="96" y="109"/>
                  </a:cubicBezTo>
                  <a:moveTo>
                    <a:pt x="93" y="116"/>
                  </a:moveTo>
                  <a:cubicBezTo>
                    <a:pt x="92" y="115"/>
                    <a:pt x="91" y="114"/>
                    <a:pt x="91" y="114"/>
                  </a:cubicBezTo>
                  <a:cubicBezTo>
                    <a:pt x="91" y="113"/>
                    <a:pt x="91" y="112"/>
                    <a:pt x="92" y="112"/>
                  </a:cubicBezTo>
                  <a:cubicBezTo>
                    <a:pt x="92" y="112"/>
                    <a:pt x="92" y="111"/>
                    <a:pt x="92" y="111"/>
                  </a:cubicBezTo>
                  <a:cubicBezTo>
                    <a:pt x="93" y="111"/>
                    <a:pt x="93" y="112"/>
                    <a:pt x="93" y="113"/>
                  </a:cubicBezTo>
                  <a:cubicBezTo>
                    <a:pt x="94" y="115"/>
                    <a:pt x="95" y="116"/>
                    <a:pt x="94" y="118"/>
                  </a:cubicBezTo>
                  <a:cubicBezTo>
                    <a:pt x="93" y="119"/>
                    <a:pt x="92" y="120"/>
                    <a:pt x="91" y="119"/>
                  </a:cubicBezTo>
                  <a:cubicBezTo>
                    <a:pt x="91" y="119"/>
                    <a:pt x="93" y="118"/>
                    <a:pt x="93" y="117"/>
                  </a:cubicBezTo>
                  <a:cubicBezTo>
                    <a:pt x="93" y="117"/>
                    <a:pt x="93" y="117"/>
                    <a:pt x="93" y="116"/>
                  </a:cubicBezTo>
                  <a:moveTo>
                    <a:pt x="88" y="114"/>
                  </a:moveTo>
                  <a:cubicBezTo>
                    <a:pt x="87" y="113"/>
                    <a:pt x="86" y="110"/>
                    <a:pt x="86" y="109"/>
                  </a:cubicBezTo>
                  <a:cubicBezTo>
                    <a:pt x="86" y="109"/>
                    <a:pt x="87" y="109"/>
                    <a:pt x="87" y="109"/>
                  </a:cubicBezTo>
                  <a:cubicBezTo>
                    <a:pt x="89" y="110"/>
                    <a:pt x="90" y="112"/>
                    <a:pt x="89" y="113"/>
                  </a:cubicBezTo>
                  <a:cubicBezTo>
                    <a:pt x="89" y="113"/>
                    <a:pt x="89" y="114"/>
                    <a:pt x="88" y="114"/>
                  </a:cubicBezTo>
                  <a:moveTo>
                    <a:pt x="89" y="119"/>
                  </a:moveTo>
                  <a:cubicBezTo>
                    <a:pt x="89" y="120"/>
                    <a:pt x="88" y="122"/>
                    <a:pt x="88" y="122"/>
                  </a:cubicBezTo>
                  <a:cubicBezTo>
                    <a:pt x="87" y="122"/>
                    <a:pt x="87" y="122"/>
                    <a:pt x="87" y="119"/>
                  </a:cubicBezTo>
                  <a:cubicBezTo>
                    <a:pt x="88" y="117"/>
                    <a:pt x="88" y="117"/>
                    <a:pt x="88" y="118"/>
                  </a:cubicBezTo>
                  <a:cubicBezTo>
                    <a:pt x="89" y="118"/>
                    <a:pt x="89" y="119"/>
                    <a:pt x="89" y="119"/>
                  </a:cubicBezTo>
                  <a:moveTo>
                    <a:pt x="77" y="105"/>
                  </a:moveTo>
                  <a:cubicBezTo>
                    <a:pt x="77" y="106"/>
                    <a:pt x="73" y="109"/>
                    <a:pt x="73" y="108"/>
                  </a:cubicBezTo>
                  <a:cubicBezTo>
                    <a:pt x="73" y="108"/>
                    <a:pt x="74" y="105"/>
                    <a:pt x="75" y="104"/>
                  </a:cubicBezTo>
                  <a:cubicBezTo>
                    <a:pt x="75" y="103"/>
                    <a:pt x="76" y="102"/>
                    <a:pt x="77" y="102"/>
                  </a:cubicBezTo>
                  <a:cubicBezTo>
                    <a:pt x="78" y="103"/>
                    <a:pt x="78" y="104"/>
                    <a:pt x="77" y="105"/>
                  </a:cubicBezTo>
                  <a:moveTo>
                    <a:pt x="79" y="108"/>
                  </a:moveTo>
                  <a:cubicBezTo>
                    <a:pt x="80" y="108"/>
                    <a:pt x="79" y="111"/>
                    <a:pt x="79" y="112"/>
                  </a:cubicBezTo>
                  <a:cubicBezTo>
                    <a:pt x="78" y="113"/>
                    <a:pt x="74" y="118"/>
                    <a:pt x="74" y="117"/>
                  </a:cubicBezTo>
                  <a:cubicBezTo>
                    <a:pt x="73" y="117"/>
                    <a:pt x="74" y="115"/>
                    <a:pt x="74" y="115"/>
                  </a:cubicBezTo>
                  <a:cubicBezTo>
                    <a:pt x="74" y="114"/>
                    <a:pt x="74" y="113"/>
                    <a:pt x="75" y="112"/>
                  </a:cubicBezTo>
                  <a:cubicBezTo>
                    <a:pt x="76" y="111"/>
                    <a:pt x="78" y="108"/>
                    <a:pt x="79" y="108"/>
                  </a:cubicBezTo>
                  <a:moveTo>
                    <a:pt x="74" y="120"/>
                  </a:moveTo>
                  <a:cubicBezTo>
                    <a:pt x="75" y="120"/>
                    <a:pt x="75" y="119"/>
                    <a:pt x="76" y="118"/>
                  </a:cubicBezTo>
                  <a:cubicBezTo>
                    <a:pt x="77" y="117"/>
                    <a:pt x="79" y="115"/>
                    <a:pt x="79" y="115"/>
                  </a:cubicBezTo>
                  <a:cubicBezTo>
                    <a:pt x="80" y="115"/>
                    <a:pt x="82" y="118"/>
                    <a:pt x="83" y="119"/>
                  </a:cubicBezTo>
                  <a:cubicBezTo>
                    <a:pt x="83" y="119"/>
                    <a:pt x="83" y="121"/>
                    <a:pt x="83" y="122"/>
                  </a:cubicBezTo>
                  <a:cubicBezTo>
                    <a:pt x="83" y="122"/>
                    <a:pt x="82" y="122"/>
                    <a:pt x="82" y="122"/>
                  </a:cubicBezTo>
                  <a:cubicBezTo>
                    <a:pt x="81" y="120"/>
                    <a:pt x="80" y="117"/>
                    <a:pt x="79" y="117"/>
                  </a:cubicBezTo>
                  <a:cubicBezTo>
                    <a:pt x="78" y="118"/>
                    <a:pt x="74" y="125"/>
                    <a:pt x="73" y="125"/>
                  </a:cubicBezTo>
                  <a:cubicBezTo>
                    <a:pt x="73" y="125"/>
                    <a:pt x="72" y="124"/>
                    <a:pt x="72" y="124"/>
                  </a:cubicBezTo>
                  <a:cubicBezTo>
                    <a:pt x="72" y="123"/>
                    <a:pt x="73" y="121"/>
                    <a:pt x="74" y="120"/>
                  </a:cubicBezTo>
                  <a:moveTo>
                    <a:pt x="83" y="115"/>
                  </a:moveTo>
                  <a:cubicBezTo>
                    <a:pt x="82" y="115"/>
                    <a:pt x="81" y="113"/>
                    <a:pt x="81" y="112"/>
                  </a:cubicBezTo>
                  <a:cubicBezTo>
                    <a:pt x="81" y="111"/>
                    <a:pt x="81" y="111"/>
                    <a:pt x="83" y="111"/>
                  </a:cubicBezTo>
                  <a:cubicBezTo>
                    <a:pt x="83" y="111"/>
                    <a:pt x="85" y="113"/>
                    <a:pt x="85" y="114"/>
                  </a:cubicBezTo>
                  <a:cubicBezTo>
                    <a:pt x="85" y="115"/>
                    <a:pt x="85" y="115"/>
                    <a:pt x="84" y="115"/>
                  </a:cubicBezTo>
                  <a:cubicBezTo>
                    <a:pt x="83" y="116"/>
                    <a:pt x="83" y="115"/>
                    <a:pt x="83" y="115"/>
                  </a:cubicBezTo>
                  <a:moveTo>
                    <a:pt x="83" y="109"/>
                  </a:moveTo>
                  <a:cubicBezTo>
                    <a:pt x="83" y="109"/>
                    <a:pt x="82" y="108"/>
                    <a:pt x="81" y="107"/>
                  </a:cubicBezTo>
                  <a:cubicBezTo>
                    <a:pt x="81" y="106"/>
                    <a:pt x="79" y="104"/>
                    <a:pt x="80" y="103"/>
                  </a:cubicBezTo>
                  <a:cubicBezTo>
                    <a:pt x="81" y="103"/>
                    <a:pt x="84" y="105"/>
                    <a:pt x="85" y="106"/>
                  </a:cubicBezTo>
                  <a:cubicBezTo>
                    <a:pt x="85" y="107"/>
                    <a:pt x="85" y="107"/>
                    <a:pt x="85" y="108"/>
                  </a:cubicBezTo>
                  <a:cubicBezTo>
                    <a:pt x="85" y="109"/>
                    <a:pt x="84" y="109"/>
                    <a:pt x="83" y="109"/>
                  </a:cubicBezTo>
                  <a:moveTo>
                    <a:pt x="85" y="103"/>
                  </a:moveTo>
                  <a:cubicBezTo>
                    <a:pt x="84" y="102"/>
                    <a:pt x="83" y="102"/>
                    <a:pt x="82" y="101"/>
                  </a:cubicBezTo>
                  <a:cubicBezTo>
                    <a:pt x="81" y="101"/>
                    <a:pt x="77" y="96"/>
                    <a:pt x="77" y="96"/>
                  </a:cubicBezTo>
                  <a:cubicBezTo>
                    <a:pt x="77" y="96"/>
                    <a:pt x="76" y="97"/>
                    <a:pt x="76" y="98"/>
                  </a:cubicBezTo>
                  <a:cubicBezTo>
                    <a:pt x="76" y="98"/>
                    <a:pt x="76" y="99"/>
                    <a:pt x="75" y="99"/>
                  </a:cubicBezTo>
                  <a:cubicBezTo>
                    <a:pt x="75" y="99"/>
                    <a:pt x="74" y="100"/>
                    <a:pt x="74" y="101"/>
                  </a:cubicBezTo>
                  <a:cubicBezTo>
                    <a:pt x="73" y="102"/>
                    <a:pt x="72" y="103"/>
                    <a:pt x="71" y="102"/>
                  </a:cubicBezTo>
                  <a:cubicBezTo>
                    <a:pt x="70" y="100"/>
                    <a:pt x="73" y="96"/>
                    <a:pt x="74" y="94"/>
                  </a:cubicBezTo>
                  <a:cubicBezTo>
                    <a:pt x="74" y="93"/>
                    <a:pt x="74" y="93"/>
                    <a:pt x="74" y="93"/>
                  </a:cubicBezTo>
                  <a:cubicBezTo>
                    <a:pt x="75" y="92"/>
                    <a:pt x="76" y="92"/>
                    <a:pt x="76" y="92"/>
                  </a:cubicBezTo>
                  <a:cubicBezTo>
                    <a:pt x="78" y="91"/>
                    <a:pt x="78" y="93"/>
                    <a:pt x="79" y="95"/>
                  </a:cubicBezTo>
                  <a:cubicBezTo>
                    <a:pt x="80" y="95"/>
                    <a:pt x="81" y="96"/>
                    <a:pt x="82" y="96"/>
                  </a:cubicBezTo>
                  <a:cubicBezTo>
                    <a:pt x="83" y="97"/>
                    <a:pt x="83" y="98"/>
                    <a:pt x="85" y="99"/>
                  </a:cubicBezTo>
                  <a:cubicBezTo>
                    <a:pt x="86" y="100"/>
                    <a:pt x="88" y="102"/>
                    <a:pt x="89" y="102"/>
                  </a:cubicBezTo>
                  <a:cubicBezTo>
                    <a:pt x="89" y="103"/>
                    <a:pt x="89" y="104"/>
                    <a:pt x="89" y="105"/>
                  </a:cubicBezTo>
                  <a:cubicBezTo>
                    <a:pt x="88" y="107"/>
                    <a:pt x="87" y="104"/>
                    <a:pt x="85" y="103"/>
                  </a:cubicBezTo>
                  <a:moveTo>
                    <a:pt x="58" y="113"/>
                  </a:moveTo>
                  <a:cubicBezTo>
                    <a:pt x="58" y="113"/>
                    <a:pt x="57" y="113"/>
                    <a:pt x="57" y="113"/>
                  </a:cubicBezTo>
                  <a:cubicBezTo>
                    <a:pt x="56" y="112"/>
                    <a:pt x="59" y="108"/>
                    <a:pt x="60" y="108"/>
                  </a:cubicBezTo>
                  <a:cubicBezTo>
                    <a:pt x="60" y="108"/>
                    <a:pt x="61" y="109"/>
                    <a:pt x="60" y="109"/>
                  </a:cubicBezTo>
                  <a:cubicBezTo>
                    <a:pt x="60" y="110"/>
                    <a:pt x="59" y="112"/>
                    <a:pt x="58" y="113"/>
                  </a:cubicBezTo>
                  <a:moveTo>
                    <a:pt x="58" y="117"/>
                  </a:moveTo>
                  <a:cubicBezTo>
                    <a:pt x="58" y="118"/>
                    <a:pt x="57" y="117"/>
                    <a:pt x="57" y="116"/>
                  </a:cubicBezTo>
                  <a:cubicBezTo>
                    <a:pt x="57" y="116"/>
                    <a:pt x="57" y="116"/>
                    <a:pt x="58" y="116"/>
                  </a:cubicBezTo>
                  <a:cubicBezTo>
                    <a:pt x="58" y="115"/>
                    <a:pt x="60" y="114"/>
                    <a:pt x="60" y="115"/>
                  </a:cubicBezTo>
                  <a:cubicBezTo>
                    <a:pt x="61" y="116"/>
                    <a:pt x="59" y="117"/>
                    <a:pt x="58" y="117"/>
                  </a:cubicBezTo>
                  <a:moveTo>
                    <a:pt x="60" y="101"/>
                  </a:moveTo>
                  <a:cubicBezTo>
                    <a:pt x="60" y="103"/>
                    <a:pt x="59" y="104"/>
                    <a:pt x="59" y="105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7" y="107"/>
                    <a:pt x="56" y="104"/>
                    <a:pt x="56" y="103"/>
                  </a:cubicBezTo>
                  <a:cubicBezTo>
                    <a:pt x="56" y="102"/>
                    <a:pt x="57" y="100"/>
                    <a:pt x="57" y="99"/>
                  </a:cubicBezTo>
                  <a:cubicBezTo>
                    <a:pt x="58" y="98"/>
                    <a:pt x="60" y="98"/>
                    <a:pt x="60" y="98"/>
                  </a:cubicBezTo>
                  <a:cubicBezTo>
                    <a:pt x="61" y="98"/>
                    <a:pt x="61" y="100"/>
                    <a:pt x="60" y="101"/>
                  </a:cubicBezTo>
                  <a:moveTo>
                    <a:pt x="60" y="94"/>
                  </a:moveTo>
                  <a:cubicBezTo>
                    <a:pt x="60" y="95"/>
                    <a:pt x="57" y="97"/>
                    <a:pt x="56" y="97"/>
                  </a:cubicBezTo>
                  <a:cubicBezTo>
                    <a:pt x="55" y="98"/>
                    <a:pt x="55" y="97"/>
                    <a:pt x="55" y="95"/>
                  </a:cubicBezTo>
                  <a:cubicBezTo>
                    <a:pt x="55" y="95"/>
                    <a:pt x="56" y="95"/>
                    <a:pt x="56" y="94"/>
                  </a:cubicBezTo>
                  <a:cubicBezTo>
                    <a:pt x="56" y="94"/>
                    <a:pt x="56" y="92"/>
                    <a:pt x="56" y="92"/>
                  </a:cubicBezTo>
                  <a:cubicBezTo>
                    <a:pt x="57" y="91"/>
                    <a:pt x="59" y="89"/>
                    <a:pt x="60" y="89"/>
                  </a:cubicBezTo>
                  <a:cubicBezTo>
                    <a:pt x="62" y="89"/>
                    <a:pt x="61" y="93"/>
                    <a:pt x="60" y="94"/>
                  </a:cubicBezTo>
                  <a:moveTo>
                    <a:pt x="50" y="91"/>
                  </a:moveTo>
                  <a:cubicBezTo>
                    <a:pt x="50" y="90"/>
                    <a:pt x="51" y="89"/>
                    <a:pt x="51" y="89"/>
                  </a:cubicBezTo>
                  <a:cubicBezTo>
                    <a:pt x="52" y="87"/>
                    <a:pt x="53" y="86"/>
                    <a:pt x="53" y="87"/>
                  </a:cubicBezTo>
                  <a:cubicBezTo>
                    <a:pt x="54" y="88"/>
                    <a:pt x="53" y="91"/>
                    <a:pt x="52" y="93"/>
                  </a:cubicBezTo>
                  <a:cubicBezTo>
                    <a:pt x="51" y="93"/>
                    <a:pt x="51" y="93"/>
                    <a:pt x="50" y="93"/>
                  </a:cubicBezTo>
                  <a:cubicBezTo>
                    <a:pt x="50" y="91"/>
                    <a:pt x="50" y="91"/>
                    <a:pt x="50" y="91"/>
                  </a:cubicBezTo>
                  <a:moveTo>
                    <a:pt x="50" y="85"/>
                  </a:moveTo>
                  <a:cubicBezTo>
                    <a:pt x="49" y="85"/>
                    <a:pt x="49" y="85"/>
                    <a:pt x="48" y="84"/>
                  </a:cubicBezTo>
                  <a:cubicBezTo>
                    <a:pt x="48" y="84"/>
                    <a:pt x="48" y="84"/>
                    <a:pt x="48" y="82"/>
                  </a:cubicBezTo>
                  <a:cubicBezTo>
                    <a:pt x="49" y="81"/>
                    <a:pt x="49" y="81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ubicBezTo>
                    <a:pt x="50" y="83"/>
                    <a:pt x="50" y="84"/>
                    <a:pt x="50" y="85"/>
                  </a:cubicBezTo>
                  <a:moveTo>
                    <a:pt x="52" y="81"/>
                  </a:moveTo>
                  <a:cubicBezTo>
                    <a:pt x="52" y="81"/>
                    <a:pt x="52" y="81"/>
                    <a:pt x="52" y="80"/>
                  </a:cubicBezTo>
                  <a:cubicBezTo>
                    <a:pt x="52" y="80"/>
                    <a:pt x="54" y="77"/>
                    <a:pt x="55" y="78"/>
                  </a:cubicBezTo>
                  <a:cubicBezTo>
                    <a:pt x="56" y="78"/>
                    <a:pt x="55" y="80"/>
                    <a:pt x="55" y="81"/>
                  </a:cubicBezTo>
                  <a:cubicBezTo>
                    <a:pt x="54" y="82"/>
                    <a:pt x="53" y="82"/>
                    <a:pt x="52" y="81"/>
                  </a:cubicBezTo>
                  <a:moveTo>
                    <a:pt x="54" y="70"/>
                  </a:moveTo>
                  <a:cubicBezTo>
                    <a:pt x="54" y="69"/>
                    <a:pt x="54" y="69"/>
                    <a:pt x="54" y="69"/>
                  </a:cubicBezTo>
                  <a:cubicBezTo>
                    <a:pt x="55" y="68"/>
                    <a:pt x="56" y="67"/>
                    <a:pt x="57" y="67"/>
                  </a:cubicBezTo>
                  <a:cubicBezTo>
                    <a:pt x="61" y="68"/>
                    <a:pt x="57" y="71"/>
                    <a:pt x="55" y="72"/>
                  </a:cubicBezTo>
                  <a:cubicBezTo>
                    <a:pt x="55" y="72"/>
                    <a:pt x="55" y="73"/>
                    <a:pt x="55" y="73"/>
                  </a:cubicBezTo>
                  <a:cubicBezTo>
                    <a:pt x="54" y="72"/>
                    <a:pt x="54" y="70"/>
                    <a:pt x="54" y="70"/>
                  </a:cubicBezTo>
                  <a:moveTo>
                    <a:pt x="57" y="87"/>
                  </a:moveTo>
                  <a:cubicBezTo>
                    <a:pt x="57" y="87"/>
                    <a:pt x="56" y="87"/>
                    <a:pt x="56" y="87"/>
                  </a:cubicBezTo>
                  <a:cubicBezTo>
                    <a:pt x="56" y="87"/>
                    <a:pt x="56" y="86"/>
                    <a:pt x="56" y="85"/>
                  </a:cubicBezTo>
                  <a:cubicBezTo>
                    <a:pt x="56" y="83"/>
                    <a:pt x="58" y="80"/>
                    <a:pt x="60" y="80"/>
                  </a:cubicBezTo>
                  <a:cubicBezTo>
                    <a:pt x="61" y="80"/>
                    <a:pt x="62" y="80"/>
                    <a:pt x="62" y="81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1" y="84"/>
                    <a:pt x="58" y="87"/>
                    <a:pt x="57" y="87"/>
                  </a:cubicBezTo>
                  <a:moveTo>
                    <a:pt x="57" y="77"/>
                  </a:moveTo>
                  <a:cubicBezTo>
                    <a:pt x="57" y="76"/>
                    <a:pt x="58" y="74"/>
                    <a:pt x="59" y="73"/>
                  </a:cubicBezTo>
                  <a:cubicBezTo>
                    <a:pt x="59" y="72"/>
                    <a:pt x="62" y="71"/>
                    <a:pt x="63" y="72"/>
                  </a:cubicBezTo>
                  <a:cubicBezTo>
                    <a:pt x="64" y="72"/>
                    <a:pt x="64" y="73"/>
                    <a:pt x="64" y="73"/>
                  </a:cubicBezTo>
                  <a:cubicBezTo>
                    <a:pt x="63" y="74"/>
                    <a:pt x="63" y="75"/>
                    <a:pt x="63" y="75"/>
                  </a:cubicBezTo>
                  <a:cubicBezTo>
                    <a:pt x="62" y="77"/>
                    <a:pt x="58" y="79"/>
                    <a:pt x="57" y="77"/>
                  </a:cubicBezTo>
                  <a:moveTo>
                    <a:pt x="77" y="69"/>
                  </a:moveTo>
                  <a:cubicBezTo>
                    <a:pt x="77" y="70"/>
                    <a:pt x="78" y="70"/>
                    <a:pt x="78" y="70"/>
                  </a:cubicBezTo>
                  <a:cubicBezTo>
                    <a:pt x="79" y="71"/>
                    <a:pt x="80" y="70"/>
                    <a:pt x="80" y="69"/>
                  </a:cubicBezTo>
                  <a:cubicBezTo>
                    <a:pt x="81" y="69"/>
                    <a:pt x="80" y="66"/>
                    <a:pt x="80" y="65"/>
                  </a:cubicBezTo>
                  <a:cubicBezTo>
                    <a:pt x="80" y="65"/>
                    <a:pt x="85" y="66"/>
                    <a:pt x="85" y="66"/>
                  </a:cubicBezTo>
                  <a:cubicBezTo>
                    <a:pt x="86" y="67"/>
                    <a:pt x="86" y="69"/>
                    <a:pt x="86" y="70"/>
                  </a:cubicBezTo>
                  <a:cubicBezTo>
                    <a:pt x="84" y="72"/>
                    <a:pt x="83" y="72"/>
                    <a:pt x="81" y="72"/>
                  </a:cubicBezTo>
                  <a:cubicBezTo>
                    <a:pt x="79" y="72"/>
                    <a:pt x="77" y="72"/>
                    <a:pt x="76" y="72"/>
                  </a:cubicBezTo>
                  <a:cubicBezTo>
                    <a:pt x="75" y="72"/>
                    <a:pt x="74" y="71"/>
                    <a:pt x="73" y="70"/>
                  </a:cubicBezTo>
                  <a:cubicBezTo>
                    <a:pt x="72" y="69"/>
                    <a:pt x="72" y="66"/>
                    <a:pt x="73" y="66"/>
                  </a:cubicBezTo>
                  <a:cubicBezTo>
                    <a:pt x="74" y="65"/>
                    <a:pt x="76" y="66"/>
                    <a:pt x="77" y="66"/>
                  </a:cubicBezTo>
                  <a:cubicBezTo>
                    <a:pt x="77" y="67"/>
                    <a:pt x="76" y="68"/>
                    <a:pt x="77" y="69"/>
                  </a:cubicBezTo>
                  <a:moveTo>
                    <a:pt x="74" y="74"/>
                  </a:moveTo>
                  <a:cubicBezTo>
                    <a:pt x="74" y="74"/>
                    <a:pt x="75" y="74"/>
                    <a:pt x="75" y="74"/>
                  </a:cubicBezTo>
                  <a:cubicBezTo>
                    <a:pt x="78" y="75"/>
                    <a:pt x="79" y="76"/>
                    <a:pt x="77" y="77"/>
                  </a:cubicBezTo>
                  <a:cubicBezTo>
                    <a:pt x="76" y="78"/>
                    <a:pt x="74" y="80"/>
                    <a:pt x="73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71" y="85"/>
                    <a:pt x="70" y="85"/>
                    <a:pt x="70" y="85"/>
                  </a:cubicBezTo>
                  <a:cubicBezTo>
                    <a:pt x="68" y="85"/>
                    <a:pt x="69" y="82"/>
                    <a:pt x="70" y="80"/>
                  </a:cubicBezTo>
                  <a:cubicBezTo>
                    <a:pt x="70" y="80"/>
                    <a:pt x="73" y="74"/>
                    <a:pt x="74" y="74"/>
                  </a:cubicBezTo>
                  <a:moveTo>
                    <a:pt x="69" y="78"/>
                  </a:moveTo>
                  <a:cubicBezTo>
                    <a:pt x="67" y="79"/>
                    <a:pt x="66" y="82"/>
                    <a:pt x="66" y="84"/>
                  </a:cubicBezTo>
                  <a:cubicBezTo>
                    <a:pt x="67" y="84"/>
                    <a:pt x="67" y="85"/>
                    <a:pt x="67" y="86"/>
                  </a:cubicBezTo>
                  <a:cubicBezTo>
                    <a:pt x="67" y="86"/>
                    <a:pt x="65" y="91"/>
                    <a:pt x="64" y="91"/>
                  </a:cubicBezTo>
                  <a:cubicBezTo>
                    <a:pt x="63" y="91"/>
                    <a:pt x="62" y="91"/>
                    <a:pt x="63" y="89"/>
                  </a:cubicBezTo>
                  <a:cubicBezTo>
                    <a:pt x="64" y="81"/>
                    <a:pt x="63" y="80"/>
                    <a:pt x="65" y="76"/>
                  </a:cubicBezTo>
                  <a:cubicBezTo>
                    <a:pt x="67" y="73"/>
                    <a:pt x="68" y="72"/>
                    <a:pt x="70" y="73"/>
                  </a:cubicBezTo>
                  <a:cubicBezTo>
                    <a:pt x="73" y="74"/>
                    <a:pt x="71" y="74"/>
                    <a:pt x="69" y="78"/>
                  </a:cubicBezTo>
                  <a:moveTo>
                    <a:pt x="65" y="69"/>
                  </a:moveTo>
                  <a:cubicBezTo>
                    <a:pt x="65" y="70"/>
                    <a:pt x="65" y="70"/>
                    <a:pt x="64" y="70"/>
                  </a:cubicBezTo>
                  <a:cubicBezTo>
                    <a:pt x="64" y="69"/>
                    <a:pt x="63" y="69"/>
                    <a:pt x="64" y="68"/>
                  </a:cubicBezTo>
                  <a:cubicBezTo>
                    <a:pt x="64" y="68"/>
                    <a:pt x="64" y="68"/>
                    <a:pt x="65" y="68"/>
                  </a:cubicBezTo>
                  <a:cubicBezTo>
                    <a:pt x="65" y="68"/>
                    <a:pt x="65" y="69"/>
                    <a:pt x="65" y="69"/>
                  </a:cubicBezTo>
                  <a:moveTo>
                    <a:pt x="64" y="98"/>
                  </a:moveTo>
                  <a:cubicBezTo>
                    <a:pt x="64" y="97"/>
                    <a:pt x="64" y="96"/>
                    <a:pt x="64" y="95"/>
                  </a:cubicBezTo>
                  <a:cubicBezTo>
                    <a:pt x="65" y="94"/>
                    <a:pt x="66" y="92"/>
                    <a:pt x="67" y="93"/>
                  </a:cubicBezTo>
                  <a:cubicBezTo>
                    <a:pt x="68" y="93"/>
                    <a:pt x="68" y="96"/>
                    <a:pt x="68" y="97"/>
                  </a:cubicBezTo>
                  <a:cubicBezTo>
                    <a:pt x="68" y="99"/>
                    <a:pt x="67" y="99"/>
                    <a:pt x="64" y="100"/>
                  </a:cubicBezTo>
                  <a:cubicBezTo>
                    <a:pt x="63" y="100"/>
                    <a:pt x="63" y="100"/>
                    <a:pt x="62" y="100"/>
                  </a:cubicBezTo>
                  <a:cubicBezTo>
                    <a:pt x="62" y="100"/>
                    <a:pt x="63" y="99"/>
                    <a:pt x="64" y="98"/>
                  </a:cubicBezTo>
                  <a:moveTo>
                    <a:pt x="67" y="102"/>
                  </a:moveTo>
                  <a:cubicBezTo>
                    <a:pt x="68" y="101"/>
                    <a:pt x="69" y="101"/>
                    <a:pt x="69" y="101"/>
                  </a:cubicBezTo>
                  <a:cubicBezTo>
                    <a:pt x="69" y="101"/>
                    <a:pt x="70" y="104"/>
                    <a:pt x="69" y="104"/>
                  </a:cubicBezTo>
                  <a:cubicBezTo>
                    <a:pt x="69" y="105"/>
                    <a:pt x="69" y="105"/>
                    <a:pt x="69" y="106"/>
                  </a:cubicBezTo>
                  <a:cubicBezTo>
                    <a:pt x="68" y="107"/>
                    <a:pt x="64" y="109"/>
                    <a:pt x="64" y="109"/>
                  </a:cubicBezTo>
                  <a:cubicBezTo>
                    <a:pt x="63" y="109"/>
                    <a:pt x="63" y="108"/>
                    <a:pt x="63" y="107"/>
                  </a:cubicBezTo>
                  <a:cubicBezTo>
                    <a:pt x="62" y="105"/>
                    <a:pt x="65" y="103"/>
                    <a:pt x="67" y="102"/>
                  </a:cubicBezTo>
                  <a:moveTo>
                    <a:pt x="63" y="114"/>
                  </a:moveTo>
                  <a:cubicBezTo>
                    <a:pt x="63" y="114"/>
                    <a:pt x="63" y="114"/>
                    <a:pt x="64" y="113"/>
                  </a:cubicBezTo>
                  <a:cubicBezTo>
                    <a:pt x="64" y="113"/>
                    <a:pt x="67" y="111"/>
                    <a:pt x="68" y="111"/>
                  </a:cubicBezTo>
                  <a:cubicBezTo>
                    <a:pt x="69" y="111"/>
                    <a:pt x="69" y="111"/>
                    <a:pt x="69" y="112"/>
                  </a:cubicBezTo>
                  <a:cubicBezTo>
                    <a:pt x="69" y="113"/>
                    <a:pt x="65" y="116"/>
                    <a:pt x="64" y="116"/>
                  </a:cubicBezTo>
                  <a:cubicBezTo>
                    <a:pt x="64" y="116"/>
                    <a:pt x="63" y="116"/>
                    <a:pt x="63" y="114"/>
                  </a:cubicBezTo>
                  <a:moveTo>
                    <a:pt x="64" y="120"/>
                  </a:moveTo>
                  <a:cubicBezTo>
                    <a:pt x="65" y="119"/>
                    <a:pt x="69" y="116"/>
                    <a:pt x="70" y="116"/>
                  </a:cubicBezTo>
                  <a:cubicBezTo>
                    <a:pt x="71" y="117"/>
                    <a:pt x="70" y="119"/>
                    <a:pt x="70" y="120"/>
                  </a:cubicBezTo>
                  <a:cubicBezTo>
                    <a:pt x="69" y="121"/>
                    <a:pt x="67" y="123"/>
                    <a:pt x="66" y="123"/>
                  </a:cubicBezTo>
                  <a:cubicBezTo>
                    <a:pt x="65" y="123"/>
                    <a:pt x="65" y="123"/>
                    <a:pt x="64" y="121"/>
                  </a:cubicBezTo>
                  <a:cubicBezTo>
                    <a:pt x="64" y="121"/>
                    <a:pt x="64" y="120"/>
                    <a:pt x="64" y="120"/>
                  </a:cubicBezTo>
                  <a:moveTo>
                    <a:pt x="70" y="93"/>
                  </a:moveTo>
                  <a:cubicBezTo>
                    <a:pt x="69" y="93"/>
                    <a:pt x="70" y="90"/>
                    <a:pt x="70" y="89"/>
                  </a:cubicBezTo>
                  <a:cubicBezTo>
                    <a:pt x="72" y="87"/>
                    <a:pt x="79" y="80"/>
                    <a:pt x="79" y="80"/>
                  </a:cubicBezTo>
                  <a:cubicBezTo>
                    <a:pt x="79" y="80"/>
                    <a:pt x="80" y="80"/>
                    <a:pt x="80" y="80"/>
                  </a:cubicBezTo>
                  <a:cubicBezTo>
                    <a:pt x="81" y="81"/>
                    <a:pt x="84" y="82"/>
                    <a:pt x="84" y="82"/>
                  </a:cubicBezTo>
                  <a:cubicBezTo>
                    <a:pt x="84" y="83"/>
                    <a:pt x="85" y="85"/>
                    <a:pt x="86" y="86"/>
                  </a:cubicBezTo>
                  <a:cubicBezTo>
                    <a:pt x="86" y="86"/>
                    <a:pt x="86" y="87"/>
                    <a:pt x="86" y="87"/>
                  </a:cubicBezTo>
                  <a:cubicBezTo>
                    <a:pt x="87" y="87"/>
                    <a:pt x="89" y="88"/>
                    <a:pt x="89" y="88"/>
                  </a:cubicBezTo>
                  <a:cubicBezTo>
                    <a:pt x="90" y="88"/>
                    <a:pt x="89" y="90"/>
                    <a:pt x="89" y="91"/>
                  </a:cubicBezTo>
                  <a:cubicBezTo>
                    <a:pt x="88" y="91"/>
                    <a:pt x="86" y="90"/>
                    <a:pt x="86" y="90"/>
                  </a:cubicBezTo>
                  <a:cubicBezTo>
                    <a:pt x="83" y="88"/>
                    <a:pt x="83" y="86"/>
                    <a:pt x="79" y="85"/>
                  </a:cubicBezTo>
                  <a:cubicBezTo>
                    <a:pt x="77" y="85"/>
                    <a:pt x="77" y="86"/>
                    <a:pt x="75" y="88"/>
                  </a:cubicBezTo>
                  <a:cubicBezTo>
                    <a:pt x="75" y="89"/>
                    <a:pt x="72" y="91"/>
                    <a:pt x="72" y="91"/>
                  </a:cubicBezTo>
                  <a:cubicBezTo>
                    <a:pt x="72" y="92"/>
                    <a:pt x="71" y="94"/>
                    <a:pt x="70" y="93"/>
                  </a:cubicBezTo>
                  <a:moveTo>
                    <a:pt x="89" y="99"/>
                  </a:moveTo>
                  <a:cubicBezTo>
                    <a:pt x="89" y="99"/>
                    <a:pt x="88" y="100"/>
                    <a:pt x="88" y="100"/>
                  </a:cubicBezTo>
                  <a:cubicBezTo>
                    <a:pt x="87" y="99"/>
                    <a:pt x="86" y="97"/>
                    <a:pt x="86" y="96"/>
                  </a:cubicBezTo>
                  <a:cubicBezTo>
                    <a:pt x="86" y="96"/>
                    <a:pt x="85" y="95"/>
                    <a:pt x="84" y="95"/>
                  </a:cubicBezTo>
                  <a:cubicBezTo>
                    <a:pt x="82" y="94"/>
                    <a:pt x="82" y="95"/>
                    <a:pt x="81" y="93"/>
                  </a:cubicBezTo>
                  <a:cubicBezTo>
                    <a:pt x="81" y="93"/>
                    <a:pt x="79" y="89"/>
                    <a:pt x="80" y="89"/>
                  </a:cubicBezTo>
                  <a:cubicBezTo>
                    <a:pt x="80" y="88"/>
                    <a:pt x="83" y="91"/>
                    <a:pt x="83" y="91"/>
                  </a:cubicBezTo>
                  <a:cubicBezTo>
                    <a:pt x="84" y="92"/>
                    <a:pt x="85" y="92"/>
                    <a:pt x="86" y="92"/>
                  </a:cubicBezTo>
                  <a:cubicBezTo>
                    <a:pt x="87" y="92"/>
                    <a:pt x="88" y="94"/>
                    <a:pt x="89" y="95"/>
                  </a:cubicBezTo>
                  <a:cubicBezTo>
                    <a:pt x="90" y="96"/>
                    <a:pt x="90" y="97"/>
                    <a:pt x="89" y="99"/>
                  </a:cubicBezTo>
                  <a:moveTo>
                    <a:pt x="89" y="86"/>
                  </a:moveTo>
                  <a:cubicBezTo>
                    <a:pt x="87" y="86"/>
                    <a:pt x="87" y="83"/>
                    <a:pt x="86" y="82"/>
                  </a:cubicBezTo>
                  <a:cubicBezTo>
                    <a:pt x="86" y="81"/>
                    <a:pt x="81" y="78"/>
                    <a:pt x="81" y="77"/>
                  </a:cubicBezTo>
                  <a:cubicBezTo>
                    <a:pt x="81" y="76"/>
                    <a:pt x="81" y="74"/>
                    <a:pt x="83" y="74"/>
                  </a:cubicBezTo>
                  <a:cubicBezTo>
                    <a:pt x="84" y="74"/>
                    <a:pt x="89" y="81"/>
                    <a:pt x="90" y="82"/>
                  </a:cubicBezTo>
                  <a:cubicBezTo>
                    <a:pt x="90" y="82"/>
                    <a:pt x="90" y="85"/>
                    <a:pt x="89" y="86"/>
                  </a:cubicBezTo>
                  <a:moveTo>
                    <a:pt x="87" y="65"/>
                  </a:moveTo>
                  <a:cubicBezTo>
                    <a:pt x="88" y="65"/>
                    <a:pt x="90" y="63"/>
                    <a:pt x="91" y="63"/>
                  </a:cubicBezTo>
                  <a:cubicBezTo>
                    <a:pt x="92" y="62"/>
                    <a:pt x="92" y="63"/>
                    <a:pt x="92" y="63"/>
                  </a:cubicBezTo>
                  <a:cubicBezTo>
                    <a:pt x="93" y="65"/>
                    <a:pt x="92" y="70"/>
                    <a:pt x="89" y="71"/>
                  </a:cubicBezTo>
                  <a:cubicBezTo>
                    <a:pt x="89" y="71"/>
                    <a:pt x="89" y="71"/>
                    <a:pt x="88" y="71"/>
                  </a:cubicBezTo>
                  <a:cubicBezTo>
                    <a:pt x="87" y="71"/>
                    <a:pt x="87" y="66"/>
                    <a:pt x="87" y="65"/>
                  </a:cubicBezTo>
                  <a:moveTo>
                    <a:pt x="89" y="75"/>
                  </a:moveTo>
                  <a:cubicBezTo>
                    <a:pt x="89" y="75"/>
                    <a:pt x="90" y="75"/>
                    <a:pt x="90" y="75"/>
                  </a:cubicBezTo>
                  <a:cubicBezTo>
                    <a:pt x="91" y="74"/>
                    <a:pt x="92" y="76"/>
                    <a:pt x="93" y="77"/>
                  </a:cubicBezTo>
                  <a:cubicBezTo>
                    <a:pt x="94" y="77"/>
                    <a:pt x="95" y="77"/>
                    <a:pt x="95" y="78"/>
                  </a:cubicBezTo>
                  <a:cubicBezTo>
                    <a:pt x="96" y="78"/>
                    <a:pt x="96" y="79"/>
                    <a:pt x="96" y="80"/>
                  </a:cubicBezTo>
                  <a:cubicBezTo>
                    <a:pt x="95" y="81"/>
                    <a:pt x="94" y="80"/>
                    <a:pt x="93" y="79"/>
                  </a:cubicBezTo>
                  <a:cubicBezTo>
                    <a:pt x="92" y="79"/>
                    <a:pt x="91" y="79"/>
                    <a:pt x="90" y="79"/>
                  </a:cubicBezTo>
                  <a:cubicBezTo>
                    <a:pt x="90" y="78"/>
                    <a:pt x="89" y="76"/>
                    <a:pt x="89" y="75"/>
                  </a:cubicBezTo>
                  <a:moveTo>
                    <a:pt x="99" y="105"/>
                  </a:moveTo>
                  <a:cubicBezTo>
                    <a:pt x="100" y="105"/>
                    <a:pt x="100" y="106"/>
                    <a:pt x="101" y="107"/>
                  </a:cubicBezTo>
                  <a:cubicBezTo>
                    <a:pt x="102" y="108"/>
                    <a:pt x="102" y="110"/>
                    <a:pt x="101" y="110"/>
                  </a:cubicBezTo>
                  <a:cubicBezTo>
                    <a:pt x="99" y="111"/>
                    <a:pt x="98" y="108"/>
                    <a:pt x="98" y="106"/>
                  </a:cubicBezTo>
                  <a:cubicBezTo>
                    <a:pt x="98" y="106"/>
                    <a:pt x="99" y="106"/>
                    <a:pt x="99" y="105"/>
                  </a:cubicBezTo>
                  <a:moveTo>
                    <a:pt x="97" y="89"/>
                  </a:moveTo>
                  <a:cubicBezTo>
                    <a:pt x="95" y="90"/>
                    <a:pt x="96" y="88"/>
                    <a:pt x="94" y="87"/>
                  </a:cubicBezTo>
                  <a:cubicBezTo>
                    <a:pt x="93" y="86"/>
                    <a:pt x="91" y="86"/>
                    <a:pt x="91" y="84"/>
                  </a:cubicBezTo>
                  <a:cubicBezTo>
                    <a:pt x="92" y="83"/>
                    <a:pt x="92" y="82"/>
                    <a:pt x="93" y="82"/>
                  </a:cubicBezTo>
                  <a:cubicBezTo>
                    <a:pt x="95" y="82"/>
                    <a:pt x="97" y="86"/>
                    <a:pt x="98" y="87"/>
                  </a:cubicBezTo>
                  <a:cubicBezTo>
                    <a:pt x="98" y="88"/>
                    <a:pt x="98" y="88"/>
                    <a:pt x="97" y="89"/>
                  </a:cubicBezTo>
                  <a:moveTo>
                    <a:pt x="99" y="98"/>
                  </a:moveTo>
                  <a:cubicBezTo>
                    <a:pt x="98" y="97"/>
                    <a:pt x="98" y="96"/>
                    <a:pt x="99" y="96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1" y="96"/>
                    <a:pt x="101" y="97"/>
                    <a:pt x="101" y="98"/>
                  </a:cubicBezTo>
                  <a:cubicBezTo>
                    <a:pt x="102" y="100"/>
                    <a:pt x="103" y="103"/>
                    <a:pt x="102" y="104"/>
                  </a:cubicBezTo>
                  <a:cubicBezTo>
                    <a:pt x="101" y="105"/>
                    <a:pt x="99" y="100"/>
                    <a:pt x="99" y="98"/>
                  </a:cubicBezTo>
                  <a:moveTo>
                    <a:pt x="102" y="95"/>
                  </a:moveTo>
                  <a:cubicBezTo>
                    <a:pt x="102" y="95"/>
                    <a:pt x="99" y="92"/>
                    <a:pt x="98" y="92"/>
                  </a:cubicBezTo>
                  <a:cubicBezTo>
                    <a:pt x="98" y="92"/>
                    <a:pt x="98" y="92"/>
                    <a:pt x="98" y="92"/>
                  </a:cubicBezTo>
                  <a:cubicBezTo>
                    <a:pt x="100" y="90"/>
                    <a:pt x="102" y="90"/>
                    <a:pt x="103" y="92"/>
                  </a:cubicBezTo>
                  <a:cubicBezTo>
                    <a:pt x="103" y="92"/>
                    <a:pt x="103" y="94"/>
                    <a:pt x="103" y="94"/>
                  </a:cubicBezTo>
                  <a:cubicBezTo>
                    <a:pt x="103" y="95"/>
                    <a:pt x="103" y="95"/>
                    <a:pt x="102" y="95"/>
                  </a:cubicBezTo>
                  <a:moveTo>
                    <a:pt x="101" y="88"/>
                  </a:moveTo>
                  <a:cubicBezTo>
                    <a:pt x="100" y="88"/>
                    <a:pt x="99" y="85"/>
                    <a:pt x="98" y="84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98" y="84"/>
                    <a:pt x="99" y="84"/>
                    <a:pt x="99" y="84"/>
                  </a:cubicBezTo>
                  <a:cubicBezTo>
                    <a:pt x="100" y="83"/>
                    <a:pt x="101" y="83"/>
                    <a:pt x="101" y="83"/>
                  </a:cubicBezTo>
                  <a:cubicBezTo>
                    <a:pt x="102" y="83"/>
                    <a:pt x="103" y="84"/>
                    <a:pt x="103" y="85"/>
                  </a:cubicBezTo>
                  <a:cubicBezTo>
                    <a:pt x="103" y="86"/>
                    <a:pt x="103" y="88"/>
                    <a:pt x="101" y="88"/>
                  </a:cubicBezTo>
                  <a:moveTo>
                    <a:pt x="101" y="81"/>
                  </a:moveTo>
                  <a:cubicBezTo>
                    <a:pt x="99" y="81"/>
                    <a:pt x="99" y="82"/>
                    <a:pt x="98" y="80"/>
                  </a:cubicBezTo>
                  <a:cubicBezTo>
                    <a:pt x="98" y="79"/>
                    <a:pt x="97" y="79"/>
                    <a:pt x="97" y="77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7" y="77"/>
                    <a:pt x="97" y="76"/>
                    <a:pt x="97" y="76"/>
                  </a:cubicBezTo>
                  <a:cubicBezTo>
                    <a:pt x="98" y="76"/>
                    <a:pt x="99" y="76"/>
                    <a:pt x="99" y="76"/>
                  </a:cubicBezTo>
                  <a:cubicBezTo>
                    <a:pt x="100" y="77"/>
                    <a:pt x="100" y="78"/>
                    <a:pt x="101" y="79"/>
                  </a:cubicBezTo>
                  <a:cubicBezTo>
                    <a:pt x="101" y="80"/>
                    <a:pt x="101" y="80"/>
                    <a:pt x="101" y="81"/>
                  </a:cubicBezTo>
                  <a:moveTo>
                    <a:pt x="96" y="75"/>
                  </a:moveTo>
                  <a:cubicBezTo>
                    <a:pt x="96" y="75"/>
                    <a:pt x="95" y="76"/>
                    <a:pt x="94" y="75"/>
                  </a:cubicBezTo>
                  <a:cubicBezTo>
                    <a:pt x="92" y="74"/>
                    <a:pt x="93" y="72"/>
                    <a:pt x="94" y="71"/>
                  </a:cubicBezTo>
                  <a:cubicBezTo>
                    <a:pt x="95" y="71"/>
                    <a:pt x="95" y="71"/>
                    <a:pt x="96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8" y="72"/>
                    <a:pt x="97" y="74"/>
                    <a:pt x="96" y="75"/>
                  </a:cubicBezTo>
                  <a:moveTo>
                    <a:pt x="91" y="88"/>
                  </a:moveTo>
                  <a:cubicBezTo>
                    <a:pt x="91" y="88"/>
                    <a:pt x="91" y="88"/>
                    <a:pt x="92" y="88"/>
                  </a:cubicBezTo>
                  <a:cubicBezTo>
                    <a:pt x="92" y="88"/>
                    <a:pt x="92" y="88"/>
                    <a:pt x="93" y="88"/>
                  </a:cubicBezTo>
                  <a:cubicBezTo>
                    <a:pt x="94" y="89"/>
                    <a:pt x="93" y="89"/>
                    <a:pt x="94" y="91"/>
                  </a:cubicBezTo>
                  <a:cubicBezTo>
                    <a:pt x="94" y="92"/>
                    <a:pt x="95" y="92"/>
                    <a:pt x="96" y="93"/>
                  </a:cubicBezTo>
                  <a:cubicBezTo>
                    <a:pt x="96" y="93"/>
                    <a:pt x="97" y="95"/>
                    <a:pt x="96" y="95"/>
                  </a:cubicBezTo>
                  <a:cubicBezTo>
                    <a:pt x="96" y="96"/>
                    <a:pt x="95" y="94"/>
                    <a:pt x="94" y="93"/>
                  </a:cubicBezTo>
                  <a:cubicBezTo>
                    <a:pt x="93" y="93"/>
                    <a:pt x="92" y="92"/>
                    <a:pt x="91" y="91"/>
                  </a:cubicBezTo>
                  <a:cubicBezTo>
                    <a:pt x="91" y="91"/>
                    <a:pt x="90" y="89"/>
                    <a:pt x="91" y="88"/>
                  </a:cubicBezTo>
                  <a:moveTo>
                    <a:pt x="97" y="114"/>
                  </a:moveTo>
                  <a:cubicBezTo>
                    <a:pt x="97" y="114"/>
                    <a:pt x="97" y="113"/>
                    <a:pt x="97" y="113"/>
                  </a:cubicBezTo>
                  <a:cubicBezTo>
                    <a:pt x="98" y="111"/>
                    <a:pt x="99" y="112"/>
                    <a:pt x="100" y="113"/>
                  </a:cubicBezTo>
                  <a:cubicBezTo>
                    <a:pt x="102" y="116"/>
                    <a:pt x="102" y="117"/>
                    <a:pt x="100" y="119"/>
                  </a:cubicBezTo>
                  <a:cubicBezTo>
                    <a:pt x="99" y="120"/>
                    <a:pt x="99" y="120"/>
                    <a:pt x="98" y="120"/>
                  </a:cubicBezTo>
                  <a:cubicBezTo>
                    <a:pt x="97" y="118"/>
                    <a:pt x="97" y="116"/>
                    <a:pt x="97" y="114"/>
                  </a:cubicBezTo>
                  <a:moveTo>
                    <a:pt x="102" y="138"/>
                  </a:moveTo>
                  <a:cubicBezTo>
                    <a:pt x="102" y="137"/>
                    <a:pt x="102" y="136"/>
                    <a:pt x="102" y="135"/>
                  </a:cubicBezTo>
                  <a:cubicBezTo>
                    <a:pt x="102" y="134"/>
                    <a:pt x="103" y="132"/>
                    <a:pt x="103" y="130"/>
                  </a:cubicBezTo>
                  <a:cubicBezTo>
                    <a:pt x="103" y="129"/>
                    <a:pt x="101" y="122"/>
                    <a:pt x="102" y="122"/>
                  </a:cubicBezTo>
                  <a:cubicBezTo>
                    <a:pt x="103" y="122"/>
                    <a:pt x="103" y="123"/>
                    <a:pt x="103" y="124"/>
                  </a:cubicBezTo>
                  <a:cubicBezTo>
                    <a:pt x="104" y="132"/>
                    <a:pt x="103" y="148"/>
                    <a:pt x="101" y="155"/>
                  </a:cubicBezTo>
                  <a:cubicBezTo>
                    <a:pt x="100" y="157"/>
                    <a:pt x="100" y="159"/>
                    <a:pt x="99" y="157"/>
                  </a:cubicBezTo>
                  <a:cubicBezTo>
                    <a:pt x="98" y="155"/>
                    <a:pt x="98" y="154"/>
                    <a:pt x="98" y="154"/>
                  </a:cubicBezTo>
                  <a:cubicBezTo>
                    <a:pt x="99" y="149"/>
                    <a:pt x="102" y="140"/>
                    <a:pt x="102" y="138"/>
                  </a:cubicBezTo>
                  <a:moveTo>
                    <a:pt x="104" y="77"/>
                  </a:moveTo>
                  <a:cubicBezTo>
                    <a:pt x="103" y="77"/>
                    <a:pt x="103" y="78"/>
                    <a:pt x="102" y="77"/>
                  </a:cubicBezTo>
                  <a:cubicBezTo>
                    <a:pt x="102" y="77"/>
                    <a:pt x="101" y="75"/>
                    <a:pt x="101" y="74"/>
                  </a:cubicBezTo>
                  <a:cubicBezTo>
                    <a:pt x="101" y="74"/>
                    <a:pt x="101" y="74"/>
                    <a:pt x="102" y="74"/>
                  </a:cubicBezTo>
                  <a:cubicBezTo>
                    <a:pt x="102" y="74"/>
                    <a:pt x="103" y="74"/>
                    <a:pt x="103" y="74"/>
                  </a:cubicBezTo>
                  <a:cubicBezTo>
                    <a:pt x="103" y="75"/>
                    <a:pt x="104" y="76"/>
                    <a:pt x="104" y="77"/>
                  </a:cubicBezTo>
                  <a:moveTo>
                    <a:pt x="100" y="71"/>
                  </a:moveTo>
                  <a:cubicBezTo>
                    <a:pt x="100" y="71"/>
                    <a:pt x="99" y="70"/>
                    <a:pt x="99" y="70"/>
                  </a:cubicBezTo>
                  <a:cubicBezTo>
                    <a:pt x="99" y="69"/>
                    <a:pt x="99" y="69"/>
                    <a:pt x="100" y="69"/>
                  </a:cubicBezTo>
                  <a:cubicBezTo>
                    <a:pt x="100" y="69"/>
                    <a:pt x="102" y="69"/>
                    <a:pt x="102" y="70"/>
                  </a:cubicBezTo>
                  <a:cubicBezTo>
                    <a:pt x="102" y="71"/>
                    <a:pt x="101" y="71"/>
                    <a:pt x="100" y="71"/>
                  </a:cubicBezTo>
                  <a:moveTo>
                    <a:pt x="99" y="61"/>
                  </a:moveTo>
                  <a:cubicBezTo>
                    <a:pt x="98" y="62"/>
                    <a:pt x="97" y="63"/>
                    <a:pt x="96" y="64"/>
                  </a:cubicBezTo>
                  <a:cubicBezTo>
                    <a:pt x="96" y="65"/>
                    <a:pt x="95" y="65"/>
                    <a:pt x="95" y="65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5" y="65"/>
                    <a:pt x="93" y="62"/>
                    <a:pt x="93" y="61"/>
                  </a:cubicBezTo>
                  <a:cubicBezTo>
                    <a:pt x="92" y="60"/>
                    <a:pt x="92" y="59"/>
                    <a:pt x="95" y="58"/>
                  </a:cubicBezTo>
                  <a:cubicBezTo>
                    <a:pt x="95" y="57"/>
                    <a:pt x="96" y="57"/>
                    <a:pt x="97" y="58"/>
                  </a:cubicBezTo>
                  <a:cubicBezTo>
                    <a:pt x="98" y="59"/>
                    <a:pt x="97" y="57"/>
                    <a:pt x="98" y="56"/>
                  </a:cubicBezTo>
                  <a:cubicBezTo>
                    <a:pt x="98" y="55"/>
                    <a:pt x="98" y="54"/>
                    <a:pt x="99" y="54"/>
                  </a:cubicBezTo>
                  <a:cubicBezTo>
                    <a:pt x="100" y="54"/>
                    <a:pt x="100" y="55"/>
                    <a:pt x="100" y="56"/>
                  </a:cubicBezTo>
                  <a:cubicBezTo>
                    <a:pt x="101" y="57"/>
                    <a:pt x="100" y="60"/>
                    <a:pt x="99" y="61"/>
                  </a:cubicBezTo>
                  <a:moveTo>
                    <a:pt x="70" y="65"/>
                  </a:moveTo>
                  <a:cubicBezTo>
                    <a:pt x="71" y="66"/>
                    <a:pt x="71" y="66"/>
                    <a:pt x="71" y="69"/>
                  </a:cubicBezTo>
                  <a:cubicBezTo>
                    <a:pt x="71" y="71"/>
                    <a:pt x="70" y="72"/>
                    <a:pt x="70" y="71"/>
                  </a:cubicBezTo>
                  <a:cubicBezTo>
                    <a:pt x="69" y="71"/>
                    <a:pt x="68" y="71"/>
                    <a:pt x="68" y="70"/>
                  </a:cubicBezTo>
                  <a:cubicBezTo>
                    <a:pt x="67" y="69"/>
                    <a:pt x="66" y="68"/>
                    <a:pt x="66" y="67"/>
                  </a:cubicBezTo>
                  <a:cubicBezTo>
                    <a:pt x="65" y="66"/>
                    <a:pt x="64" y="66"/>
                    <a:pt x="63" y="65"/>
                  </a:cubicBezTo>
                  <a:cubicBezTo>
                    <a:pt x="63" y="64"/>
                    <a:pt x="63" y="64"/>
                    <a:pt x="64" y="63"/>
                  </a:cubicBezTo>
                  <a:cubicBezTo>
                    <a:pt x="65" y="62"/>
                    <a:pt x="67" y="63"/>
                    <a:pt x="70" y="65"/>
                  </a:cubicBezTo>
                  <a:moveTo>
                    <a:pt x="65" y="61"/>
                  </a:moveTo>
                  <a:cubicBezTo>
                    <a:pt x="65" y="61"/>
                    <a:pt x="63" y="62"/>
                    <a:pt x="63" y="62"/>
                  </a:cubicBezTo>
                  <a:cubicBezTo>
                    <a:pt x="62" y="63"/>
                    <a:pt x="62" y="64"/>
                    <a:pt x="62" y="65"/>
                  </a:cubicBezTo>
                  <a:cubicBezTo>
                    <a:pt x="62" y="66"/>
                    <a:pt x="61" y="66"/>
                    <a:pt x="61" y="66"/>
                  </a:cubicBezTo>
                  <a:cubicBezTo>
                    <a:pt x="60" y="66"/>
                    <a:pt x="58" y="64"/>
                    <a:pt x="58" y="64"/>
                  </a:cubicBezTo>
                  <a:cubicBezTo>
                    <a:pt x="58" y="63"/>
                    <a:pt x="58" y="61"/>
                    <a:pt x="58" y="60"/>
                  </a:cubicBezTo>
                  <a:cubicBezTo>
                    <a:pt x="57" y="59"/>
                    <a:pt x="54" y="59"/>
                    <a:pt x="55" y="58"/>
                  </a:cubicBezTo>
                  <a:cubicBezTo>
                    <a:pt x="56" y="57"/>
                    <a:pt x="56" y="58"/>
                    <a:pt x="58" y="58"/>
                  </a:cubicBezTo>
                  <a:cubicBezTo>
                    <a:pt x="58" y="58"/>
                    <a:pt x="59" y="58"/>
                    <a:pt x="60" y="57"/>
                  </a:cubicBezTo>
                  <a:cubicBezTo>
                    <a:pt x="60" y="57"/>
                    <a:pt x="61" y="57"/>
                    <a:pt x="61" y="57"/>
                  </a:cubicBezTo>
                  <a:cubicBezTo>
                    <a:pt x="61" y="57"/>
                    <a:pt x="64" y="60"/>
                    <a:pt x="65" y="60"/>
                  </a:cubicBezTo>
                  <a:cubicBezTo>
                    <a:pt x="65" y="61"/>
                    <a:pt x="65" y="61"/>
                    <a:pt x="65" y="61"/>
                  </a:cubicBezTo>
                  <a:moveTo>
                    <a:pt x="60" y="54"/>
                  </a:moveTo>
                  <a:cubicBezTo>
                    <a:pt x="59" y="54"/>
                    <a:pt x="59" y="54"/>
                    <a:pt x="59" y="55"/>
                  </a:cubicBezTo>
                  <a:cubicBezTo>
                    <a:pt x="59" y="55"/>
                    <a:pt x="58" y="56"/>
                    <a:pt x="57" y="55"/>
                  </a:cubicBezTo>
                  <a:cubicBezTo>
                    <a:pt x="56" y="55"/>
                    <a:pt x="55" y="53"/>
                    <a:pt x="54" y="52"/>
                  </a:cubicBezTo>
                  <a:cubicBezTo>
                    <a:pt x="53" y="51"/>
                    <a:pt x="53" y="50"/>
                    <a:pt x="54" y="49"/>
                  </a:cubicBezTo>
                  <a:cubicBezTo>
                    <a:pt x="54" y="48"/>
                    <a:pt x="57" y="47"/>
                    <a:pt x="58" y="47"/>
                  </a:cubicBezTo>
                  <a:cubicBezTo>
                    <a:pt x="59" y="47"/>
                    <a:pt x="59" y="47"/>
                    <a:pt x="59" y="48"/>
                  </a:cubicBezTo>
                  <a:cubicBezTo>
                    <a:pt x="60" y="48"/>
                    <a:pt x="60" y="53"/>
                    <a:pt x="60" y="54"/>
                  </a:cubicBezTo>
                  <a:moveTo>
                    <a:pt x="54" y="75"/>
                  </a:moveTo>
                  <a:cubicBezTo>
                    <a:pt x="54" y="77"/>
                    <a:pt x="52" y="78"/>
                    <a:pt x="51" y="77"/>
                  </a:cubicBezTo>
                  <a:cubicBezTo>
                    <a:pt x="50" y="77"/>
                    <a:pt x="50" y="75"/>
                    <a:pt x="50" y="75"/>
                  </a:cubicBezTo>
                  <a:cubicBezTo>
                    <a:pt x="50" y="74"/>
                    <a:pt x="51" y="73"/>
                    <a:pt x="51" y="73"/>
                  </a:cubicBezTo>
                  <a:cubicBezTo>
                    <a:pt x="53" y="73"/>
                    <a:pt x="54" y="74"/>
                    <a:pt x="54" y="75"/>
                  </a:cubicBezTo>
                  <a:moveTo>
                    <a:pt x="50" y="72"/>
                  </a:moveTo>
                  <a:cubicBezTo>
                    <a:pt x="50" y="73"/>
                    <a:pt x="49" y="73"/>
                    <a:pt x="48" y="72"/>
                  </a:cubicBezTo>
                  <a:cubicBezTo>
                    <a:pt x="46" y="71"/>
                    <a:pt x="46" y="70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8" y="67"/>
                    <a:pt x="51" y="68"/>
                    <a:pt x="51" y="69"/>
                  </a:cubicBezTo>
                  <a:cubicBezTo>
                    <a:pt x="52" y="69"/>
                    <a:pt x="51" y="71"/>
                    <a:pt x="50" y="72"/>
                  </a:cubicBezTo>
                  <a:moveTo>
                    <a:pt x="48" y="75"/>
                  </a:moveTo>
                  <a:cubicBezTo>
                    <a:pt x="49" y="76"/>
                    <a:pt x="49" y="79"/>
                    <a:pt x="47" y="79"/>
                  </a:cubicBezTo>
                  <a:cubicBezTo>
                    <a:pt x="45" y="80"/>
                    <a:pt x="46" y="78"/>
                    <a:pt x="46" y="77"/>
                  </a:cubicBezTo>
                  <a:cubicBezTo>
                    <a:pt x="46" y="77"/>
                    <a:pt x="45" y="75"/>
                    <a:pt x="45" y="74"/>
                  </a:cubicBezTo>
                  <a:cubicBezTo>
                    <a:pt x="44" y="73"/>
                    <a:pt x="45" y="73"/>
                    <a:pt x="45" y="73"/>
                  </a:cubicBezTo>
                  <a:cubicBezTo>
                    <a:pt x="45" y="73"/>
                    <a:pt x="45" y="73"/>
                    <a:pt x="46" y="73"/>
                  </a:cubicBezTo>
                  <a:cubicBezTo>
                    <a:pt x="46" y="73"/>
                    <a:pt x="47" y="74"/>
                    <a:pt x="48" y="75"/>
                  </a:cubicBezTo>
                  <a:moveTo>
                    <a:pt x="41" y="104"/>
                  </a:moveTo>
                  <a:cubicBezTo>
                    <a:pt x="43" y="103"/>
                    <a:pt x="44" y="104"/>
                    <a:pt x="44" y="105"/>
                  </a:cubicBezTo>
                  <a:cubicBezTo>
                    <a:pt x="44" y="106"/>
                    <a:pt x="43" y="107"/>
                    <a:pt x="42" y="107"/>
                  </a:cubicBezTo>
                  <a:cubicBezTo>
                    <a:pt x="42" y="107"/>
                    <a:pt x="42" y="107"/>
                    <a:pt x="41" y="106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40" y="104"/>
                    <a:pt x="40" y="104"/>
                    <a:pt x="41" y="104"/>
                  </a:cubicBezTo>
                  <a:moveTo>
                    <a:pt x="40" y="96"/>
                  </a:moveTo>
                  <a:cubicBezTo>
                    <a:pt x="40" y="96"/>
                    <a:pt x="39" y="94"/>
                    <a:pt x="40" y="94"/>
                  </a:cubicBezTo>
                  <a:cubicBezTo>
                    <a:pt x="40" y="94"/>
                    <a:pt x="41" y="94"/>
                    <a:pt x="41" y="94"/>
                  </a:cubicBezTo>
                  <a:cubicBezTo>
                    <a:pt x="42" y="94"/>
                    <a:pt x="43" y="96"/>
                    <a:pt x="42" y="97"/>
                  </a:cubicBezTo>
                  <a:cubicBezTo>
                    <a:pt x="42" y="97"/>
                    <a:pt x="42" y="98"/>
                    <a:pt x="41" y="98"/>
                  </a:cubicBezTo>
                  <a:cubicBezTo>
                    <a:pt x="41" y="98"/>
                    <a:pt x="40" y="97"/>
                    <a:pt x="40" y="96"/>
                  </a:cubicBezTo>
                  <a:moveTo>
                    <a:pt x="41" y="88"/>
                  </a:moveTo>
                  <a:cubicBezTo>
                    <a:pt x="41" y="87"/>
                    <a:pt x="41" y="87"/>
                    <a:pt x="42" y="87"/>
                  </a:cubicBezTo>
                  <a:cubicBezTo>
                    <a:pt x="42" y="86"/>
                    <a:pt x="45" y="88"/>
                    <a:pt x="46" y="89"/>
                  </a:cubicBezTo>
                  <a:cubicBezTo>
                    <a:pt x="46" y="89"/>
                    <a:pt x="46" y="89"/>
                    <a:pt x="46" y="90"/>
                  </a:cubicBezTo>
                  <a:cubicBezTo>
                    <a:pt x="46" y="91"/>
                    <a:pt x="45" y="91"/>
                    <a:pt x="45" y="91"/>
                  </a:cubicBezTo>
                  <a:cubicBezTo>
                    <a:pt x="44" y="91"/>
                    <a:pt x="42" y="88"/>
                    <a:pt x="41" y="88"/>
                  </a:cubicBezTo>
                  <a:moveTo>
                    <a:pt x="37" y="69"/>
                  </a:moveTo>
                  <a:cubicBezTo>
                    <a:pt x="39" y="70"/>
                    <a:pt x="42" y="71"/>
                    <a:pt x="42" y="71"/>
                  </a:cubicBezTo>
                  <a:cubicBezTo>
                    <a:pt x="42" y="71"/>
                    <a:pt x="43" y="74"/>
                    <a:pt x="43" y="75"/>
                  </a:cubicBezTo>
                  <a:cubicBezTo>
                    <a:pt x="43" y="75"/>
                    <a:pt x="42" y="75"/>
                    <a:pt x="42" y="76"/>
                  </a:cubicBezTo>
                  <a:cubicBezTo>
                    <a:pt x="42" y="76"/>
                    <a:pt x="42" y="77"/>
                    <a:pt x="41" y="76"/>
                  </a:cubicBezTo>
                  <a:cubicBezTo>
                    <a:pt x="41" y="76"/>
                    <a:pt x="41" y="75"/>
                    <a:pt x="40" y="74"/>
                  </a:cubicBezTo>
                  <a:cubicBezTo>
                    <a:pt x="39" y="73"/>
                    <a:pt x="38" y="72"/>
                    <a:pt x="37" y="71"/>
                  </a:cubicBezTo>
                  <a:cubicBezTo>
                    <a:pt x="37" y="71"/>
                    <a:pt x="35" y="68"/>
                    <a:pt x="36" y="67"/>
                  </a:cubicBezTo>
                  <a:cubicBezTo>
                    <a:pt x="36" y="67"/>
                    <a:pt x="37" y="68"/>
                    <a:pt x="37" y="69"/>
                  </a:cubicBezTo>
                  <a:moveTo>
                    <a:pt x="37" y="63"/>
                  </a:moveTo>
                  <a:cubicBezTo>
                    <a:pt x="37" y="63"/>
                    <a:pt x="37" y="63"/>
                    <a:pt x="38" y="63"/>
                  </a:cubicBezTo>
                  <a:cubicBezTo>
                    <a:pt x="38" y="63"/>
                    <a:pt x="40" y="63"/>
                    <a:pt x="41" y="64"/>
                  </a:cubicBezTo>
                  <a:cubicBezTo>
                    <a:pt x="42" y="65"/>
                    <a:pt x="44" y="67"/>
                    <a:pt x="44" y="67"/>
                  </a:cubicBezTo>
                  <a:cubicBezTo>
                    <a:pt x="44" y="69"/>
                    <a:pt x="43" y="68"/>
                    <a:pt x="42" y="67"/>
                  </a:cubicBezTo>
                  <a:cubicBezTo>
                    <a:pt x="42" y="67"/>
                    <a:pt x="40" y="67"/>
                    <a:pt x="39" y="67"/>
                  </a:cubicBezTo>
                  <a:cubicBezTo>
                    <a:pt x="39" y="66"/>
                    <a:pt x="38" y="66"/>
                    <a:pt x="38" y="66"/>
                  </a:cubicBezTo>
                  <a:cubicBezTo>
                    <a:pt x="37" y="65"/>
                    <a:pt x="37" y="65"/>
                    <a:pt x="37" y="63"/>
                  </a:cubicBezTo>
                  <a:moveTo>
                    <a:pt x="46" y="57"/>
                  </a:moveTo>
                  <a:cubicBezTo>
                    <a:pt x="44" y="57"/>
                    <a:pt x="44" y="57"/>
                    <a:pt x="44" y="56"/>
                  </a:cubicBezTo>
                  <a:cubicBezTo>
                    <a:pt x="43" y="55"/>
                    <a:pt x="42" y="54"/>
                    <a:pt x="41" y="54"/>
                  </a:cubicBezTo>
                  <a:cubicBezTo>
                    <a:pt x="40" y="54"/>
                    <a:pt x="40" y="54"/>
                    <a:pt x="39" y="54"/>
                  </a:cubicBezTo>
                  <a:cubicBezTo>
                    <a:pt x="37" y="54"/>
                    <a:pt x="36" y="52"/>
                    <a:pt x="36" y="50"/>
                  </a:cubicBezTo>
                  <a:cubicBezTo>
                    <a:pt x="37" y="50"/>
                    <a:pt x="38" y="49"/>
                    <a:pt x="39" y="48"/>
                  </a:cubicBezTo>
                  <a:cubicBezTo>
                    <a:pt x="39" y="48"/>
                    <a:pt x="42" y="48"/>
                    <a:pt x="42" y="49"/>
                  </a:cubicBezTo>
                  <a:cubicBezTo>
                    <a:pt x="43" y="50"/>
                    <a:pt x="43" y="52"/>
                    <a:pt x="44" y="52"/>
                  </a:cubicBezTo>
                  <a:cubicBezTo>
                    <a:pt x="45" y="53"/>
                    <a:pt x="46" y="55"/>
                    <a:pt x="46" y="55"/>
                  </a:cubicBezTo>
                  <a:cubicBezTo>
                    <a:pt x="46" y="56"/>
                    <a:pt x="46" y="57"/>
                    <a:pt x="46" y="57"/>
                  </a:cubicBezTo>
                  <a:moveTo>
                    <a:pt x="40" y="57"/>
                  </a:moveTo>
                  <a:cubicBezTo>
                    <a:pt x="42" y="58"/>
                    <a:pt x="47" y="61"/>
                    <a:pt x="46" y="64"/>
                  </a:cubicBezTo>
                  <a:cubicBezTo>
                    <a:pt x="45" y="65"/>
                    <a:pt x="43" y="62"/>
                    <a:pt x="43" y="62"/>
                  </a:cubicBezTo>
                  <a:cubicBezTo>
                    <a:pt x="42" y="61"/>
                    <a:pt x="40" y="61"/>
                    <a:pt x="39" y="61"/>
                  </a:cubicBezTo>
                  <a:cubicBezTo>
                    <a:pt x="39" y="60"/>
                    <a:pt x="39" y="59"/>
                    <a:pt x="38" y="59"/>
                  </a:cubicBezTo>
                  <a:cubicBezTo>
                    <a:pt x="38" y="58"/>
                    <a:pt x="38" y="60"/>
                    <a:pt x="37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5" y="59"/>
                    <a:pt x="35" y="58"/>
                    <a:pt x="36" y="58"/>
                  </a:cubicBezTo>
                  <a:cubicBezTo>
                    <a:pt x="37" y="56"/>
                    <a:pt x="40" y="57"/>
                    <a:pt x="40" y="57"/>
                  </a:cubicBezTo>
                  <a:moveTo>
                    <a:pt x="37" y="75"/>
                  </a:moveTo>
                  <a:cubicBezTo>
                    <a:pt x="38" y="75"/>
                    <a:pt x="38" y="76"/>
                    <a:pt x="38" y="77"/>
                  </a:cubicBezTo>
                  <a:cubicBezTo>
                    <a:pt x="39" y="78"/>
                    <a:pt x="40" y="79"/>
                    <a:pt x="41" y="79"/>
                  </a:cubicBezTo>
                  <a:cubicBezTo>
                    <a:pt x="41" y="80"/>
                    <a:pt x="41" y="80"/>
                    <a:pt x="41" y="81"/>
                  </a:cubicBezTo>
                  <a:cubicBezTo>
                    <a:pt x="42" y="83"/>
                    <a:pt x="40" y="84"/>
                    <a:pt x="38" y="84"/>
                  </a:cubicBezTo>
                  <a:cubicBezTo>
                    <a:pt x="37" y="83"/>
                    <a:pt x="37" y="82"/>
                    <a:pt x="37" y="81"/>
                  </a:cubicBezTo>
                  <a:cubicBezTo>
                    <a:pt x="36" y="78"/>
                    <a:pt x="34" y="78"/>
                    <a:pt x="35" y="76"/>
                  </a:cubicBezTo>
                  <a:cubicBezTo>
                    <a:pt x="35" y="76"/>
                    <a:pt x="35" y="75"/>
                    <a:pt x="35" y="75"/>
                  </a:cubicBezTo>
                  <a:cubicBezTo>
                    <a:pt x="36" y="75"/>
                    <a:pt x="36" y="74"/>
                    <a:pt x="37" y="75"/>
                  </a:cubicBezTo>
                  <a:moveTo>
                    <a:pt x="35" y="99"/>
                  </a:moveTo>
                  <a:cubicBezTo>
                    <a:pt x="35" y="101"/>
                    <a:pt x="36" y="101"/>
                    <a:pt x="37" y="102"/>
                  </a:cubicBezTo>
                  <a:cubicBezTo>
                    <a:pt x="38" y="103"/>
                    <a:pt x="38" y="104"/>
                    <a:pt x="38" y="104"/>
                  </a:cubicBezTo>
                  <a:cubicBezTo>
                    <a:pt x="37" y="105"/>
                    <a:pt x="34" y="105"/>
                    <a:pt x="34" y="105"/>
                  </a:cubicBezTo>
                  <a:cubicBezTo>
                    <a:pt x="34" y="104"/>
                    <a:pt x="34" y="103"/>
                    <a:pt x="33" y="103"/>
                  </a:cubicBezTo>
                  <a:cubicBezTo>
                    <a:pt x="33" y="102"/>
                    <a:pt x="32" y="101"/>
                    <a:pt x="31" y="100"/>
                  </a:cubicBezTo>
                  <a:cubicBezTo>
                    <a:pt x="30" y="100"/>
                    <a:pt x="30" y="99"/>
                    <a:pt x="29" y="99"/>
                  </a:cubicBezTo>
                  <a:cubicBezTo>
                    <a:pt x="29" y="98"/>
                    <a:pt x="31" y="97"/>
                    <a:pt x="31" y="97"/>
                  </a:cubicBezTo>
                  <a:cubicBezTo>
                    <a:pt x="32" y="97"/>
                    <a:pt x="35" y="98"/>
                    <a:pt x="35" y="98"/>
                  </a:cubicBezTo>
                  <a:cubicBezTo>
                    <a:pt x="34" y="99"/>
                    <a:pt x="34" y="99"/>
                    <a:pt x="35" y="99"/>
                  </a:cubicBezTo>
                  <a:moveTo>
                    <a:pt x="38" y="97"/>
                  </a:moveTo>
                  <a:cubicBezTo>
                    <a:pt x="38" y="97"/>
                    <a:pt x="38" y="99"/>
                    <a:pt x="36" y="98"/>
                  </a:cubicBezTo>
                  <a:cubicBezTo>
                    <a:pt x="35" y="98"/>
                    <a:pt x="35" y="96"/>
                    <a:pt x="35" y="95"/>
                  </a:cubicBezTo>
                  <a:cubicBezTo>
                    <a:pt x="35" y="95"/>
                    <a:pt x="34" y="95"/>
                    <a:pt x="33" y="94"/>
                  </a:cubicBezTo>
                  <a:cubicBezTo>
                    <a:pt x="33" y="94"/>
                    <a:pt x="32" y="93"/>
                    <a:pt x="31" y="93"/>
                  </a:cubicBezTo>
                  <a:cubicBezTo>
                    <a:pt x="31" y="92"/>
                    <a:pt x="32" y="91"/>
                    <a:pt x="33" y="91"/>
                  </a:cubicBezTo>
                  <a:cubicBezTo>
                    <a:pt x="35" y="90"/>
                    <a:pt x="37" y="91"/>
                    <a:pt x="37" y="91"/>
                  </a:cubicBezTo>
                  <a:cubicBezTo>
                    <a:pt x="37" y="91"/>
                    <a:pt x="36" y="88"/>
                    <a:pt x="35" y="87"/>
                  </a:cubicBezTo>
                  <a:cubicBezTo>
                    <a:pt x="34" y="85"/>
                    <a:pt x="32" y="84"/>
                    <a:pt x="32" y="84"/>
                  </a:cubicBezTo>
                  <a:cubicBezTo>
                    <a:pt x="32" y="84"/>
                    <a:pt x="33" y="83"/>
                    <a:pt x="34" y="83"/>
                  </a:cubicBezTo>
                  <a:cubicBezTo>
                    <a:pt x="36" y="82"/>
                    <a:pt x="36" y="84"/>
                    <a:pt x="37" y="85"/>
                  </a:cubicBezTo>
                  <a:cubicBezTo>
                    <a:pt x="37" y="86"/>
                    <a:pt x="37" y="86"/>
                    <a:pt x="38" y="87"/>
                  </a:cubicBezTo>
                  <a:cubicBezTo>
                    <a:pt x="39" y="89"/>
                    <a:pt x="39" y="91"/>
                    <a:pt x="37" y="92"/>
                  </a:cubicBezTo>
                  <a:cubicBezTo>
                    <a:pt x="37" y="92"/>
                    <a:pt x="36" y="92"/>
                    <a:pt x="35" y="92"/>
                  </a:cubicBezTo>
                  <a:cubicBezTo>
                    <a:pt x="35" y="93"/>
                    <a:pt x="37" y="95"/>
                    <a:pt x="38" y="97"/>
                  </a:cubicBezTo>
                  <a:moveTo>
                    <a:pt x="29" y="74"/>
                  </a:moveTo>
                  <a:cubicBezTo>
                    <a:pt x="29" y="74"/>
                    <a:pt x="32" y="78"/>
                    <a:pt x="32" y="78"/>
                  </a:cubicBezTo>
                  <a:cubicBezTo>
                    <a:pt x="33" y="79"/>
                    <a:pt x="32" y="81"/>
                    <a:pt x="31" y="82"/>
                  </a:cubicBezTo>
                  <a:cubicBezTo>
                    <a:pt x="29" y="83"/>
                    <a:pt x="30" y="81"/>
                    <a:pt x="29" y="80"/>
                  </a:cubicBezTo>
                  <a:cubicBezTo>
                    <a:pt x="29" y="78"/>
                    <a:pt x="28" y="78"/>
                    <a:pt x="27" y="77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26" y="74"/>
                    <a:pt x="26" y="73"/>
                    <a:pt x="26" y="73"/>
                  </a:cubicBezTo>
                  <a:cubicBezTo>
                    <a:pt x="28" y="73"/>
                    <a:pt x="28" y="73"/>
                    <a:pt x="29" y="74"/>
                  </a:cubicBezTo>
                  <a:moveTo>
                    <a:pt x="26" y="80"/>
                  </a:moveTo>
                  <a:cubicBezTo>
                    <a:pt x="27" y="80"/>
                    <a:pt x="28" y="82"/>
                    <a:pt x="29" y="83"/>
                  </a:cubicBezTo>
                  <a:cubicBezTo>
                    <a:pt x="29" y="84"/>
                    <a:pt x="29" y="85"/>
                    <a:pt x="30" y="86"/>
                  </a:cubicBezTo>
                  <a:cubicBezTo>
                    <a:pt x="30" y="86"/>
                    <a:pt x="30" y="86"/>
                    <a:pt x="31" y="87"/>
                  </a:cubicBezTo>
                  <a:cubicBezTo>
                    <a:pt x="31" y="88"/>
                    <a:pt x="31" y="88"/>
                    <a:pt x="30" y="89"/>
                  </a:cubicBezTo>
                  <a:cubicBezTo>
                    <a:pt x="28" y="90"/>
                    <a:pt x="27" y="86"/>
                    <a:pt x="26" y="85"/>
                  </a:cubicBezTo>
                  <a:cubicBezTo>
                    <a:pt x="25" y="83"/>
                    <a:pt x="24" y="83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6" y="80"/>
                    <a:pt x="26" y="80"/>
                  </a:cubicBezTo>
                  <a:moveTo>
                    <a:pt x="29" y="105"/>
                  </a:moveTo>
                  <a:cubicBezTo>
                    <a:pt x="30" y="105"/>
                    <a:pt x="33" y="108"/>
                    <a:pt x="34" y="109"/>
                  </a:cubicBezTo>
                  <a:cubicBezTo>
                    <a:pt x="34" y="110"/>
                    <a:pt x="34" y="111"/>
                    <a:pt x="33" y="112"/>
                  </a:cubicBezTo>
                  <a:cubicBezTo>
                    <a:pt x="32" y="112"/>
                    <a:pt x="32" y="111"/>
                    <a:pt x="31" y="110"/>
                  </a:cubicBezTo>
                  <a:cubicBezTo>
                    <a:pt x="31" y="109"/>
                    <a:pt x="29" y="109"/>
                    <a:pt x="29" y="108"/>
                  </a:cubicBezTo>
                  <a:cubicBezTo>
                    <a:pt x="28" y="108"/>
                    <a:pt x="28" y="106"/>
                    <a:pt x="29" y="106"/>
                  </a:cubicBezTo>
                  <a:cubicBezTo>
                    <a:pt x="29" y="106"/>
                    <a:pt x="29" y="105"/>
                    <a:pt x="29" y="105"/>
                  </a:cubicBezTo>
                  <a:moveTo>
                    <a:pt x="33" y="114"/>
                  </a:moveTo>
                  <a:cubicBezTo>
                    <a:pt x="34" y="113"/>
                    <a:pt x="34" y="113"/>
                    <a:pt x="35" y="113"/>
                  </a:cubicBezTo>
                  <a:cubicBezTo>
                    <a:pt x="36" y="114"/>
                    <a:pt x="38" y="116"/>
                    <a:pt x="38" y="117"/>
                  </a:cubicBezTo>
                  <a:cubicBezTo>
                    <a:pt x="38" y="118"/>
                    <a:pt x="38" y="119"/>
                    <a:pt x="38" y="119"/>
                  </a:cubicBezTo>
                  <a:cubicBezTo>
                    <a:pt x="38" y="119"/>
                    <a:pt x="37" y="119"/>
                    <a:pt x="37" y="119"/>
                  </a:cubicBezTo>
                  <a:cubicBezTo>
                    <a:pt x="37" y="119"/>
                    <a:pt x="35" y="116"/>
                    <a:pt x="34" y="115"/>
                  </a:cubicBezTo>
                  <a:cubicBezTo>
                    <a:pt x="33" y="114"/>
                    <a:pt x="33" y="114"/>
                    <a:pt x="33" y="114"/>
                  </a:cubicBezTo>
                  <a:moveTo>
                    <a:pt x="37" y="112"/>
                  </a:moveTo>
                  <a:cubicBezTo>
                    <a:pt x="37" y="112"/>
                    <a:pt x="37" y="112"/>
                    <a:pt x="37" y="111"/>
                  </a:cubicBezTo>
                  <a:cubicBezTo>
                    <a:pt x="37" y="111"/>
                    <a:pt x="37" y="111"/>
                    <a:pt x="37" y="109"/>
                  </a:cubicBezTo>
                  <a:cubicBezTo>
                    <a:pt x="38" y="108"/>
                    <a:pt x="39" y="108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10"/>
                    <a:pt x="40" y="110"/>
                    <a:pt x="40" y="111"/>
                  </a:cubicBezTo>
                  <a:cubicBezTo>
                    <a:pt x="41" y="111"/>
                    <a:pt x="42" y="112"/>
                    <a:pt x="42" y="112"/>
                  </a:cubicBezTo>
                  <a:cubicBezTo>
                    <a:pt x="42" y="113"/>
                    <a:pt x="41" y="114"/>
                    <a:pt x="42" y="115"/>
                  </a:cubicBezTo>
                  <a:cubicBezTo>
                    <a:pt x="42" y="115"/>
                    <a:pt x="44" y="116"/>
                    <a:pt x="44" y="117"/>
                  </a:cubicBezTo>
                  <a:cubicBezTo>
                    <a:pt x="44" y="117"/>
                    <a:pt x="44" y="119"/>
                    <a:pt x="43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1" y="118"/>
                    <a:pt x="41" y="117"/>
                    <a:pt x="40" y="116"/>
                  </a:cubicBezTo>
                  <a:cubicBezTo>
                    <a:pt x="40" y="115"/>
                    <a:pt x="38" y="113"/>
                    <a:pt x="37" y="112"/>
                  </a:cubicBezTo>
                  <a:moveTo>
                    <a:pt x="44" y="93"/>
                  </a:moveTo>
                  <a:cubicBezTo>
                    <a:pt x="44" y="93"/>
                    <a:pt x="46" y="93"/>
                    <a:pt x="47" y="94"/>
                  </a:cubicBezTo>
                  <a:cubicBezTo>
                    <a:pt x="48" y="95"/>
                    <a:pt x="48" y="95"/>
                    <a:pt x="47" y="97"/>
                  </a:cubicBezTo>
                  <a:cubicBezTo>
                    <a:pt x="46" y="98"/>
                    <a:pt x="46" y="98"/>
                    <a:pt x="46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4" y="96"/>
                    <a:pt x="44" y="94"/>
                    <a:pt x="44" y="93"/>
                  </a:cubicBezTo>
                  <a:moveTo>
                    <a:pt x="45" y="101"/>
                  </a:moveTo>
                  <a:cubicBezTo>
                    <a:pt x="46" y="100"/>
                    <a:pt x="47" y="100"/>
                    <a:pt x="48" y="101"/>
                  </a:cubicBezTo>
                  <a:cubicBezTo>
                    <a:pt x="48" y="101"/>
                    <a:pt x="48" y="101"/>
                    <a:pt x="48" y="102"/>
                  </a:cubicBezTo>
                  <a:cubicBezTo>
                    <a:pt x="48" y="103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7" y="104"/>
                    <a:pt x="47" y="104"/>
                    <a:pt x="46" y="103"/>
                  </a:cubicBezTo>
                  <a:cubicBezTo>
                    <a:pt x="46" y="102"/>
                    <a:pt x="45" y="101"/>
                    <a:pt x="45" y="101"/>
                  </a:cubicBezTo>
                  <a:moveTo>
                    <a:pt x="47" y="108"/>
                  </a:moveTo>
                  <a:cubicBezTo>
                    <a:pt x="47" y="108"/>
                    <a:pt x="47" y="108"/>
                    <a:pt x="47" y="108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0" y="107"/>
                    <a:pt x="50" y="108"/>
                    <a:pt x="51" y="110"/>
                  </a:cubicBezTo>
                  <a:cubicBezTo>
                    <a:pt x="51" y="111"/>
                    <a:pt x="51" y="112"/>
                    <a:pt x="50" y="112"/>
                  </a:cubicBezTo>
                  <a:cubicBezTo>
                    <a:pt x="49" y="113"/>
                    <a:pt x="48" y="112"/>
                    <a:pt x="47" y="111"/>
                  </a:cubicBezTo>
                  <a:cubicBezTo>
                    <a:pt x="47" y="110"/>
                    <a:pt x="47" y="109"/>
                    <a:pt x="47" y="108"/>
                  </a:cubicBezTo>
                  <a:moveTo>
                    <a:pt x="50" y="100"/>
                  </a:moveTo>
                  <a:cubicBezTo>
                    <a:pt x="50" y="99"/>
                    <a:pt x="51" y="99"/>
                    <a:pt x="51" y="98"/>
                  </a:cubicBezTo>
                  <a:cubicBezTo>
                    <a:pt x="52" y="97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4" y="97"/>
                    <a:pt x="53" y="100"/>
                    <a:pt x="52" y="101"/>
                  </a:cubicBezTo>
                  <a:cubicBezTo>
                    <a:pt x="51" y="101"/>
                    <a:pt x="51" y="101"/>
                    <a:pt x="50" y="100"/>
                  </a:cubicBezTo>
                  <a:moveTo>
                    <a:pt x="53" y="102"/>
                  </a:moveTo>
                  <a:cubicBezTo>
                    <a:pt x="54" y="102"/>
                    <a:pt x="54" y="102"/>
                    <a:pt x="54" y="103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6"/>
                    <a:pt x="54" y="106"/>
                    <a:pt x="53" y="106"/>
                  </a:cubicBezTo>
                  <a:cubicBezTo>
                    <a:pt x="53" y="107"/>
                    <a:pt x="51" y="105"/>
                    <a:pt x="51" y="105"/>
                  </a:cubicBezTo>
                  <a:cubicBezTo>
                    <a:pt x="51" y="104"/>
                    <a:pt x="52" y="102"/>
                    <a:pt x="53" y="102"/>
                  </a:cubicBezTo>
                  <a:moveTo>
                    <a:pt x="54" y="124"/>
                  </a:moveTo>
                  <a:cubicBezTo>
                    <a:pt x="54" y="123"/>
                    <a:pt x="54" y="123"/>
                    <a:pt x="55" y="124"/>
                  </a:cubicBezTo>
                  <a:cubicBezTo>
                    <a:pt x="55" y="124"/>
                    <a:pt x="55" y="124"/>
                    <a:pt x="55" y="126"/>
                  </a:cubicBezTo>
                  <a:cubicBezTo>
                    <a:pt x="55" y="129"/>
                    <a:pt x="55" y="129"/>
                    <a:pt x="55" y="130"/>
                  </a:cubicBezTo>
                  <a:cubicBezTo>
                    <a:pt x="55" y="130"/>
                    <a:pt x="55" y="130"/>
                    <a:pt x="55" y="130"/>
                  </a:cubicBezTo>
                  <a:cubicBezTo>
                    <a:pt x="55" y="131"/>
                    <a:pt x="56" y="133"/>
                    <a:pt x="56" y="134"/>
                  </a:cubicBezTo>
                  <a:cubicBezTo>
                    <a:pt x="56" y="135"/>
                    <a:pt x="55" y="136"/>
                    <a:pt x="55" y="136"/>
                  </a:cubicBezTo>
                  <a:cubicBezTo>
                    <a:pt x="55" y="136"/>
                    <a:pt x="55" y="136"/>
                    <a:pt x="54" y="136"/>
                  </a:cubicBezTo>
                  <a:cubicBezTo>
                    <a:pt x="53" y="133"/>
                    <a:pt x="52" y="127"/>
                    <a:pt x="54" y="124"/>
                  </a:cubicBezTo>
                  <a:moveTo>
                    <a:pt x="56" y="151"/>
                  </a:moveTo>
                  <a:cubicBezTo>
                    <a:pt x="57" y="152"/>
                    <a:pt x="57" y="157"/>
                    <a:pt x="58" y="159"/>
                  </a:cubicBezTo>
                  <a:cubicBezTo>
                    <a:pt x="58" y="162"/>
                    <a:pt x="58" y="169"/>
                    <a:pt x="57" y="171"/>
                  </a:cubicBezTo>
                  <a:cubicBezTo>
                    <a:pt x="56" y="171"/>
                    <a:pt x="55" y="171"/>
                    <a:pt x="54" y="172"/>
                  </a:cubicBezTo>
                  <a:cubicBezTo>
                    <a:pt x="53" y="173"/>
                    <a:pt x="52" y="174"/>
                    <a:pt x="52" y="174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0" y="173"/>
                    <a:pt x="52" y="163"/>
                    <a:pt x="53" y="159"/>
                  </a:cubicBezTo>
                  <a:cubicBezTo>
                    <a:pt x="53" y="156"/>
                    <a:pt x="55" y="151"/>
                    <a:pt x="56" y="151"/>
                  </a:cubicBezTo>
                  <a:moveTo>
                    <a:pt x="73" y="163"/>
                  </a:moveTo>
                  <a:cubicBezTo>
                    <a:pt x="74" y="158"/>
                    <a:pt x="75" y="152"/>
                    <a:pt x="75" y="146"/>
                  </a:cubicBezTo>
                  <a:cubicBezTo>
                    <a:pt x="76" y="140"/>
                    <a:pt x="75" y="132"/>
                    <a:pt x="76" y="128"/>
                  </a:cubicBezTo>
                  <a:cubicBezTo>
                    <a:pt x="76" y="126"/>
                    <a:pt x="77" y="122"/>
                    <a:pt x="80" y="124"/>
                  </a:cubicBezTo>
                  <a:cubicBezTo>
                    <a:pt x="81" y="125"/>
                    <a:pt x="81" y="125"/>
                    <a:pt x="81" y="127"/>
                  </a:cubicBezTo>
                  <a:cubicBezTo>
                    <a:pt x="79" y="129"/>
                    <a:pt x="81" y="130"/>
                    <a:pt x="82" y="134"/>
                  </a:cubicBezTo>
                  <a:cubicBezTo>
                    <a:pt x="82" y="135"/>
                    <a:pt x="82" y="136"/>
                    <a:pt x="82" y="137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2" y="137"/>
                    <a:pt x="82" y="137"/>
                    <a:pt x="78" y="152"/>
                  </a:cubicBezTo>
                  <a:cubicBezTo>
                    <a:pt x="73" y="165"/>
                    <a:pt x="73" y="165"/>
                    <a:pt x="73" y="164"/>
                  </a:cubicBezTo>
                  <a:cubicBezTo>
                    <a:pt x="73" y="164"/>
                    <a:pt x="73" y="164"/>
                    <a:pt x="73" y="163"/>
                  </a:cubicBezTo>
                  <a:moveTo>
                    <a:pt x="80" y="168"/>
                  </a:moveTo>
                  <a:cubicBezTo>
                    <a:pt x="84" y="155"/>
                    <a:pt x="84" y="155"/>
                    <a:pt x="85" y="156"/>
                  </a:cubicBezTo>
                  <a:cubicBezTo>
                    <a:pt x="86" y="159"/>
                    <a:pt x="85" y="161"/>
                    <a:pt x="84" y="164"/>
                  </a:cubicBezTo>
                  <a:cubicBezTo>
                    <a:pt x="84" y="166"/>
                    <a:pt x="83" y="172"/>
                    <a:pt x="84" y="175"/>
                  </a:cubicBezTo>
                  <a:cubicBezTo>
                    <a:pt x="84" y="177"/>
                    <a:pt x="86" y="181"/>
                    <a:pt x="86" y="181"/>
                  </a:cubicBezTo>
                  <a:cubicBezTo>
                    <a:pt x="86" y="181"/>
                    <a:pt x="83" y="182"/>
                    <a:pt x="80" y="182"/>
                  </a:cubicBezTo>
                  <a:cubicBezTo>
                    <a:pt x="78" y="182"/>
                    <a:pt x="76" y="181"/>
                    <a:pt x="80" y="168"/>
                  </a:cubicBezTo>
                  <a:moveTo>
                    <a:pt x="84" y="130"/>
                  </a:moveTo>
                  <a:cubicBezTo>
                    <a:pt x="84" y="129"/>
                    <a:pt x="85" y="128"/>
                    <a:pt x="85" y="128"/>
                  </a:cubicBezTo>
                  <a:cubicBezTo>
                    <a:pt x="88" y="126"/>
                    <a:pt x="88" y="129"/>
                    <a:pt x="88" y="132"/>
                  </a:cubicBezTo>
                  <a:cubicBezTo>
                    <a:pt x="89" y="139"/>
                    <a:pt x="89" y="141"/>
                    <a:pt x="88" y="148"/>
                  </a:cubicBezTo>
                  <a:cubicBezTo>
                    <a:pt x="88" y="149"/>
                    <a:pt x="87" y="150"/>
                    <a:pt x="87" y="150"/>
                  </a:cubicBezTo>
                  <a:cubicBezTo>
                    <a:pt x="86" y="151"/>
                    <a:pt x="86" y="150"/>
                    <a:pt x="86" y="149"/>
                  </a:cubicBezTo>
                  <a:cubicBezTo>
                    <a:pt x="84" y="142"/>
                    <a:pt x="84" y="138"/>
                    <a:pt x="84" y="130"/>
                  </a:cubicBezTo>
                  <a:moveTo>
                    <a:pt x="97" y="177"/>
                  </a:moveTo>
                  <a:cubicBezTo>
                    <a:pt x="98" y="177"/>
                    <a:pt x="98" y="177"/>
                    <a:pt x="98" y="177"/>
                  </a:cubicBezTo>
                  <a:cubicBezTo>
                    <a:pt x="98" y="177"/>
                    <a:pt x="98" y="177"/>
                    <a:pt x="98" y="177"/>
                  </a:cubicBezTo>
                  <a:cubicBezTo>
                    <a:pt x="98" y="177"/>
                    <a:pt x="99" y="179"/>
                    <a:pt x="98" y="179"/>
                  </a:cubicBezTo>
                  <a:cubicBezTo>
                    <a:pt x="98" y="179"/>
                    <a:pt x="97" y="178"/>
                    <a:pt x="96" y="178"/>
                  </a:cubicBezTo>
                  <a:cubicBezTo>
                    <a:pt x="96" y="177"/>
                    <a:pt x="96" y="177"/>
                    <a:pt x="97" y="177"/>
                  </a:cubicBezTo>
                  <a:moveTo>
                    <a:pt x="98" y="185"/>
                  </a:moveTo>
                  <a:cubicBezTo>
                    <a:pt x="99" y="185"/>
                    <a:pt x="99" y="185"/>
                    <a:pt x="99" y="185"/>
                  </a:cubicBezTo>
                  <a:cubicBezTo>
                    <a:pt x="100" y="185"/>
                    <a:pt x="102" y="186"/>
                    <a:pt x="102" y="186"/>
                  </a:cubicBezTo>
                  <a:cubicBezTo>
                    <a:pt x="102" y="186"/>
                    <a:pt x="102" y="187"/>
                    <a:pt x="101" y="187"/>
                  </a:cubicBezTo>
                  <a:cubicBezTo>
                    <a:pt x="100" y="187"/>
                    <a:pt x="99" y="187"/>
                    <a:pt x="99" y="187"/>
                  </a:cubicBezTo>
                  <a:cubicBezTo>
                    <a:pt x="98" y="186"/>
                    <a:pt x="98" y="185"/>
                    <a:pt x="98" y="185"/>
                  </a:cubicBezTo>
                  <a:moveTo>
                    <a:pt x="103" y="189"/>
                  </a:moveTo>
                  <a:cubicBezTo>
                    <a:pt x="106" y="189"/>
                    <a:pt x="108" y="189"/>
                    <a:pt x="107" y="191"/>
                  </a:cubicBezTo>
                  <a:cubicBezTo>
                    <a:pt x="107" y="192"/>
                    <a:pt x="107" y="192"/>
                    <a:pt x="107" y="197"/>
                  </a:cubicBezTo>
                  <a:cubicBezTo>
                    <a:pt x="106" y="202"/>
                    <a:pt x="105" y="201"/>
                    <a:pt x="105" y="201"/>
                  </a:cubicBezTo>
                  <a:cubicBezTo>
                    <a:pt x="104" y="198"/>
                    <a:pt x="103" y="194"/>
                    <a:pt x="101" y="192"/>
                  </a:cubicBezTo>
                  <a:cubicBezTo>
                    <a:pt x="100" y="191"/>
                    <a:pt x="100" y="191"/>
                    <a:pt x="99" y="190"/>
                  </a:cubicBezTo>
                  <a:cubicBezTo>
                    <a:pt x="99" y="189"/>
                    <a:pt x="102" y="189"/>
                    <a:pt x="103" y="189"/>
                  </a:cubicBezTo>
                  <a:moveTo>
                    <a:pt x="107" y="187"/>
                  </a:moveTo>
                  <a:cubicBezTo>
                    <a:pt x="107" y="188"/>
                    <a:pt x="105" y="187"/>
                    <a:pt x="104" y="186"/>
                  </a:cubicBezTo>
                  <a:cubicBezTo>
                    <a:pt x="104" y="186"/>
                    <a:pt x="104" y="186"/>
                    <a:pt x="104" y="185"/>
                  </a:cubicBezTo>
                  <a:cubicBezTo>
                    <a:pt x="104" y="185"/>
                    <a:pt x="105" y="185"/>
                    <a:pt x="105" y="185"/>
                  </a:cubicBezTo>
                  <a:cubicBezTo>
                    <a:pt x="106" y="185"/>
                    <a:pt x="107" y="186"/>
                    <a:pt x="107" y="186"/>
                  </a:cubicBezTo>
                  <a:cubicBezTo>
                    <a:pt x="107" y="187"/>
                    <a:pt x="107" y="187"/>
                    <a:pt x="107" y="187"/>
                  </a:cubicBezTo>
                  <a:moveTo>
                    <a:pt x="106" y="175"/>
                  </a:moveTo>
                  <a:cubicBezTo>
                    <a:pt x="106" y="175"/>
                    <a:pt x="105" y="175"/>
                    <a:pt x="105" y="175"/>
                  </a:cubicBezTo>
                  <a:cubicBezTo>
                    <a:pt x="105" y="175"/>
                    <a:pt x="103" y="173"/>
                    <a:pt x="102" y="172"/>
                  </a:cubicBezTo>
                  <a:cubicBezTo>
                    <a:pt x="102" y="171"/>
                    <a:pt x="101" y="170"/>
                    <a:pt x="101" y="169"/>
                  </a:cubicBezTo>
                  <a:cubicBezTo>
                    <a:pt x="100" y="164"/>
                    <a:pt x="100" y="161"/>
                    <a:pt x="104" y="159"/>
                  </a:cubicBezTo>
                  <a:cubicBezTo>
                    <a:pt x="104" y="159"/>
                    <a:pt x="105" y="160"/>
                    <a:pt x="106" y="162"/>
                  </a:cubicBezTo>
                  <a:cubicBezTo>
                    <a:pt x="106" y="162"/>
                    <a:pt x="106" y="162"/>
                    <a:pt x="106" y="168"/>
                  </a:cubicBezTo>
                  <a:cubicBezTo>
                    <a:pt x="106" y="174"/>
                    <a:pt x="106" y="175"/>
                    <a:pt x="106" y="175"/>
                  </a:cubicBezTo>
                  <a:moveTo>
                    <a:pt x="104" y="88"/>
                  </a:moveTo>
                  <a:cubicBezTo>
                    <a:pt x="105" y="87"/>
                    <a:pt x="107" y="87"/>
                    <a:pt x="107" y="89"/>
                  </a:cubicBezTo>
                  <a:cubicBezTo>
                    <a:pt x="108" y="89"/>
                    <a:pt x="108" y="91"/>
                    <a:pt x="107" y="91"/>
                  </a:cubicBezTo>
                  <a:cubicBezTo>
                    <a:pt x="107" y="92"/>
                    <a:pt x="106" y="92"/>
                    <a:pt x="105" y="91"/>
                  </a:cubicBezTo>
                  <a:cubicBezTo>
                    <a:pt x="104" y="90"/>
                    <a:pt x="103" y="89"/>
                    <a:pt x="104" y="88"/>
                  </a:cubicBezTo>
                  <a:moveTo>
                    <a:pt x="104" y="109"/>
                  </a:moveTo>
                  <a:cubicBezTo>
                    <a:pt x="104" y="107"/>
                    <a:pt x="105" y="107"/>
                    <a:pt x="105" y="108"/>
                  </a:cubicBezTo>
                  <a:cubicBezTo>
                    <a:pt x="106" y="108"/>
                    <a:pt x="106" y="110"/>
                    <a:pt x="106" y="111"/>
                  </a:cubicBezTo>
                  <a:cubicBezTo>
                    <a:pt x="105" y="112"/>
                    <a:pt x="105" y="112"/>
                    <a:pt x="104" y="111"/>
                  </a:cubicBezTo>
                  <a:cubicBezTo>
                    <a:pt x="104" y="111"/>
                    <a:pt x="104" y="111"/>
                    <a:pt x="104" y="109"/>
                  </a:cubicBezTo>
                  <a:moveTo>
                    <a:pt x="106" y="105"/>
                  </a:moveTo>
                  <a:cubicBezTo>
                    <a:pt x="105" y="105"/>
                    <a:pt x="105" y="104"/>
                    <a:pt x="105" y="104"/>
                  </a:cubicBezTo>
                  <a:cubicBezTo>
                    <a:pt x="104" y="103"/>
                    <a:pt x="104" y="101"/>
                    <a:pt x="104" y="101"/>
                  </a:cubicBezTo>
                  <a:cubicBezTo>
                    <a:pt x="104" y="100"/>
                    <a:pt x="105" y="100"/>
                    <a:pt x="105" y="101"/>
                  </a:cubicBezTo>
                  <a:cubicBezTo>
                    <a:pt x="106" y="101"/>
                    <a:pt x="107" y="102"/>
                    <a:pt x="107" y="103"/>
                  </a:cubicBezTo>
                  <a:cubicBezTo>
                    <a:pt x="107" y="104"/>
                    <a:pt x="107" y="104"/>
                    <a:pt x="107" y="104"/>
                  </a:cubicBezTo>
                  <a:cubicBezTo>
                    <a:pt x="106" y="105"/>
                    <a:pt x="106" y="105"/>
                    <a:pt x="106" y="105"/>
                  </a:cubicBezTo>
                  <a:moveTo>
                    <a:pt x="106" y="99"/>
                  </a:moveTo>
                  <a:cubicBezTo>
                    <a:pt x="106" y="98"/>
                    <a:pt x="106" y="98"/>
                    <a:pt x="106" y="98"/>
                  </a:cubicBezTo>
                  <a:cubicBezTo>
                    <a:pt x="105" y="97"/>
                    <a:pt x="105" y="94"/>
                    <a:pt x="105" y="94"/>
                  </a:cubicBezTo>
                  <a:cubicBezTo>
                    <a:pt x="105" y="94"/>
                    <a:pt x="107" y="94"/>
                    <a:pt x="107" y="95"/>
                  </a:cubicBezTo>
                  <a:cubicBezTo>
                    <a:pt x="108" y="95"/>
                    <a:pt x="108" y="97"/>
                    <a:pt x="108" y="97"/>
                  </a:cubicBezTo>
                  <a:cubicBezTo>
                    <a:pt x="108" y="98"/>
                    <a:pt x="107" y="99"/>
                    <a:pt x="106" y="99"/>
                  </a:cubicBezTo>
                  <a:moveTo>
                    <a:pt x="108" y="117"/>
                  </a:moveTo>
                  <a:cubicBezTo>
                    <a:pt x="108" y="117"/>
                    <a:pt x="108" y="117"/>
                    <a:pt x="108" y="117"/>
                  </a:cubicBezTo>
                  <a:cubicBezTo>
                    <a:pt x="109" y="118"/>
                    <a:pt x="112" y="120"/>
                    <a:pt x="111" y="121"/>
                  </a:cubicBezTo>
                  <a:cubicBezTo>
                    <a:pt x="111" y="121"/>
                    <a:pt x="111" y="121"/>
                    <a:pt x="110" y="121"/>
                  </a:cubicBezTo>
                  <a:cubicBezTo>
                    <a:pt x="110" y="120"/>
                    <a:pt x="108" y="119"/>
                    <a:pt x="108" y="118"/>
                  </a:cubicBezTo>
                  <a:cubicBezTo>
                    <a:pt x="107" y="118"/>
                    <a:pt x="107" y="117"/>
                    <a:pt x="108" y="117"/>
                  </a:cubicBezTo>
                  <a:moveTo>
                    <a:pt x="111" y="115"/>
                  </a:moveTo>
                  <a:cubicBezTo>
                    <a:pt x="111" y="115"/>
                    <a:pt x="110" y="115"/>
                    <a:pt x="110" y="115"/>
                  </a:cubicBezTo>
                  <a:cubicBezTo>
                    <a:pt x="109" y="115"/>
                    <a:pt x="109" y="113"/>
                    <a:pt x="110" y="112"/>
                  </a:cubicBezTo>
                  <a:cubicBezTo>
                    <a:pt x="111" y="110"/>
                    <a:pt x="112" y="109"/>
                    <a:pt x="113" y="111"/>
                  </a:cubicBezTo>
                  <a:cubicBezTo>
                    <a:pt x="114" y="113"/>
                    <a:pt x="113" y="114"/>
                    <a:pt x="111" y="115"/>
                  </a:cubicBezTo>
                  <a:moveTo>
                    <a:pt x="113" y="117"/>
                  </a:moveTo>
                  <a:cubicBezTo>
                    <a:pt x="114" y="117"/>
                    <a:pt x="114" y="115"/>
                    <a:pt x="115" y="115"/>
                  </a:cubicBezTo>
                  <a:cubicBezTo>
                    <a:pt x="116" y="115"/>
                    <a:pt x="117" y="116"/>
                    <a:pt x="117" y="117"/>
                  </a:cubicBezTo>
                  <a:cubicBezTo>
                    <a:pt x="118" y="119"/>
                    <a:pt x="117" y="122"/>
                    <a:pt x="115" y="121"/>
                  </a:cubicBezTo>
                  <a:cubicBezTo>
                    <a:pt x="113" y="121"/>
                    <a:pt x="113" y="119"/>
                    <a:pt x="113" y="117"/>
                  </a:cubicBezTo>
                  <a:moveTo>
                    <a:pt x="122" y="101"/>
                  </a:moveTo>
                  <a:cubicBezTo>
                    <a:pt x="123" y="100"/>
                    <a:pt x="125" y="96"/>
                    <a:pt x="126" y="96"/>
                  </a:cubicBezTo>
                  <a:cubicBezTo>
                    <a:pt x="126" y="95"/>
                    <a:pt x="127" y="96"/>
                    <a:pt x="128" y="97"/>
                  </a:cubicBezTo>
                  <a:cubicBezTo>
                    <a:pt x="129" y="99"/>
                    <a:pt x="128" y="101"/>
                    <a:pt x="127" y="104"/>
                  </a:cubicBezTo>
                  <a:cubicBezTo>
                    <a:pt x="126" y="105"/>
                    <a:pt x="125" y="106"/>
                    <a:pt x="125" y="106"/>
                  </a:cubicBezTo>
                  <a:cubicBezTo>
                    <a:pt x="124" y="106"/>
                    <a:pt x="124" y="105"/>
                    <a:pt x="123" y="105"/>
                  </a:cubicBezTo>
                  <a:cubicBezTo>
                    <a:pt x="122" y="103"/>
                    <a:pt x="122" y="102"/>
                    <a:pt x="122" y="101"/>
                  </a:cubicBezTo>
                  <a:moveTo>
                    <a:pt x="121" y="67"/>
                  </a:moveTo>
                  <a:cubicBezTo>
                    <a:pt x="120" y="66"/>
                    <a:pt x="121" y="63"/>
                    <a:pt x="122" y="62"/>
                  </a:cubicBezTo>
                  <a:cubicBezTo>
                    <a:pt x="123" y="61"/>
                    <a:pt x="123" y="61"/>
                    <a:pt x="122" y="60"/>
                  </a:cubicBezTo>
                  <a:cubicBezTo>
                    <a:pt x="122" y="60"/>
                    <a:pt x="121" y="60"/>
                    <a:pt x="121" y="59"/>
                  </a:cubicBezTo>
                  <a:cubicBezTo>
                    <a:pt x="120" y="58"/>
                    <a:pt x="118" y="57"/>
                    <a:pt x="118" y="56"/>
                  </a:cubicBezTo>
                  <a:cubicBezTo>
                    <a:pt x="118" y="56"/>
                    <a:pt x="119" y="53"/>
                    <a:pt x="120" y="53"/>
                  </a:cubicBezTo>
                  <a:cubicBezTo>
                    <a:pt x="120" y="53"/>
                    <a:pt x="121" y="53"/>
                    <a:pt x="122" y="53"/>
                  </a:cubicBezTo>
                  <a:cubicBezTo>
                    <a:pt x="123" y="53"/>
                    <a:pt x="125" y="53"/>
                    <a:pt x="125" y="52"/>
                  </a:cubicBezTo>
                  <a:cubicBezTo>
                    <a:pt x="125" y="52"/>
                    <a:pt x="124" y="52"/>
                    <a:pt x="123" y="52"/>
                  </a:cubicBezTo>
                  <a:cubicBezTo>
                    <a:pt x="123" y="52"/>
                    <a:pt x="122" y="51"/>
                    <a:pt x="122" y="51"/>
                  </a:cubicBezTo>
                  <a:cubicBezTo>
                    <a:pt x="121" y="50"/>
                    <a:pt x="122" y="47"/>
                    <a:pt x="123" y="45"/>
                  </a:cubicBezTo>
                  <a:cubicBezTo>
                    <a:pt x="124" y="44"/>
                    <a:pt x="126" y="42"/>
                    <a:pt x="128" y="43"/>
                  </a:cubicBezTo>
                  <a:cubicBezTo>
                    <a:pt x="129" y="44"/>
                    <a:pt x="126" y="45"/>
                    <a:pt x="125" y="46"/>
                  </a:cubicBezTo>
                  <a:cubicBezTo>
                    <a:pt x="124" y="46"/>
                    <a:pt x="124" y="46"/>
                    <a:pt x="124" y="47"/>
                  </a:cubicBezTo>
                  <a:cubicBezTo>
                    <a:pt x="124" y="48"/>
                    <a:pt x="124" y="48"/>
                    <a:pt x="124" y="49"/>
                  </a:cubicBezTo>
                  <a:cubicBezTo>
                    <a:pt x="125" y="49"/>
                    <a:pt x="125" y="48"/>
                    <a:pt x="126" y="48"/>
                  </a:cubicBezTo>
                  <a:cubicBezTo>
                    <a:pt x="127" y="47"/>
                    <a:pt x="128" y="47"/>
                    <a:pt x="128" y="47"/>
                  </a:cubicBezTo>
                  <a:cubicBezTo>
                    <a:pt x="128" y="47"/>
                    <a:pt x="129" y="50"/>
                    <a:pt x="128" y="52"/>
                  </a:cubicBezTo>
                  <a:cubicBezTo>
                    <a:pt x="128" y="55"/>
                    <a:pt x="127" y="55"/>
                    <a:pt x="124" y="56"/>
                  </a:cubicBezTo>
                  <a:cubicBezTo>
                    <a:pt x="123" y="56"/>
                    <a:pt x="122" y="57"/>
                    <a:pt x="122" y="58"/>
                  </a:cubicBezTo>
                  <a:cubicBezTo>
                    <a:pt x="122" y="58"/>
                    <a:pt x="124" y="62"/>
                    <a:pt x="124" y="62"/>
                  </a:cubicBezTo>
                  <a:cubicBezTo>
                    <a:pt x="124" y="62"/>
                    <a:pt x="125" y="61"/>
                    <a:pt x="125" y="60"/>
                  </a:cubicBezTo>
                  <a:cubicBezTo>
                    <a:pt x="126" y="59"/>
                    <a:pt x="125" y="59"/>
                    <a:pt x="126" y="58"/>
                  </a:cubicBezTo>
                  <a:cubicBezTo>
                    <a:pt x="126" y="58"/>
                    <a:pt x="126" y="58"/>
                    <a:pt x="126" y="58"/>
                  </a:cubicBezTo>
                  <a:cubicBezTo>
                    <a:pt x="127" y="57"/>
                    <a:pt x="128" y="57"/>
                    <a:pt x="128" y="58"/>
                  </a:cubicBezTo>
                  <a:cubicBezTo>
                    <a:pt x="129" y="59"/>
                    <a:pt x="128" y="62"/>
                    <a:pt x="127" y="63"/>
                  </a:cubicBezTo>
                  <a:cubicBezTo>
                    <a:pt x="126" y="64"/>
                    <a:pt x="125" y="64"/>
                    <a:pt x="124" y="64"/>
                  </a:cubicBezTo>
                  <a:cubicBezTo>
                    <a:pt x="123" y="66"/>
                    <a:pt x="122" y="67"/>
                    <a:pt x="121" y="67"/>
                  </a:cubicBezTo>
                  <a:moveTo>
                    <a:pt x="111" y="33"/>
                  </a:moveTo>
                  <a:cubicBezTo>
                    <a:pt x="112" y="32"/>
                    <a:pt x="113" y="33"/>
                    <a:pt x="111" y="35"/>
                  </a:cubicBezTo>
                  <a:cubicBezTo>
                    <a:pt x="108" y="37"/>
                    <a:pt x="110" y="34"/>
                    <a:pt x="111" y="33"/>
                  </a:cubicBezTo>
                  <a:moveTo>
                    <a:pt x="108" y="40"/>
                  </a:moveTo>
                  <a:cubicBezTo>
                    <a:pt x="108" y="40"/>
                    <a:pt x="111" y="38"/>
                    <a:pt x="112" y="38"/>
                  </a:cubicBezTo>
                  <a:cubicBezTo>
                    <a:pt x="112" y="38"/>
                    <a:pt x="112" y="38"/>
                    <a:pt x="110" y="40"/>
                  </a:cubicBezTo>
                  <a:cubicBezTo>
                    <a:pt x="107" y="41"/>
                    <a:pt x="107" y="41"/>
                    <a:pt x="108" y="40"/>
                  </a:cubicBezTo>
                  <a:moveTo>
                    <a:pt x="106" y="50"/>
                  </a:moveTo>
                  <a:cubicBezTo>
                    <a:pt x="107" y="48"/>
                    <a:pt x="108" y="45"/>
                    <a:pt x="110" y="44"/>
                  </a:cubicBezTo>
                  <a:cubicBezTo>
                    <a:pt x="111" y="44"/>
                    <a:pt x="112" y="44"/>
                    <a:pt x="113" y="43"/>
                  </a:cubicBezTo>
                  <a:cubicBezTo>
                    <a:pt x="114" y="43"/>
                    <a:pt x="113" y="42"/>
                    <a:pt x="113" y="42"/>
                  </a:cubicBezTo>
                  <a:cubicBezTo>
                    <a:pt x="111" y="40"/>
                    <a:pt x="110" y="42"/>
                    <a:pt x="108" y="42"/>
                  </a:cubicBezTo>
                  <a:cubicBezTo>
                    <a:pt x="107" y="43"/>
                    <a:pt x="107" y="42"/>
                    <a:pt x="111" y="40"/>
                  </a:cubicBezTo>
                  <a:cubicBezTo>
                    <a:pt x="115" y="38"/>
                    <a:pt x="114" y="43"/>
                    <a:pt x="115" y="44"/>
                  </a:cubicBezTo>
                  <a:cubicBezTo>
                    <a:pt x="115" y="45"/>
                    <a:pt x="115" y="46"/>
                    <a:pt x="115" y="46"/>
                  </a:cubicBezTo>
                  <a:cubicBezTo>
                    <a:pt x="115" y="48"/>
                    <a:pt x="112" y="47"/>
                    <a:pt x="110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7" y="52"/>
                    <a:pt x="106" y="51"/>
                  </a:cubicBezTo>
                  <a:cubicBezTo>
                    <a:pt x="106" y="51"/>
                    <a:pt x="106" y="51"/>
                    <a:pt x="106" y="50"/>
                  </a:cubicBezTo>
                  <a:moveTo>
                    <a:pt x="106" y="55"/>
                  </a:moveTo>
                  <a:cubicBezTo>
                    <a:pt x="106" y="56"/>
                    <a:pt x="106" y="57"/>
                    <a:pt x="106" y="58"/>
                  </a:cubicBezTo>
                  <a:cubicBezTo>
                    <a:pt x="106" y="59"/>
                    <a:pt x="104" y="63"/>
                    <a:pt x="103" y="63"/>
                  </a:cubicBezTo>
                  <a:cubicBezTo>
                    <a:pt x="103" y="63"/>
                    <a:pt x="102" y="62"/>
                    <a:pt x="102" y="61"/>
                  </a:cubicBezTo>
                  <a:cubicBezTo>
                    <a:pt x="103" y="59"/>
                    <a:pt x="104" y="54"/>
                    <a:pt x="105" y="54"/>
                  </a:cubicBezTo>
                  <a:cubicBezTo>
                    <a:pt x="105" y="53"/>
                    <a:pt x="105" y="54"/>
                    <a:pt x="106" y="55"/>
                  </a:cubicBezTo>
                  <a:moveTo>
                    <a:pt x="103" y="29"/>
                  </a:moveTo>
                  <a:cubicBezTo>
                    <a:pt x="103" y="30"/>
                    <a:pt x="102" y="35"/>
                    <a:pt x="103" y="35"/>
                  </a:cubicBezTo>
                  <a:cubicBezTo>
                    <a:pt x="103" y="36"/>
                    <a:pt x="104" y="38"/>
                    <a:pt x="104" y="39"/>
                  </a:cubicBezTo>
                  <a:cubicBezTo>
                    <a:pt x="104" y="40"/>
                    <a:pt x="104" y="41"/>
                    <a:pt x="104" y="42"/>
                  </a:cubicBezTo>
                  <a:cubicBezTo>
                    <a:pt x="103" y="45"/>
                    <a:pt x="105" y="48"/>
                    <a:pt x="102" y="49"/>
                  </a:cubicBezTo>
                  <a:cubicBezTo>
                    <a:pt x="101" y="49"/>
                    <a:pt x="101" y="49"/>
                    <a:pt x="100" y="48"/>
                  </a:cubicBezTo>
                  <a:cubicBezTo>
                    <a:pt x="100" y="47"/>
                    <a:pt x="100" y="47"/>
                    <a:pt x="99" y="47"/>
                  </a:cubicBezTo>
                  <a:cubicBezTo>
                    <a:pt x="99" y="47"/>
                    <a:pt x="100" y="49"/>
                    <a:pt x="100" y="50"/>
                  </a:cubicBezTo>
                  <a:cubicBezTo>
                    <a:pt x="100" y="51"/>
                    <a:pt x="100" y="52"/>
                    <a:pt x="100" y="52"/>
                  </a:cubicBezTo>
                  <a:cubicBezTo>
                    <a:pt x="97" y="51"/>
                    <a:pt x="98" y="46"/>
                    <a:pt x="98" y="44"/>
                  </a:cubicBezTo>
                  <a:cubicBezTo>
                    <a:pt x="99" y="39"/>
                    <a:pt x="100" y="39"/>
                    <a:pt x="100" y="35"/>
                  </a:cubicBezTo>
                  <a:cubicBezTo>
                    <a:pt x="100" y="34"/>
                    <a:pt x="100" y="32"/>
                    <a:pt x="99" y="31"/>
                  </a:cubicBezTo>
                  <a:cubicBezTo>
                    <a:pt x="98" y="28"/>
                    <a:pt x="97" y="28"/>
                    <a:pt x="98" y="26"/>
                  </a:cubicBezTo>
                  <a:cubicBezTo>
                    <a:pt x="99" y="24"/>
                    <a:pt x="100" y="27"/>
                    <a:pt x="101" y="28"/>
                  </a:cubicBezTo>
                  <a:cubicBezTo>
                    <a:pt x="102" y="29"/>
                    <a:pt x="103" y="29"/>
                    <a:pt x="103" y="29"/>
                  </a:cubicBezTo>
                  <a:moveTo>
                    <a:pt x="100" y="18"/>
                  </a:moveTo>
                  <a:cubicBezTo>
                    <a:pt x="100" y="18"/>
                    <a:pt x="100" y="16"/>
                    <a:pt x="100" y="16"/>
                  </a:cubicBezTo>
                  <a:cubicBezTo>
                    <a:pt x="100" y="16"/>
                    <a:pt x="100" y="16"/>
                    <a:pt x="101" y="16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3" y="17"/>
                    <a:pt x="101" y="19"/>
                    <a:pt x="100" y="20"/>
                  </a:cubicBezTo>
                  <a:cubicBezTo>
                    <a:pt x="100" y="21"/>
                    <a:pt x="99" y="21"/>
                    <a:pt x="99" y="22"/>
                  </a:cubicBezTo>
                  <a:cubicBezTo>
                    <a:pt x="98" y="22"/>
                    <a:pt x="97" y="22"/>
                    <a:pt x="97" y="20"/>
                  </a:cubicBezTo>
                  <a:cubicBezTo>
                    <a:pt x="96" y="19"/>
                    <a:pt x="99" y="19"/>
                    <a:pt x="100" y="18"/>
                  </a:cubicBezTo>
                  <a:moveTo>
                    <a:pt x="88" y="14"/>
                  </a:moveTo>
                  <a:cubicBezTo>
                    <a:pt x="88" y="13"/>
                    <a:pt x="88" y="13"/>
                    <a:pt x="89" y="13"/>
                  </a:cubicBezTo>
                  <a:cubicBezTo>
                    <a:pt x="90" y="12"/>
                    <a:pt x="93" y="10"/>
                    <a:pt x="95" y="10"/>
                  </a:cubicBezTo>
                  <a:cubicBezTo>
                    <a:pt x="96" y="11"/>
                    <a:pt x="97" y="14"/>
                    <a:pt x="96" y="15"/>
                  </a:cubicBezTo>
                  <a:cubicBezTo>
                    <a:pt x="96" y="16"/>
                    <a:pt x="94" y="18"/>
                    <a:pt x="92" y="18"/>
                  </a:cubicBezTo>
                  <a:cubicBezTo>
                    <a:pt x="91" y="17"/>
                    <a:pt x="90" y="17"/>
                    <a:pt x="91" y="16"/>
                  </a:cubicBezTo>
                  <a:cubicBezTo>
                    <a:pt x="91" y="16"/>
                    <a:pt x="95" y="14"/>
                    <a:pt x="93" y="13"/>
                  </a:cubicBezTo>
                  <a:cubicBezTo>
                    <a:pt x="92" y="13"/>
                    <a:pt x="90" y="14"/>
                    <a:pt x="89" y="15"/>
                  </a:cubicBezTo>
                  <a:cubicBezTo>
                    <a:pt x="89" y="15"/>
                    <a:pt x="88" y="15"/>
                    <a:pt x="88" y="15"/>
                  </a:cubicBezTo>
                  <a:cubicBezTo>
                    <a:pt x="88" y="14"/>
                    <a:pt x="88" y="14"/>
                    <a:pt x="88" y="14"/>
                  </a:cubicBezTo>
                  <a:moveTo>
                    <a:pt x="90" y="18"/>
                  </a:moveTo>
                  <a:cubicBezTo>
                    <a:pt x="91" y="19"/>
                    <a:pt x="95" y="21"/>
                    <a:pt x="95" y="22"/>
                  </a:cubicBezTo>
                  <a:cubicBezTo>
                    <a:pt x="96" y="22"/>
                    <a:pt x="96" y="23"/>
                    <a:pt x="96" y="23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7" y="24"/>
                    <a:pt x="97" y="24"/>
                  </a:cubicBezTo>
                  <a:cubicBezTo>
                    <a:pt x="97" y="25"/>
                    <a:pt x="97" y="26"/>
                    <a:pt x="97" y="28"/>
                  </a:cubicBezTo>
                  <a:cubicBezTo>
                    <a:pt x="97" y="29"/>
                    <a:pt x="99" y="33"/>
                    <a:pt x="98" y="33"/>
                  </a:cubicBezTo>
                  <a:cubicBezTo>
                    <a:pt x="98" y="39"/>
                    <a:pt x="99" y="35"/>
                    <a:pt x="97" y="42"/>
                  </a:cubicBezTo>
                  <a:cubicBezTo>
                    <a:pt x="97" y="43"/>
                    <a:pt x="97" y="49"/>
                    <a:pt x="95" y="49"/>
                  </a:cubicBezTo>
                  <a:cubicBezTo>
                    <a:pt x="93" y="50"/>
                    <a:pt x="91" y="47"/>
                    <a:pt x="89" y="46"/>
                  </a:cubicBezTo>
                  <a:cubicBezTo>
                    <a:pt x="89" y="46"/>
                    <a:pt x="89" y="47"/>
                    <a:pt x="89" y="47"/>
                  </a:cubicBezTo>
                  <a:cubicBezTo>
                    <a:pt x="91" y="47"/>
                    <a:pt x="97" y="45"/>
                    <a:pt x="96" y="43"/>
                  </a:cubicBezTo>
                  <a:cubicBezTo>
                    <a:pt x="95" y="41"/>
                    <a:pt x="93" y="43"/>
                    <a:pt x="92" y="44"/>
                  </a:cubicBezTo>
                  <a:cubicBezTo>
                    <a:pt x="91" y="44"/>
                    <a:pt x="91" y="44"/>
                    <a:pt x="90" y="44"/>
                  </a:cubicBezTo>
                  <a:cubicBezTo>
                    <a:pt x="89" y="44"/>
                    <a:pt x="89" y="44"/>
                    <a:pt x="87" y="44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6" y="43"/>
                    <a:pt x="88" y="43"/>
                    <a:pt x="88" y="43"/>
                  </a:cubicBezTo>
                  <a:cubicBezTo>
                    <a:pt x="90" y="43"/>
                    <a:pt x="93" y="41"/>
                    <a:pt x="93" y="39"/>
                  </a:cubicBezTo>
                  <a:cubicBezTo>
                    <a:pt x="93" y="38"/>
                    <a:pt x="93" y="38"/>
                    <a:pt x="92" y="38"/>
                  </a:cubicBezTo>
                  <a:cubicBezTo>
                    <a:pt x="92" y="38"/>
                    <a:pt x="91" y="39"/>
                    <a:pt x="90" y="40"/>
                  </a:cubicBezTo>
                  <a:cubicBezTo>
                    <a:pt x="90" y="41"/>
                    <a:pt x="87" y="41"/>
                    <a:pt x="86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6" y="40"/>
                    <a:pt x="87" y="39"/>
                    <a:pt x="88" y="38"/>
                  </a:cubicBezTo>
                  <a:cubicBezTo>
                    <a:pt x="89" y="38"/>
                    <a:pt x="91" y="35"/>
                    <a:pt x="90" y="35"/>
                  </a:cubicBezTo>
                  <a:cubicBezTo>
                    <a:pt x="89" y="34"/>
                    <a:pt x="89" y="35"/>
                    <a:pt x="88" y="35"/>
                  </a:cubicBezTo>
                  <a:cubicBezTo>
                    <a:pt x="88" y="36"/>
                    <a:pt x="87" y="37"/>
                    <a:pt x="87" y="38"/>
                  </a:cubicBezTo>
                  <a:cubicBezTo>
                    <a:pt x="86" y="38"/>
                    <a:pt x="84" y="39"/>
                    <a:pt x="84" y="40"/>
                  </a:cubicBezTo>
                  <a:cubicBezTo>
                    <a:pt x="83" y="40"/>
                    <a:pt x="82" y="42"/>
                    <a:pt x="83" y="42"/>
                  </a:cubicBezTo>
                  <a:cubicBezTo>
                    <a:pt x="83" y="43"/>
                    <a:pt x="84" y="43"/>
                    <a:pt x="84" y="44"/>
                  </a:cubicBezTo>
                  <a:cubicBezTo>
                    <a:pt x="85" y="44"/>
                    <a:pt x="85" y="44"/>
                    <a:pt x="85" y="45"/>
                  </a:cubicBezTo>
                  <a:cubicBezTo>
                    <a:pt x="83" y="44"/>
                    <a:pt x="81" y="44"/>
                    <a:pt x="80" y="44"/>
                  </a:cubicBezTo>
                  <a:cubicBezTo>
                    <a:pt x="78" y="43"/>
                    <a:pt x="76" y="44"/>
                    <a:pt x="75" y="44"/>
                  </a:cubicBezTo>
                  <a:cubicBezTo>
                    <a:pt x="74" y="45"/>
                    <a:pt x="73" y="44"/>
                    <a:pt x="73" y="43"/>
                  </a:cubicBezTo>
                  <a:cubicBezTo>
                    <a:pt x="74" y="43"/>
                    <a:pt x="74" y="43"/>
                    <a:pt x="74" y="42"/>
                  </a:cubicBezTo>
                  <a:cubicBezTo>
                    <a:pt x="74" y="41"/>
                    <a:pt x="74" y="40"/>
                    <a:pt x="74" y="40"/>
                  </a:cubicBezTo>
                  <a:cubicBezTo>
                    <a:pt x="73" y="39"/>
                    <a:pt x="71" y="38"/>
                    <a:pt x="71" y="37"/>
                  </a:cubicBezTo>
                  <a:cubicBezTo>
                    <a:pt x="70" y="37"/>
                    <a:pt x="70" y="36"/>
                    <a:pt x="69" y="35"/>
                  </a:cubicBezTo>
                  <a:cubicBezTo>
                    <a:pt x="69" y="34"/>
                    <a:pt x="68" y="34"/>
                    <a:pt x="68" y="34"/>
                  </a:cubicBezTo>
                  <a:cubicBezTo>
                    <a:pt x="67" y="35"/>
                    <a:pt x="68" y="37"/>
                    <a:pt x="69" y="38"/>
                  </a:cubicBezTo>
                  <a:cubicBezTo>
                    <a:pt x="70" y="39"/>
                    <a:pt x="72" y="40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1" y="41"/>
                    <a:pt x="68" y="40"/>
                    <a:pt x="67" y="40"/>
                  </a:cubicBezTo>
                  <a:cubicBezTo>
                    <a:pt x="66" y="39"/>
                    <a:pt x="65" y="38"/>
                    <a:pt x="65" y="38"/>
                  </a:cubicBezTo>
                  <a:cubicBezTo>
                    <a:pt x="64" y="38"/>
                    <a:pt x="64" y="38"/>
                    <a:pt x="64" y="39"/>
                  </a:cubicBezTo>
                  <a:cubicBezTo>
                    <a:pt x="64" y="41"/>
                    <a:pt x="67" y="42"/>
                    <a:pt x="69" y="43"/>
                  </a:cubicBezTo>
                  <a:cubicBezTo>
                    <a:pt x="70" y="43"/>
                    <a:pt x="71" y="43"/>
                    <a:pt x="71" y="43"/>
                  </a:cubicBezTo>
                  <a:cubicBezTo>
                    <a:pt x="71" y="44"/>
                    <a:pt x="71" y="44"/>
                    <a:pt x="70" y="44"/>
                  </a:cubicBezTo>
                  <a:cubicBezTo>
                    <a:pt x="68" y="44"/>
                    <a:pt x="68" y="44"/>
                    <a:pt x="67" y="44"/>
                  </a:cubicBezTo>
                  <a:cubicBezTo>
                    <a:pt x="67" y="44"/>
                    <a:pt x="66" y="44"/>
                    <a:pt x="66" y="44"/>
                  </a:cubicBezTo>
                  <a:cubicBezTo>
                    <a:pt x="64" y="43"/>
                    <a:pt x="62" y="41"/>
                    <a:pt x="62" y="42"/>
                  </a:cubicBezTo>
                  <a:cubicBezTo>
                    <a:pt x="61" y="45"/>
                    <a:pt x="66" y="46"/>
                    <a:pt x="68" y="46"/>
                  </a:cubicBezTo>
                  <a:cubicBezTo>
                    <a:pt x="70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0" y="48"/>
                    <a:pt x="68" y="49"/>
                    <a:pt x="66" y="48"/>
                  </a:cubicBezTo>
                  <a:cubicBezTo>
                    <a:pt x="65" y="48"/>
                    <a:pt x="64" y="46"/>
                    <a:pt x="63" y="46"/>
                  </a:cubicBezTo>
                  <a:cubicBezTo>
                    <a:pt x="63" y="46"/>
                    <a:pt x="63" y="46"/>
                    <a:pt x="63" y="47"/>
                  </a:cubicBezTo>
                  <a:cubicBezTo>
                    <a:pt x="63" y="47"/>
                    <a:pt x="65" y="49"/>
                    <a:pt x="66" y="50"/>
                  </a:cubicBezTo>
                  <a:cubicBezTo>
                    <a:pt x="68" y="51"/>
                    <a:pt x="69" y="51"/>
                    <a:pt x="69" y="54"/>
                  </a:cubicBezTo>
                  <a:cubicBezTo>
                    <a:pt x="68" y="55"/>
                    <a:pt x="68" y="55"/>
                    <a:pt x="67" y="55"/>
                  </a:cubicBezTo>
                  <a:cubicBezTo>
                    <a:pt x="66" y="54"/>
                    <a:pt x="63" y="52"/>
                    <a:pt x="62" y="51"/>
                  </a:cubicBezTo>
                  <a:cubicBezTo>
                    <a:pt x="62" y="51"/>
                    <a:pt x="62" y="49"/>
                    <a:pt x="62" y="47"/>
                  </a:cubicBezTo>
                  <a:cubicBezTo>
                    <a:pt x="62" y="45"/>
                    <a:pt x="58" y="34"/>
                    <a:pt x="58" y="33"/>
                  </a:cubicBezTo>
                  <a:cubicBezTo>
                    <a:pt x="59" y="32"/>
                    <a:pt x="60" y="29"/>
                    <a:pt x="60" y="28"/>
                  </a:cubicBezTo>
                  <a:cubicBezTo>
                    <a:pt x="61" y="27"/>
                    <a:pt x="60" y="25"/>
                    <a:pt x="60" y="24"/>
                  </a:cubicBezTo>
                  <a:cubicBezTo>
                    <a:pt x="60" y="24"/>
                    <a:pt x="65" y="19"/>
                    <a:pt x="66" y="19"/>
                  </a:cubicBezTo>
                  <a:cubicBezTo>
                    <a:pt x="69" y="17"/>
                    <a:pt x="70" y="17"/>
                    <a:pt x="74" y="17"/>
                  </a:cubicBezTo>
                  <a:cubicBezTo>
                    <a:pt x="80" y="17"/>
                    <a:pt x="86" y="16"/>
                    <a:pt x="90" y="18"/>
                  </a:cubicBezTo>
                  <a:moveTo>
                    <a:pt x="88" y="8"/>
                  </a:moveTo>
                  <a:cubicBezTo>
                    <a:pt x="88" y="10"/>
                    <a:pt x="88" y="10"/>
                    <a:pt x="88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8"/>
                    <a:pt x="86" y="8"/>
                    <a:pt x="86" y="8"/>
                  </a:cubicBezTo>
                  <a:lnTo>
                    <a:pt x="88" y="8"/>
                  </a:lnTo>
                  <a:close/>
                  <a:moveTo>
                    <a:pt x="83" y="8"/>
                  </a:moveTo>
                  <a:cubicBezTo>
                    <a:pt x="84" y="8"/>
                    <a:pt x="85" y="9"/>
                    <a:pt x="85" y="10"/>
                  </a:cubicBezTo>
                  <a:cubicBezTo>
                    <a:pt x="85" y="12"/>
                    <a:pt x="85" y="15"/>
                    <a:pt x="83" y="15"/>
                  </a:cubicBezTo>
                  <a:cubicBezTo>
                    <a:pt x="83" y="15"/>
                    <a:pt x="82" y="15"/>
                    <a:pt x="82" y="15"/>
                  </a:cubicBezTo>
                  <a:cubicBezTo>
                    <a:pt x="82" y="13"/>
                    <a:pt x="82" y="9"/>
                    <a:pt x="83" y="8"/>
                  </a:cubicBezTo>
                  <a:moveTo>
                    <a:pt x="80" y="5"/>
                  </a:move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2" y="6"/>
                    <a:pt x="82" y="6"/>
                    <a:pt x="82" y="7"/>
                  </a:cubicBezTo>
                  <a:cubicBezTo>
                    <a:pt x="81" y="8"/>
                    <a:pt x="81" y="8"/>
                    <a:pt x="81" y="7"/>
                  </a:cubicBezTo>
                  <a:cubicBezTo>
                    <a:pt x="80" y="5"/>
                    <a:pt x="80" y="5"/>
                    <a:pt x="80" y="5"/>
                  </a:cubicBezTo>
                  <a:moveTo>
                    <a:pt x="77" y="10"/>
                  </a:moveTo>
                  <a:cubicBezTo>
                    <a:pt x="77" y="9"/>
                    <a:pt x="78" y="8"/>
                    <a:pt x="78" y="8"/>
                  </a:cubicBezTo>
                  <a:cubicBezTo>
                    <a:pt x="79" y="8"/>
                    <a:pt x="80" y="10"/>
                    <a:pt x="80" y="11"/>
                  </a:cubicBezTo>
                  <a:cubicBezTo>
                    <a:pt x="80" y="12"/>
                    <a:pt x="80" y="12"/>
                    <a:pt x="79" y="12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7" y="11"/>
                    <a:pt x="77" y="10"/>
                    <a:pt x="77" y="10"/>
                  </a:cubicBezTo>
                  <a:moveTo>
                    <a:pt x="75" y="13"/>
                  </a:moveTo>
                  <a:cubicBezTo>
                    <a:pt x="76" y="14"/>
                    <a:pt x="76" y="15"/>
                    <a:pt x="74" y="15"/>
                  </a:cubicBezTo>
                  <a:cubicBezTo>
                    <a:pt x="72" y="15"/>
                    <a:pt x="72" y="14"/>
                    <a:pt x="72" y="13"/>
                  </a:cubicBezTo>
                  <a:cubicBezTo>
                    <a:pt x="72" y="11"/>
                    <a:pt x="73" y="8"/>
                    <a:pt x="74" y="9"/>
                  </a:cubicBezTo>
                  <a:cubicBezTo>
                    <a:pt x="75" y="9"/>
                    <a:pt x="75" y="11"/>
                    <a:pt x="75" y="13"/>
                  </a:cubicBezTo>
                  <a:moveTo>
                    <a:pt x="70" y="6"/>
                  </a:moveTo>
                  <a:cubicBezTo>
                    <a:pt x="70" y="5"/>
                    <a:pt x="71" y="2"/>
                    <a:pt x="73" y="3"/>
                  </a:cubicBezTo>
                  <a:cubicBezTo>
                    <a:pt x="74" y="3"/>
                    <a:pt x="75" y="5"/>
                    <a:pt x="75" y="6"/>
                  </a:cubicBezTo>
                  <a:cubicBezTo>
                    <a:pt x="74" y="7"/>
                    <a:pt x="74" y="6"/>
                    <a:pt x="73" y="6"/>
                  </a:cubicBezTo>
                  <a:cubicBezTo>
                    <a:pt x="73" y="6"/>
                    <a:pt x="71" y="8"/>
                    <a:pt x="71" y="8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0" y="8"/>
                    <a:pt x="70" y="7"/>
                    <a:pt x="70" y="6"/>
                  </a:cubicBezTo>
                  <a:moveTo>
                    <a:pt x="67" y="10"/>
                  </a:moveTo>
                  <a:cubicBezTo>
                    <a:pt x="67" y="10"/>
                    <a:pt x="68" y="9"/>
                    <a:pt x="68" y="9"/>
                  </a:cubicBezTo>
                  <a:cubicBezTo>
                    <a:pt x="69" y="9"/>
                    <a:pt x="70" y="9"/>
                    <a:pt x="70" y="10"/>
                  </a:cubicBezTo>
                  <a:cubicBezTo>
                    <a:pt x="71" y="11"/>
                    <a:pt x="72" y="15"/>
                    <a:pt x="71" y="15"/>
                  </a:cubicBezTo>
                  <a:cubicBezTo>
                    <a:pt x="71" y="15"/>
                    <a:pt x="70" y="15"/>
                    <a:pt x="69" y="15"/>
                  </a:cubicBezTo>
                  <a:cubicBezTo>
                    <a:pt x="69" y="15"/>
                    <a:pt x="69" y="15"/>
                    <a:pt x="68" y="15"/>
                  </a:cubicBezTo>
                  <a:cubicBezTo>
                    <a:pt x="68" y="14"/>
                    <a:pt x="67" y="11"/>
                    <a:pt x="67" y="10"/>
                  </a:cubicBezTo>
                  <a:moveTo>
                    <a:pt x="65" y="7"/>
                  </a:moveTo>
                  <a:cubicBezTo>
                    <a:pt x="65" y="7"/>
                    <a:pt x="65" y="6"/>
                    <a:pt x="66" y="6"/>
                  </a:cubicBezTo>
                  <a:cubicBezTo>
                    <a:pt x="66" y="6"/>
                    <a:pt x="66" y="7"/>
                    <a:pt x="66" y="7"/>
                  </a:cubicBezTo>
                  <a:cubicBezTo>
                    <a:pt x="66" y="8"/>
                    <a:pt x="66" y="8"/>
                    <a:pt x="65" y="8"/>
                  </a:cubicBezTo>
                  <a:cubicBezTo>
                    <a:pt x="65" y="8"/>
                    <a:pt x="65" y="7"/>
                    <a:pt x="65" y="7"/>
                  </a:cubicBezTo>
                  <a:moveTo>
                    <a:pt x="63" y="10"/>
                  </a:moveTo>
                  <a:cubicBezTo>
                    <a:pt x="63" y="9"/>
                    <a:pt x="64" y="9"/>
                    <a:pt x="65" y="10"/>
                  </a:cubicBezTo>
                  <a:cubicBezTo>
                    <a:pt x="65" y="11"/>
                    <a:pt x="67" y="14"/>
                    <a:pt x="67" y="14"/>
                  </a:cubicBezTo>
                  <a:cubicBezTo>
                    <a:pt x="67" y="15"/>
                    <a:pt x="67" y="16"/>
                    <a:pt x="67" y="16"/>
                  </a:cubicBezTo>
                  <a:cubicBezTo>
                    <a:pt x="66" y="16"/>
                    <a:pt x="66" y="16"/>
                    <a:pt x="66" y="16"/>
                  </a:cubicBezTo>
                  <a:cubicBezTo>
                    <a:pt x="65" y="16"/>
                    <a:pt x="65" y="14"/>
                    <a:pt x="64" y="13"/>
                  </a:cubicBezTo>
                  <a:cubicBezTo>
                    <a:pt x="64" y="12"/>
                    <a:pt x="62" y="11"/>
                    <a:pt x="63" y="10"/>
                  </a:cubicBezTo>
                  <a:moveTo>
                    <a:pt x="55" y="14"/>
                  </a:moveTo>
                  <a:cubicBezTo>
                    <a:pt x="55" y="12"/>
                    <a:pt x="58" y="11"/>
                    <a:pt x="60" y="12"/>
                  </a:cubicBezTo>
                  <a:cubicBezTo>
                    <a:pt x="61" y="12"/>
                    <a:pt x="63" y="14"/>
                    <a:pt x="63" y="15"/>
                  </a:cubicBezTo>
                  <a:cubicBezTo>
                    <a:pt x="63" y="17"/>
                    <a:pt x="59" y="24"/>
                    <a:pt x="57" y="23"/>
                  </a:cubicBezTo>
                  <a:cubicBezTo>
                    <a:pt x="55" y="22"/>
                    <a:pt x="56" y="21"/>
                    <a:pt x="56" y="18"/>
                  </a:cubicBezTo>
                  <a:cubicBezTo>
                    <a:pt x="56" y="17"/>
                    <a:pt x="55" y="17"/>
                    <a:pt x="55" y="16"/>
                  </a:cubicBezTo>
                  <a:cubicBezTo>
                    <a:pt x="55" y="15"/>
                    <a:pt x="55" y="15"/>
                    <a:pt x="55" y="14"/>
                  </a:cubicBezTo>
                  <a:moveTo>
                    <a:pt x="53" y="25"/>
                  </a:moveTo>
                  <a:cubicBezTo>
                    <a:pt x="55" y="24"/>
                    <a:pt x="58" y="26"/>
                    <a:pt x="59" y="27"/>
                  </a:cubicBezTo>
                  <a:cubicBezTo>
                    <a:pt x="59" y="28"/>
                    <a:pt x="58" y="29"/>
                    <a:pt x="58" y="31"/>
                  </a:cubicBezTo>
                  <a:cubicBezTo>
                    <a:pt x="57" y="31"/>
                    <a:pt x="57" y="32"/>
                    <a:pt x="57" y="32"/>
                  </a:cubicBezTo>
                  <a:cubicBezTo>
                    <a:pt x="57" y="33"/>
                    <a:pt x="57" y="33"/>
                    <a:pt x="57" y="35"/>
                  </a:cubicBezTo>
                  <a:cubicBezTo>
                    <a:pt x="57" y="36"/>
                    <a:pt x="57" y="36"/>
                    <a:pt x="56" y="36"/>
                  </a:cubicBezTo>
                  <a:cubicBezTo>
                    <a:pt x="56" y="36"/>
                    <a:pt x="56" y="35"/>
                    <a:pt x="55" y="35"/>
                  </a:cubicBezTo>
                  <a:cubicBezTo>
                    <a:pt x="53" y="33"/>
                    <a:pt x="52" y="33"/>
                    <a:pt x="52" y="31"/>
                  </a:cubicBezTo>
                  <a:cubicBezTo>
                    <a:pt x="52" y="30"/>
                    <a:pt x="52" y="25"/>
                    <a:pt x="53" y="25"/>
                  </a:cubicBezTo>
                  <a:moveTo>
                    <a:pt x="52" y="38"/>
                  </a:moveTo>
                  <a:cubicBezTo>
                    <a:pt x="52" y="38"/>
                    <a:pt x="52" y="37"/>
                    <a:pt x="52" y="37"/>
                  </a:cubicBezTo>
                  <a:cubicBezTo>
                    <a:pt x="53" y="35"/>
                    <a:pt x="55" y="38"/>
                    <a:pt x="56" y="39"/>
                  </a:cubicBezTo>
                  <a:cubicBezTo>
                    <a:pt x="57" y="39"/>
                    <a:pt x="58" y="40"/>
                    <a:pt x="58" y="40"/>
                  </a:cubicBezTo>
                  <a:cubicBezTo>
                    <a:pt x="59" y="41"/>
                    <a:pt x="59" y="43"/>
                    <a:pt x="58" y="44"/>
                  </a:cubicBezTo>
                  <a:cubicBezTo>
                    <a:pt x="58" y="45"/>
                    <a:pt x="54" y="47"/>
                    <a:pt x="53" y="46"/>
                  </a:cubicBezTo>
                  <a:cubicBezTo>
                    <a:pt x="51" y="46"/>
                    <a:pt x="53" y="43"/>
                    <a:pt x="53" y="41"/>
                  </a:cubicBezTo>
                  <a:cubicBezTo>
                    <a:pt x="53" y="40"/>
                    <a:pt x="52" y="40"/>
                    <a:pt x="52" y="39"/>
                  </a:cubicBezTo>
                  <a:cubicBezTo>
                    <a:pt x="52" y="38"/>
                    <a:pt x="52" y="38"/>
                    <a:pt x="52" y="38"/>
                  </a:cubicBezTo>
                  <a:moveTo>
                    <a:pt x="48" y="45"/>
                  </a:moveTo>
                  <a:cubicBezTo>
                    <a:pt x="49" y="44"/>
                    <a:pt x="50" y="40"/>
                    <a:pt x="50" y="40"/>
                  </a:cubicBezTo>
                  <a:cubicBezTo>
                    <a:pt x="50" y="40"/>
                    <a:pt x="50" y="43"/>
                    <a:pt x="50" y="45"/>
                  </a:cubicBezTo>
                  <a:cubicBezTo>
                    <a:pt x="50" y="45"/>
                    <a:pt x="51" y="47"/>
                    <a:pt x="51" y="48"/>
                  </a:cubicBezTo>
                  <a:cubicBezTo>
                    <a:pt x="51" y="48"/>
                    <a:pt x="51" y="49"/>
                    <a:pt x="51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49" y="48"/>
                    <a:pt x="48" y="46"/>
                    <a:pt x="48" y="45"/>
                  </a:cubicBezTo>
                  <a:moveTo>
                    <a:pt x="49" y="52"/>
                  </a:moveTo>
                  <a:cubicBezTo>
                    <a:pt x="50" y="52"/>
                    <a:pt x="52" y="55"/>
                    <a:pt x="52" y="57"/>
                  </a:cubicBezTo>
                  <a:cubicBezTo>
                    <a:pt x="52" y="57"/>
                    <a:pt x="51" y="57"/>
                    <a:pt x="51" y="57"/>
                  </a:cubicBezTo>
                  <a:cubicBezTo>
                    <a:pt x="50" y="57"/>
                    <a:pt x="48" y="54"/>
                    <a:pt x="48" y="53"/>
                  </a:cubicBezTo>
                  <a:cubicBezTo>
                    <a:pt x="48" y="52"/>
                    <a:pt x="48" y="52"/>
                    <a:pt x="49" y="52"/>
                  </a:cubicBezTo>
                  <a:moveTo>
                    <a:pt x="49" y="59"/>
                  </a:moveTo>
                  <a:cubicBezTo>
                    <a:pt x="51" y="60"/>
                    <a:pt x="53" y="61"/>
                    <a:pt x="53" y="63"/>
                  </a:cubicBezTo>
                  <a:cubicBezTo>
                    <a:pt x="54" y="64"/>
                    <a:pt x="53" y="66"/>
                    <a:pt x="51" y="66"/>
                  </a:cubicBezTo>
                  <a:cubicBezTo>
                    <a:pt x="51" y="67"/>
                    <a:pt x="51" y="67"/>
                    <a:pt x="51" y="66"/>
                  </a:cubicBezTo>
                  <a:cubicBezTo>
                    <a:pt x="48" y="65"/>
                    <a:pt x="48" y="63"/>
                    <a:pt x="47" y="60"/>
                  </a:cubicBezTo>
                  <a:cubicBezTo>
                    <a:pt x="47" y="59"/>
                    <a:pt x="47" y="58"/>
                    <a:pt x="49" y="59"/>
                  </a:cubicBezTo>
                  <a:moveTo>
                    <a:pt x="42" y="33"/>
                  </a:moveTo>
                  <a:cubicBezTo>
                    <a:pt x="43" y="33"/>
                    <a:pt x="44" y="34"/>
                    <a:pt x="45" y="35"/>
                  </a:cubicBezTo>
                  <a:cubicBezTo>
                    <a:pt x="45" y="35"/>
                    <a:pt x="48" y="39"/>
                    <a:pt x="47" y="40"/>
                  </a:cubicBezTo>
                  <a:cubicBezTo>
                    <a:pt x="47" y="40"/>
                    <a:pt x="47" y="40"/>
                    <a:pt x="46" y="40"/>
                  </a:cubicBezTo>
                  <a:cubicBezTo>
                    <a:pt x="45" y="39"/>
                    <a:pt x="42" y="39"/>
                    <a:pt x="40" y="38"/>
                  </a:cubicBezTo>
                  <a:cubicBezTo>
                    <a:pt x="39" y="38"/>
                    <a:pt x="39" y="37"/>
                    <a:pt x="39" y="35"/>
                  </a:cubicBezTo>
                  <a:cubicBezTo>
                    <a:pt x="39" y="35"/>
                    <a:pt x="40" y="34"/>
                    <a:pt x="40" y="34"/>
                  </a:cubicBezTo>
                  <a:cubicBezTo>
                    <a:pt x="40" y="34"/>
                    <a:pt x="42" y="33"/>
                    <a:pt x="42" y="33"/>
                  </a:cubicBezTo>
                  <a:moveTo>
                    <a:pt x="39" y="28"/>
                  </a:moveTo>
                  <a:cubicBezTo>
                    <a:pt x="39" y="28"/>
                    <a:pt x="41" y="29"/>
                    <a:pt x="42" y="30"/>
                  </a:cubicBezTo>
                  <a:cubicBezTo>
                    <a:pt x="42" y="30"/>
                    <a:pt x="42" y="31"/>
                    <a:pt x="42" y="31"/>
                  </a:cubicBezTo>
                  <a:cubicBezTo>
                    <a:pt x="41" y="31"/>
                    <a:pt x="41" y="31"/>
                    <a:pt x="40" y="31"/>
                  </a:cubicBezTo>
                  <a:cubicBezTo>
                    <a:pt x="39" y="30"/>
                    <a:pt x="38" y="29"/>
                    <a:pt x="39" y="28"/>
                  </a:cubicBezTo>
                  <a:moveTo>
                    <a:pt x="38" y="41"/>
                  </a:moveTo>
                  <a:cubicBezTo>
                    <a:pt x="39" y="40"/>
                    <a:pt x="39" y="41"/>
                    <a:pt x="40" y="42"/>
                  </a:cubicBezTo>
                  <a:cubicBezTo>
                    <a:pt x="41" y="42"/>
                    <a:pt x="45" y="42"/>
                    <a:pt x="45" y="43"/>
                  </a:cubicBezTo>
                  <a:cubicBezTo>
                    <a:pt x="45" y="43"/>
                    <a:pt x="46" y="44"/>
                    <a:pt x="46" y="45"/>
                  </a:cubicBezTo>
                  <a:cubicBezTo>
                    <a:pt x="46" y="45"/>
                    <a:pt x="46" y="45"/>
                    <a:pt x="47" y="48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6" y="51"/>
                    <a:pt x="46" y="50"/>
                    <a:pt x="45" y="48"/>
                  </a:cubicBezTo>
                  <a:cubicBezTo>
                    <a:pt x="44" y="47"/>
                    <a:pt x="44" y="47"/>
                    <a:pt x="43" y="47"/>
                  </a:cubicBezTo>
                  <a:cubicBezTo>
                    <a:pt x="42" y="46"/>
                    <a:pt x="39" y="45"/>
                    <a:pt x="39" y="45"/>
                  </a:cubicBezTo>
                  <a:cubicBezTo>
                    <a:pt x="38" y="44"/>
                    <a:pt x="38" y="41"/>
                    <a:pt x="38" y="41"/>
                  </a:cubicBezTo>
                  <a:moveTo>
                    <a:pt x="20" y="30"/>
                  </a:moveTo>
                  <a:cubicBezTo>
                    <a:pt x="23" y="27"/>
                    <a:pt x="26" y="27"/>
                    <a:pt x="31" y="26"/>
                  </a:cubicBezTo>
                  <a:cubicBezTo>
                    <a:pt x="32" y="26"/>
                    <a:pt x="32" y="26"/>
                    <a:pt x="33" y="26"/>
                  </a:cubicBezTo>
                  <a:cubicBezTo>
                    <a:pt x="36" y="28"/>
                    <a:pt x="37" y="30"/>
                    <a:pt x="37" y="33"/>
                  </a:cubicBezTo>
                  <a:cubicBezTo>
                    <a:pt x="37" y="35"/>
                    <a:pt x="37" y="36"/>
                    <a:pt x="36" y="39"/>
                  </a:cubicBezTo>
                  <a:cubicBezTo>
                    <a:pt x="36" y="39"/>
                    <a:pt x="35" y="40"/>
                    <a:pt x="36" y="41"/>
                  </a:cubicBezTo>
                  <a:cubicBezTo>
                    <a:pt x="36" y="41"/>
                    <a:pt x="36" y="41"/>
                    <a:pt x="36" y="43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5" y="48"/>
                    <a:pt x="34" y="48"/>
                    <a:pt x="33" y="49"/>
                  </a:cubicBezTo>
                  <a:cubicBezTo>
                    <a:pt x="33" y="49"/>
                    <a:pt x="34" y="50"/>
                    <a:pt x="34" y="51"/>
                  </a:cubicBezTo>
                  <a:cubicBezTo>
                    <a:pt x="35" y="52"/>
                    <a:pt x="35" y="53"/>
                    <a:pt x="35" y="54"/>
                  </a:cubicBezTo>
                  <a:cubicBezTo>
                    <a:pt x="35" y="55"/>
                    <a:pt x="34" y="55"/>
                    <a:pt x="33" y="54"/>
                  </a:cubicBezTo>
                  <a:cubicBezTo>
                    <a:pt x="32" y="54"/>
                    <a:pt x="31" y="53"/>
                    <a:pt x="30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0"/>
                    <a:pt x="29" y="50"/>
                    <a:pt x="30" y="50"/>
                  </a:cubicBezTo>
                  <a:cubicBezTo>
                    <a:pt x="30" y="49"/>
                    <a:pt x="31" y="49"/>
                    <a:pt x="31" y="49"/>
                  </a:cubicBezTo>
                  <a:cubicBezTo>
                    <a:pt x="31" y="48"/>
                    <a:pt x="30" y="48"/>
                    <a:pt x="28" y="48"/>
                  </a:cubicBezTo>
                  <a:cubicBezTo>
                    <a:pt x="28" y="47"/>
                    <a:pt x="28" y="47"/>
                    <a:pt x="27" y="47"/>
                  </a:cubicBezTo>
                  <a:cubicBezTo>
                    <a:pt x="27" y="46"/>
                    <a:pt x="27" y="46"/>
                    <a:pt x="27" y="45"/>
                  </a:cubicBezTo>
                  <a:cubicBezTo>
                    <a:pt x="28" y="45"/>
                    <a:pt x="29" y="44"/>
                    <a:pt x="30" y="44"/>
                  </a:cubicBezTo>
                  <a:cubicBezTo>
                    <a:pt x="31" y="43"/>
                    <a:pt x="32" y="42"/>
                    <a:pt x="32" y="41"/>
                  </a:cubicBezTo>
                  <a:cubicBezTo>
                    <a:pt x="33" y="39"/>
                    <a:pt x="32" y="35"/>
                    <a:pt x="29" y="34"/>
                  </a:cubicBezTo>
                  <a:cubicBezTo>
                    <a:pt x="27" y="34"/>
                    <a:pt x="30" y="38"/>
                    <a:pt x="31" y="39"/>
                  </a:cubicBezTo>
                  <a:cubicBezTo>
                    <a:pt x="31" y="41"/>
                    <a:pt x="30" y="43"/>
                    <a:pt x="28" y="42"/>
                  </a:cubicBezTo>
                  <a:cubicBezTo>
                    <a:pt x="26" y="42"/>
                    <a:pt x="28" y="41"/>
                    <a:pt x="29" y="39"/>
                  </a:cubicBezTo>
                  <a:cubicBezTo>
                    <a:pt x="29" y="39"/>
                    <a:pt x="29" y="38"/>
                    <a:pt x="29" y="37"/>
                  </a:cubicBezTo>
                  <a:cubicBezTo>
                    <a:pt x="28" y="36"/>
                    <a:pt x="27" y="37"/>
                    <a:pt x="25" y="37"/>
                  </a:cubicBezTo>
                  <a:cubicBezTo>
                    <a:pt x="25" y="37"/>
                    <a:pt x="21" y="34"/>
                    <a:pt x="20" y="34"/>
                  </a:cubicBezTo>
                  <a:cubicBezTo>
                    <a:pt x="19" y="33"/>
                    <a:pt x="19" y="32"/>
                    <a:pt x="20" y="30"/>
                  </a:cubicBezTo>
                  <a:moveTo>
                    <a:pt x="9" y="61"/>
                  </a:moveTo>
                  <a:cubicBezTo>
                    <a:pt x="8" y="61"/>
                    <a:pt x="7" y="59"/>
                    <a:pt x="8" y="59"/>
                  </a:cubicBezTo>
                  <a:cubicBezTo>
                    <a:pt x="10" y="56"/>
                    <a:pt x="10" y="56"/>
                    <a:pt x="12" y="56"/>
                  </a:cubicBezTo>
                  <a:cubicBezTo>
                    <a:pt x="13" y="56"/>
                    <a:pt x="13" y="56"/>
                    <a:pt x="13" y="57"/>
                  </a:cubicBezTo>
                  <a:cubicBezTo>
                    <a:pt x="12" y="58"/>
                    <a:pt x="10" y="61"/>
                    <a:pt x="9" y="61"/>
                  </a:cubicBezTo>
                  <a:moveTo>
                    <a:pt x="12" y="66"/>
                  </a:moveTo>
                  <a:cubicBezTo>
                    <a:pt x="11" y="66"/>
                    <a:pt x="10" y="65"/>
                    <a:pt x="10" y="64"/>
                  </a:cubicBezTo>
                  <a:cubicBezTo>
                    <a:pt x="10" y="64"/>
                    <a:pt x="11" y="64"/>
                    <a:pt x="11" y="64"/>
                  </a:cubicBezTo>
                  <a:cubicBezTo>
                    <a:pt x="12" y="63"/>
                    <a:pt x="13" y="64"/>
                    <a:pt x="15" y="64"/>
                  </a:cubicBezTo>
                  <a:cubicBezTo>
                    <a:pt x="16" y="64"/>
                    <a:pt x="16" y="64"/>
                    <a:pt x="17" y="64"/>
                  </a:cubicBezTo>
                  <a:cubicBezTo>
                    <a:pt x="17" y="64"/>
                    <a:pt x="18" y="64"/>
                    <a:pt x="18" y="64"/>
                  </a:cubicBezTo>
                  <a:cubicBezTo>
                    <a:pt x="18" y="64"/>
                    <a:pt x="18" y="65"/>
                    <a:pt x="18" y="65"/>
                  </a:cubicBezTo>
                  <a:cubicBezTo>
                    <a:pt x="16" y="66"/>
                    <a:pt x="14" y="67"/>
                    <a:pt x="12" y="66"/>
                  </a:cubicBezTo>
                  <a:moveTo>
                    <a:pt x="23" y="69"/>
                  </a:moveTo>
                  <a:cubicBezTo>
                    <a:pt x="21" y="70"/>
                    <a:pt x="22" y="71"/>
                    <a:pt x="19" y="73"/>
                  </a:cubicBezTo>
                  <a:cubicBezTo>
                    <a:pt x="19" y="74"/>
                    <a:pt x="17" y="75"/>
                    <a:pt x="16" y="74"/>
                  </a:cubicBezTo>
                  <a:cubicBezTo>
                    <a:pt x="15" y="74"/>
                    <a:pt x="16" y="72"/>
                    <a:pt x="16" y="71"/>
                  </a:cubicBezTo>
                  <a:cubicBezTo>
                    <a:pt x="16" y="70"/>
                    <a:pt x="16" y="69"/>
                    <a:pt x="16" y="69"/>
                  </a:cubicBezTo>
                  <a:cubicBezTo>
                    <a:pt x="19" y="67"/>
                    <a:pt x="20" y="68"/>
                    <a:pt x="21" y="66"/>
                  </a:cubicBezTo>
                  <a:cubicBezTo>
                    <a:pt x="22" y="64"/>
                    <a:pt x="22" y="63"/>
                    <a:pt x="21" y="61"/>
                  </a:cubicBezTo>
                  <a:cubicBezTo>
                    <a:pt x="21" y="61"/>
                    <a:pt x="21" y="60"/>
                    <a:pt x="21" y="60"/>
                  </a:cubicBezTo>
                  <a:cubicBezTo>
                    <a:pt x="21" y="60"/>
                    <a:pt x="25" y="58"/>
                    <a:pt x="24" y="57"/>
                  </a:cubicBezTo>
                  <a:cubicBezTo>
                    <a:pt x="23" y="57"/>
                    <a:pt x="21" y="52"/>
                    <a:pt x="14" y="51"/>
                  </a:cubicBezTo>
                  <a:cubicBezTo>
                    <a:pt x="6" y="52"/>
                    <a:pt x="5" y="58"/>
                    <a:pt x="5" y="58"/>
                  </a:cubicBezTo>
                  <a:cubicBezTo>
                    <a:pt x="4" y="58"/>
                    <a:pt x="3" y="56"/>
                    <a:pt x="3" y="55"/>
                  </a:cubicBezTo>
                  <a:cubicBezTo>
                    <a:pt x="2" y="52"/>
                    <a:pt x="4" y="51"/>
                    <a:pt x="7" y="48"/>
                  </a:cubicBezTo>
                  <a:cubicBezTo>
                    <a:pt x="8" y="47"/>
                    <a:pt x="7" y="46"/>
                    <a:pt x="7" y="44"/>
                  </a:cubicBezTo>
                  <a:cubicBezTo>
                    <a:pt x="7" y="43"/>
                    <a:pt x="7" y="43"/>
                    <a:pt x="8" y="42"/>
                  </a:cubicBezTo>
                  <a:cubicBezTo>
                    <a:pt x="9" y="39"/>
                    <a:pt x="11" y="40"/>
                    <a:pt x="14" y="42"/>
                  </a:cubicBezTo>
                  <a:cubicBezTo>
                    <a:pt x="15" y="42"/>
                    <a:pt x="16" y="43"/>
                    <a:pt x="16" y="43"/>
                  </a:cubicBezTo>
                  <a:cubicBezTo>
                    <a:pt x="16" y="43"/>
                    <a:pt x="16" y="42"/>
                    <a:pt x="16" y="41"/>
                  </a:cubicBezTo>
                  <a:cubicBezTo>
                    <a:pt x="16" y="41"/>
                    <a:pt x="15" y="40"/>
                    <a:pt x="14" y="39"/>
                  </a:cubicBezTo>
                  <a:cubicBezTo>
                    <a:pt x="14" y="39"/>
                    <a:pt x="12" y="39"/>
                    <a:pt x="12" y="39"/>
                  </a:cubicBezTo>
                  <a:cubicBezTo>
                    <a:pt x="12" y="39"/>
                    <a:pt x="17" y="35"/>
                    <a:pt x="18" y="35"/>
                  </a:cubicBezTo>
                  <a:cubicBezTo>
                    <a:pt x="19" y="35"/>
                    <a:pt x="19" y="35"/>
                    <a:pt x="20" y="37"/>
                  </a:cubicBezTo>
                  <a:cubicBezTo>
                    <a:pt x="21" y="37"/>
                    <a:pt x="22" y="38"/>
                    <a:pt x="23" y="38"/>
                  </a:cubicBezTo>
                  <a:cubicBezTo>
                    <a:pt x="24" y="39"/>
                    <a:pt x="24" y="39"/>
                    <a:pt x="25" y="40"/>
                  </a:cubicBezTo>
                  <a:cubicBezTo>
                    <a:pt x="26" y="41"/>
                    <a:pt x="25" y="42"/>
                    <a:pt x="23" y="43"/>
                  </a:cubicBezTo>
                  <a:cubicBezTo>
                    <a:pt x="22" y="43"/>
                    <a:pt x="21" y="44"/>
                    <a:pt x="21" y="44"/>
                  </a:cubicBezTo>
                  <a:cubicBezTo>
                    <a:pt x="20" y="45"/>
                    <a:pt x="25" y="47"/>
                    <a:pt x="25" y="48"/>
                  </a:cubicBezTo>
                  <a:cubicBezTo>
                    <a:pt x="27" y="49"/>
                    <a:pt x="27" y="52"/>
                    <a:pt x="26" y="55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57"/>
                    <a:pt x="26" y="58"/>
                    <a:pt x="26" y="59"/>
                  </a:cubicBezTo>
                  <a:cubicBezTo>
                    <a:pt x="27" y="60"/>
                    <a:pt x="26" y="61"/>
                    <a:pt x="26" y="62"/>
                  </a:cubicBezTo>
                  <a:cubicBezTo>
                    <a:pt x="25" y="62"/>
                    <a:pt x="25" y="63"/>
                    <a:pt x="25" y="63"/>
                  </a:cubicBezTo>
                  <a:cubicBezTo>
                    <a:pt x="25" y="65"/>
                    <a:pt x="26" y="67"/>
                    <a:pt x="26" y="67"/>
                  </a:cubicBezTo>
                  <a:cubicBezTo>
                    <a:pt x="26" y="68"/>
                    <a:pt x="24" y="68"/>
                    <a:pt x="23" y="69"/>
                  </a:cubicBezTo>
                  <a:moveTo>
                    <a:pt x="23" y="86"/>
                  </a:moveTo>
                  <a:cubicBezTo>
                    <a:pt x="24" y="85"/>
                    <a:pt x="25" y="87"/>
                    <a:pt x="25" y="88"/>
                  </a:cubicBezTo>
                  <a:cubicBezTo>
                    <a:pt x="25" y="88"/>
                    <a:pt x="26" y="88"/>
                    <a:pt x="26" y="88"/>
                  </a:cubicBezTo>
                  <a:cubicBezTo>
                    <a:pt x="26" y="89"/>
                    <a:pt x="26" y="89"/>
                    <a:pt x="27" y="90"/>
                  </a:cubicBezTo>
                  <a:cubicBezTo>
                    <a:pt x="27" y="91"/>
                    <a:pt x="27" y="92"/>
                    <a:pt x="28" y="92"/>
                  </a:cubicBezTo>
                  <a:cubicBezTo>
                    <a:pt x="28" y="93"/>
                    <a:pt x="28" y="93"/>
                    <a:pt x="29" y="94"/>
                  </a:cubicBezTo>
                  <a:cubicBezTo>
                    <a:pt x="29" y="94"/>
                    <a:pt x="29" y="94"/>
                    <a:pt x="29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28" y="96"/>
                    <a:pt x="28" y="96"/>
                    <a:pt x="27" y="95"/>
                  </a:cubicBezTo>
                  <a:cubicBezTo>
                    <a:pt x="26" y="94"/>
                    <a:pt x="24" y="91"/>
                    <a:pt x="23" y="89"/>
                  </a:cubicBezTo>
                  <a:cubicBezTo>
                    <a:pt x="23" y="88"/>
                    <a:pt x="22" y="86"/>
                    <a:pt x="23" y="86"/>
                  </a:cubicBezTo>
                  <a:moveTo>
                    <a:pt x="21" y="101"/>
                  </a:moveTo>
                  <a:cubicBezTo>
                    <a:pt x="21" y="101"/>
                    <a:pt x="22" y="100"/>
                    <a:pt x="22" y="99"/>
                  </a:cubicBezTo>
                  <a:cubicBezTo>
                    <a:pt x="22" y="98"/>
                    <a:pt x="21" y="96"/>
                    <a:pt x="21" y="95"/>
                  </a:cubicBezTo>
                  <a:cubicBezTo>
                    <a:pt x="21" y="94"/>
                    <a:pt x="20" y="94"/>
                    <a:pt x="21" y="93"/>
                  </a:cubicBezTo>
                  <a:cubicBezTo>
                    <a:pt x="21" y="93"/>
                    <a:pt x="21" y="92"/>
                    <a:pt x="22" y="92"/>
                  </a:cubicBezTo>
                  <a:cubicBezTo>
                    <a:pt x="23" y="91"/>
                    <a:pt x="26" y="97"/>
                    <a:pt x="26" y="98"/>
                  </a:cubicBezTo>
                  <a:cubicBezTo>
                    <a:pt x="27" y="100"/>
                    <a:pt x="27" y="102"/>
                    <a:pt x="26" y="104"/>
                  </a:cubicBezTo>
                  <a:cubicBezTo>
                    <a:pt x="26" y="105"/>
                    <a:pt x="25" y="107"/>
                    <a:pt x="25" y="107"/>
                  </a:cubicBezTo>
                  <a:cubicBezTo>
                    <a:pt x="25" y="107"/>
                    <a:pt x="23" y="105"/>
                    <a:pt x="22" y="104"/>
                  </a:cubicBezTo>
                  <a:cubicBezTo>
                    <a:pt x="22" y="103"/>
                    <a:pt x="21" y="102"/>
                    <a:pt x="21" y="101"/>
                  </a:cubicBezTo>
                  <a:moveTo>
                    <a:pt x="28" y="117"/>
                  </a:moveTo>
                  <a:cubicBezTo>
                    <a:pt x="28" y="116"/>
                    <a:pt x="28" y="115"/>
                    <a:pt x="28" y="115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7" y="112"/>
                    <a:pt x="24" y="110"/>
                    <a:pt x="23" y="110"/>
                  </a:cubicBezTo>
                  <a:cubicBezTo>
                    <a:pt x="23" y="109"/>
                    <a:pt x="23" y="109"/>
                    <a:pt x="23" y="109"/>
                  </a:cubicBezTo>
                  <a:cubicBezTo>
                    <a:pt x="24" y="108"/>
                    <a:pt x="25" y="108"/>
                    <a:pt x="26" y="108"/>
                  </a:cubicBezTo>
                  <a:cubicBezTo>
                    <a:pt x="26" y="108"/>
                    <a:pt x="28" y="111"/>
                    <a:pt x="29" y="112"/>
                  </a:cubicBezTo>
                  <a:cubicBezTo>
                    <a:pt x="29" y="113"/>
                    <a:pt x="29" y="114"/>
                    <a:pt x="30" y="115"/>
                  </a:cubicBezTo>
                  <a:cubicBezTo>
                    <a:pt x="31" y="116"/>
                    <a:pt x="32" y="117"/>
                    <a:pt x="32" y="117"/>
                  </a:cubicBezTo>
                  <a:cubicBezTo>
                    <a:pt x="32" y="118"/>
                    <a:pt x="32" y="119"/>
                    <a:pt x="32" y="119"/>
                  </a:cubicBezTo>
                  <a:cubicBezTo>
                    <a:pt x="31" y="120"/>
                    <a:pt x="29" y="118"/>
                    <a:pt x="28" y="117"/>
                  </a:cubicBezTo>
                  <a:moveTo>
                    <a:pt x="33" y="124"/>
                  </a:moveTo>
                  <a:cubicBezTo>
                    <a:pt x="32" y="124"/>
                    <a:pt x="31" y="122"/>
                    <a:pt x="32" y="121"/>
                  </a:cubicBezTo>
                  <a:cubicBezTo>
                    <a:pt x="33" y="120"/>
                    <a:pt x="34" y="121"/>
                    <a:pt x="36" y="122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8" y="121"/>
                    <a:pt x="39" y="120"/>
                    <a:pt x="40" y="120"/>
                  </a:cubicBezTo>
                  <a:cubicBezTo>
                    <a:pt x="40" y="120"/>
                    <a:pt x="40" y="120"/>
                    <a:pt x="41" y="120"/>
                  </a:cubicBezTo>
                  <a:cubicBezTo>
                    <a:pt x="41" y="120"/>
                    <a:pt x="41" y="121"/>
                    <a:pt x="41" y="121"/>
                  </a:cubicBezTo>
                  <a:cubicBezTo>
                    <a:pt x="40" y="122"/>
                    <a:pt x="38" y="123"/>
                    <a:pt x="37" y="124"/>
                  </a:cubicBezTo>
                  <a:cubicBezTo>
                    <a:pt x="36" y="124"/>
                    <a:pt x="34" y="125"/>
                    <a:pt x="33" y="124"/>
                  </a:cubicBezTo>
                  <a:moveTo>
                    <a:pt x="35" y="132"/>
                  </a:moveTo>
                  <a:cubicBezTo>
                    <a:pt x="35" y="131"/>
                    <a:pt x="35" y="128"/>
                    <a:pt x="36" y="127"/>
                  </a:cubicBezTo>
                  <a:cubicBezTo>
                    <a:pt x="36" y="127"/>
                    <a:pt x="37" y="127"/>
                    <a:pt x="37" y="128"/>
                  </a:cubicBezTo>
                  <a:cubicBezTo>
                    <a:pt x="38" y="131"/>
                    <a:pt x="39" y="139"/>
                    <a:pt x="38" y="141"/>
                  </a:cubicBezTo>
                  <a:cubicBezTo>
                    <a:pt x="38" y="141"/>
                    <a:pt x="38" y="144"/>
                    <a:pt x="37" y="144"/>
                  </a:cubicBezTo>
                  <a:cubicBezTo>
                    <a:pt x="37" y="144"/>
                    <a:pt x="36" y="144"/>
                    <a:pt x="36" y="144"/>
                  </a:cubicBezTo>
                  <a:cubicBezTo>
                    <a:pt x="36" y="141"/>
                    <a:pt x="35" y="133"/>
                    <a:pt x="35" y="132"/>
                  </a:cubicBezTo>
                  <a:moveTo>
                    <a:pt x="33" y="182"/>
                  </a:moveTo>
                  <a:cubicBezTo>
                    <a:pt x="33" y="182"/>
                    <a:pt x="34" y="178"/>
                    <a:pt x="35" y="178"/>
                  </a:cubicBezTo>
                  <a:cubicBezTo>
                    <a:pt x="35" y="177"/>
                    <a:pt x="38" y="177"/>
                    <a:pt x="39" y="176"/>
                  </a:cubicBezTo>
                  <a:cubicBezTo>
                    <a:pt x="41" y="175"/>
                    <a:pt x="41" y="174"/>
                    <a:pt x="40" y="172"/>
                  </a:cubicBezTo>
                  <a:cubicBezTo>
                    <a:pt x="39" y="172"/>
                    <a:pt x="39" y="172"/>
                    <a:pt x="38" y="172"/>
                  </a:cubicBezTo>
                  <a:cubicBezTo>
                    <a:pt x="38" y="172"/>
                    <a:pt x="38" y="172"/>
                    <a:pt x="37" y="172"/>
                  </a:cubicBezTo>
                  <a:cubicBezTo>
                    <a:pt x="36" y="169"/>
                    <a:pt x="35" y="162"/>
                    <a:pt x="36" y="159"/>
                  </a:cubicBezTo>
                  <a:cubicBezTo>
                    <a:pt x="37" y="159"/>
                    <a:pt x="37" y="158"/>
                    <a:pt x="37" y="158"/>
                  </a:cubicBezTo>
                  <a:cubicBezTo>
                    <a:pt x="37" y="157"/>
                    <a:pt x="37" y="157"/>
                    <a:pt x="37" y="156"/>
                  </a:cubicBezTo>
                  <a:cubicBezTo>
                    <a:pt x="39" y="150"/>
                    <a:pt x="41" y="140"/>
                    <a:pt x="40" y="134"/>
                  </a:cubicBezTo>
                  <a:cubicBezTo>
                    <a:pt x="40" y="131"/>
                    <a:pt x="39" y="127"/>
                    <a:pt x="39" y="126"/>
                  </a:cubicBezTo>
                  <a:cubicBezTo>
                    <a:pt x="39" y="126"/>
                    <a:pt x="40" y="125"/>
                    <a:pt x="41" y="124"/>
                  </a:cubicBezTo>
                  <a:cubicBezTo>
                    <a:pt x="42" y="123"/>
                    <a:pt x="46" y="117"/>
                    <a:pt x="48" y="115"/>
                  </a:cubicBezTo>
                  <a:cubicBezTo>
                    <a:pt x="48" y="115"/>
                    <a:pt x="49" y="115"/>
                    <a:pt x="49" y="116"/>
                  </a:cubicBezTo>
                  <a:cubicBezTo>
                    <a:pt x="49" y="116"/>
                    <a:pt x="49" y="117"/>
                    <a:pt x="49" y="118"/>
                  </a:cubicBezTo>
                  <a:cubicBezTo>
                    <a:pt x="50" y="119"/>
                    <a:pt x="51" y="121"/>
                    <a:pt x="52" y="122"/>
                  </a:cubicBezTo>
                  <a:cubicBezTo>
                    <a:pt x="52" y="123"/>
                    <a:pt x="51" y="128"/>
                    <a:pt x="51" y="131"/>
                  </a:cubicBezTo>
                  <a:cubicBezTo>
                    <a:pt x="51" y="133"/>
                    <a:pt x="53" y="139"/>
                    <a:pt x="54" y="142"/>
                  </a:cubicBezTo>
                  <a:cubicBezTo>
                    <a:pt x="54" y="147"/>
                    <a:pt x="52" y="157"/>
                    <a:pt x="50" y="161"/>
                  </a:cubicBezTo>
                  <a:cubicBezTo>
                    <a:pt x="49" y="164"/>
                    <a:pt x="46" y="169"/>
                    <a:pt x="46" y="171"/>
                  </a:cubicBezTo>
                  <a:cubicBezTo>
                    <a:pt x="45" y="172"/>
                    <a:pt x="46" y="175"/>
                    <a:pt x="45" y="176"/>
                  </a:cubicBezTo>
                  <a:cubicBezTo>
                    <a:pt x="44" y="177"/>
                    <a:pt x="43" y="177"/>
                    <a:pt x="43" y="178"/>
                  </a:cubicBezTo>
                  <a:cubicBezTo>
                    <a:pt x="42" y="179"/>
                    <a:pt x="42" y="180"/>
                    <a:pt x="41" y="181"/>
                  </a:cubicBezTo>
                  <a:cubicBezTo>
                    <a:pt x="41" y="182"/>
                    <a:pt x="37" y="184"/>
                    <a:pt x="36" y="184"/>
                  </a:cubicBezTo>
                  <a:cubicBezTo>
                    <a:pt x="35" y="184"/>
                    <a:pt x="33" y="184"/>
                    <a:pt x="33" y="184"/>
                  </a:cubicBezTo>
                  <a:cubicBezTo>
                    <a:pt x="32" y="184"/>
                    <a:pt x="32" y="183"/>
                    <a:pt x="33" y="182"/>
                  </a:cubicBezTo>
                  <a:moveTo>
                    <a:pt x="41" y="201"/>
                  </a:moveTo>
                  <a:cubicBezTo>
                    <a:pt x="41" y="202"/>
                    <a:pt x="40" y="201"/>
                    <a:pt x="39" y="200"/>
                  </a:cubicBezTo>
                  <a:cubicBezTo>
                    <a:pt x="38" y="200"/>
                    <a:pt x="38" y="198"/>
                    <a:pt x="38" y="197"/>
                  </a:cubicBezTo>
                  <a:cubicBezTo>
                    <a:pt x="39" y="197"/>
                    <a:pt x="39" y="197"/>
                    <a:pt x="39" y="197"/>
                  </a:cubicBezTo>
                  <a:cubicBezTo>
                    <a:pt x="39" y="197"/>
                    <a:pt x="38" y="195"/>
                    <a:pt x="38" y="194"/>
                  </a:cubicBezTo>
                  <a:cubicBezTo>
                    <a:pt x="38" y="194"/>
                    <a:pt x="38" y="194"/>
                    <a:pt x="38" y="194"/>
                  </a:cubicBezTo>
                  <a:cubicBezTo>
                    <a:pt x="39" y="193"/>
                    <a:pt x="40" y="194"/>
                    <a:pt x="41" y="195"/>
                  </a:cubicBezTo>
                  <a:cubicBezTo>
                    <a:pt x="42" y="195"/>
                    <a:pt x="42" y="195"/>
                    <a:pt x="42" y="195"/>
                  </a:cubicBezTo>
                  <a:cubicBezTo>
                    <a:pt x="41" y="196"/>
                    <a:pt x="41" y="196"/>
                    <a:pt x="41" y="197"/>
                  </a:cubicBezTo>
                  <a:cubicBezTo>
                    <a:pt x="40" y="198"/>
                    <a:pt x="41" y="200"/>
                    <a:pt x="41" y="201"/>
                  </a:cubicBezTo>
                  <a:moveTo>
                    <a:pt x="40" y="187"/>
                  </a:moveTo>
                  <a:cubicBezTo>
                    <a:pt x="41" y="187"/>
                    <a:pt x="41" y="187"/>
                    <a:pt x="41" y="188"/>
                  </a:cubicBezTo>
                  <a:cubicBezTo>
                    <a:pt x="41" y="188"/>
                    <a:pt x="40" y="189"/>
                    <a:pt x="40" y="189"/>
                  </a:cubicBezTo>
                  <a:cubicBezTo>
                    <a:pt x="40" y="189"/>
                    <a:pt x="39" y="189"/>
                    <a:pt x="39" y="189"/>
                  </a:cubicBezTo>
                  <a:cubicBezTo>
                    <a:pt x="39" y="189"/>
                    <a:pt x="39" y="187"/>
                    <a:pt x="40" y="187"/>
                  </a:cubicBezTo>
                  <a:moveTo>
                    <a:pt x="36" y="190"/>
                  </a:moveTo>
                  <a:cubicBezTo>
                    <a:pt x="35" y="190"/>
                    <a:pt x="34" y="190"/>
                    <a:pt x="34" y="189"/>
                  </a:cubicBezTo>
                  <a:cubicBezTo>
                    <a:pt x="34" y="188"/>
                    <a:pt x="34" y="188"/>
                    <a:pt x="35" y="187"/>
                  </a:cubicBezTo>
                  <a:cubicBezTo>
                    <a:pt x="36" y="186"/>
                    <a:pt x="37" y="186"/>
                    <a:pt x="37" y="187"/>
                  </a:cubicBezTo>
                  <a:cubicBezTo>
                    <a:pt x="38" y="188"/>
                    <a:pt x="37" y="189"/>
                    <a:pt x="36" y="190"/>
                  </a:cubicBezTo>
                  <a:moveTo>
                    <a:pt x="31" y="189"/>
                  </a:moveTo>
                  <a:cubicBezTo>
                    <a:pt x="30" y="188"/>
                    <a:pt x="30" y="188"/>
                    <a:pt x="30" y="188"/>
                  </a:cubicBezTo>
                  <a:cubicBezTo>
                    <a:pt x="30" y="188"/>
                    <a:pt x="31" y="188"/>
                    <a:pt x="31" y="187"/>
                  </a:cubicBezTo>
                  <a:cubicBezTo>
                    <a:pt x="31" y="187"/>
                    <a:pt x="31" y="188"/>
                    <a:pt x="32" y="188"/>
                  </a:cubicBezTo>
                  <a:cubicBezTo>
                    <a:pt x="32" y="188"/>
                    <a:pt x="32" y="188"/>
                    <a:pt x="32" y="188"/>
                  </a:cubicBezTo>
                  <a:cubicBezTo>
                    <a:pt x="32" y="188"/>
                    <a:pt x="32" y="190"/>
                    <a:pt x="31" y="189"/>
                  </a:cubicBezTo>
                  <a:moveTo>
                    <a:pt x="31" y="177"/>
                  </a:moveTo>
                  <a:cubicBezTo>
                    <a:pt x="31" y="177"/>
                    <a:pt x="32" y="177"/>
                    <a:pt x="32" y="177"/>
                  </a:cubicBezTo>
                  <a:cubicBezTo>
                    <a:pt x="32" y="177"/>
                    <a:pt x="32" y="178"/>
                    <a:pt x="32" y="179"/>
                  </a:cubicBezTo>
                  <a:cubicBezTo>
                    <a:pt x="32" y="180"/>
                    <a:pt x="31" y="181"/>
                    <a:pt x="30" y="181"/>
                  </a:cubicBezTo>
                  <a:cubicBezTo>
                    <a:pt x="30" y="181"/>
                    <a:pt x="30" y="181"/>
                    <a:pt x="30" y="181"/>
                  </a:cubicBezTo>
                  <a:cubicBezTo>
                    <a:pt x="29" y="180"/>
                    <a:pt x="30" y="177"/>
                    <a:pt x="31" y="177"/>
                  </a:cubicBezTo>
                  <a:moveTo>
                    <a:pt x="28" y="183"/>
                  </a:moveTo>
                  <a:cubicBezTo>
                    <a:pt x="28" y="183"/>
                    <a:pt x="29" y="182"/>
                    <a:pt x="29" y="182"/>
                  </a:cubicBezTo>
                  <a:cubicBezTo>
                    <a:pt x="30" y="182"/>
                    <a:pt x="30" y="183"/>
                    <a:pt x="30" y="184"/>
                  </a:cubicBezTo>
                  <a:cubicBezTo>
                    <a:pt x="30" y="185"/>
                    <a:pt x="30" y="185"/>
                    <a:pt x="28" y="185"/>
                  </a:cubicBezTo>
                  <a:cubicBezTo>
                    <a:pt x="28" y="184"/>
                    <a:pt x="28" y="184"/>
                    <a:pt x="28" y="183"/>
                  </a:cubicBezTo>
                  <a:moveTo>
                    <a:pt x="24" y="181"/>
                  </a:moveTo>
                  <a:cubicBezTo>
                    <a:pt x="24" y="180"/>
                    <a:pt x="25" y="178"/>
                    <a:pt x="27" y="179"/>
                  </a:cubicBezTo>
                  <a:cubicBezTo>
                    <a:pt x="28" y="179"/>
                    <a:pt x="26" y="181"/>
                    <a:pt x="26" y="182"/>
                  </a:cubicBezTo>
                  <a:cubicBezTo>
                    <a:pt x="26" y="182"/>
                    <a:pt x="25" y="182"/>
                    <a:pt x="25" y="182"/>
                  </a:cubicBezTo>
                  <a:cubicBezTo>
                    <a:pt x="25" y="183"/>
                    <a:pt x="25" y="184"/>
                    <a:pt x="25" y="185"/>
                  </a:cubicBezTo>
                  <a:cubicBezTo>
                    <a:pt x="24" y="185"/>
                    <a:pt x="24" y="185"/>
                    <a:pt x="23" y="185"/>
                  </a:cubicBezTo>
                  <a:cubicBezTo>
                    <a:pt x="23" y="185"/>
                    <a:pt x="24" y="182"/>
                    <a:pt x="24" y="181"/>
                  </a:cubicBezTo>
                  <a:moveTo>
                    <a:pt x="27" y="190"/>
                  </a:moveTo>
                  <a:cubicBezTo>
                    <a:pt x="27" y="190"/>
                    <a:pt x="27" y="190"/>
                    <a:pt x="26" y="190"/>
                  </a:cubicBezTo>
                  <a:cubicBezTo>
                    <a:pt x="26" y="190"/>
                    <a:pt x="26" y="190"/>
                    <a:pt x="26" y="189"/>
                  </a:cubicBezTo>
                  <a:cubicBezTo>
                    <a:pt x="26" y="189"/>
                    <a:pt x="26" y="188"/>
                    <a:pt x="27" y="188"/>
                  </a:cubicBezTo>
                  <a:cubicBezTo>
                    <a:pt x="28" y="189"/>
                    <a:pt x="28" y="189"/>
                    <a:pt x="27" y="190"/>
                  </a:cubicBezTo>
                  <a:moveTo>
                    <a:pt x="23" y="191"/>
                  </a:moveTo>
                  <a:cubicBezTo>
                    <a:pt x="23" y="191"/>
                    <a:pt x="23" y="191"/>
                    <a:pt x="23" y="191"/>
                  </a:cubicBezTo>
                  <a:cubicBezTo>
                    <a:pt x="23" y="191"/>
                    <a:pt x="23" y="191"/>
                    <a:pt x="23" y="191"/>
                  </a:cubicBezTo>
                  <a:cubicBezTo>
                    <a:pt x="23" y="191"/>
                    <a:pt x="21" y="191"/>
                    <a:pt x="22" y="191"/>
                  </a:cubicBezTo>
                  <a:cubicBezTo>
                    <a:pt x="24" y="191"/>
                    <a:pt x="24" y="191"/>
                    <a:pt x="23" y="191"/>
                  </a:cubicBezTo>
                  <a:moveTo>
                    <a:pt x="21" y="190"/>
                  </a:moveTo>
                  <a:cubicBezTo>
                    <a:pt x="21" y="190"/>
                    <a:pt x="21" y="190"/>
                    <a:pt x="22" y="190"/>
                  </a:cubicBezTo>
                  <a:cubicBezTo>
                    <a:pt x="22" y="190"/>
                    <a:pt x="22" y="190"/>
                    <a:pt x="22" y="190"/>
                  </a:cubicBezTo>
                  <a:cubicBezTo>
                    <a:pt x="21" y="191"/>
                    <a:pt x="21" y="191"/>
                    <a:pt x="21" y="190"/>
                  </a:cubicBezTo>
                  <a:moveTo>
                    <a:pt x="20" y="228"/>
                  </a:moveTo>
                  <a:cubicBezTo>
                    <a:pt x="20" y="229"/>
                    <a:pt x="17" y="227"/>
                    <a:pt x="17" y="227"/>
                  </a:cubicBezTo>
                  <a:cubicBezTo>
                    <a:pt x="16" y="226"/>
                    <a:pt x="16" y="226"/>
                    <a:pt x="16" y="225"/>
                  </a:cubicBezTo>
                  <a:cubicBezTo>
                    <a:pt x="15" y="224"/>
                    <a:pt x="14" y="219"/>
                    <a:pt x="14" y="216"/>
                  </a:cubicBezTo>
                  <a:cubicBezTo>
                    <a:pt x="14" y="215"/>
                    <a:pt x="14" y="215"/>
                    <a:pt x="13" y="215"/>
                  </a:cubicBezTo>
                  <a:cubicBezTo>
                    <a:pt x="13" y="215"/>
                    <a:pt x="13" y="214"/>
                    <a:pt x="13" y="214"/>
                  </a:cubicBezTo>
                  <a:cubicBezTo>
                    <a:pt x="13" y="214"/>
                    <a:pt x="13" y="213"/>
                    <a:pt x="14" y="213"/>
                  </a:cubicBezTo>
                  <a:cubicBezTo>
                    <a:pt x="14" y="213"/>
                    <a:pt x="16" y="214"/>
                    <a:pt x="16" y="215"/>
                  </a:cubicBezTo>
                  <a:cubicBezTo>
                    <a:pt x="16" y="215"/>
                    <a:pt x="16" y="215"/>
                    <a:pt x="18" y="217"/>
                  </a:cubicBezTo>
                  <a:cubicBezTo>
                    <a:pt x="19" y="217"/>
                    <a:pt x="19" y="217"/>
                    <a:pt x="20" y="217"/>
                  </a:cubicBezTo>
                  <a:cubicBezTo>
                    <a:pt x="20" y="217"/>
                    <a:pt x="20" y="217"/>
                    <a:pt x="20" y="217"/>
                  </a:cubicBezTo>
                  <a:cubicBezTo>
                    <a:pt x="20" y="217"/>
                    <a:pt x="20" y="216"/>
                    <a:pt x="20" y="216"/>
                  </a:cubicBezTo>
                  <a:cubicBezTo>
                    <a:pt x="20" y="216"/>
                    <a:pt x="20" y="216"/>
                    <a:pt x="20" y="217"/>
                  </a:cubicBezTo>
                  <a:cubicBezTo>
                    <a:pt x="20" y="217"/>
                    <a:pt x="20" y="217"/>
                    <a:pt x="21" y="217"/>
                  </a:cubicBezTo>
                  <a:cubicBezTo>
                    <a:pt x="21" y="217"/>
                    <a:pt x="21" y="217"/>
                    <a:pt x="20" y="217"/>
                  </a:cubicBezTo>
                  <a:cubicBezTo>
                    <a:pt x="19" y="217"/>
                    <a:pt x="19" y="218"/>
                    <a:pt x="19" y="218"/>
                  </a:cubicBezTo>
                  <a:cubicBezTo>
                    <a:pt x="19" y="219"/>
                    <a:pt x="20" y="226"/>
                    <a:pt x="20" y="227"/>
                  </a:cubicBezTo>
                  <a:cubicBezTo>
                    <a:pt x="20" y="227"/>
                    <a:pt x="21" y="228"/>
                    <a:pt x="20" y="228"/>
                  </a:cubicBezTo>
                  <a:moveTo>
                    <a:pt x="23" y="227"/>
                  </a:moveTo>
                  <a:cubicBezTo>
                    <a:pt x="22" y="227"/>
                    <a:pt x="22" y="227"/>
                    <a:pt x="21" y="225"/>
                  </a:cubicBezTo>
                  <a:cubicBezTo>
                    <a:pt x="21" y="224"/>
                    <a:pt x="21" y="224"/>
                    <a:pt x="22" y="225"/>
                  </a:cubicBezTo>
                  <a:cubicBezTo>
                    <a:pt x="24" y="228"/>
                    <a:pt x="23" y="228"/>
                    <a:pt x="23" y="227"/>
                  </a:cubicBezTo>
                  <a:moveTo>
                    <a:pt x="38" y="226"/>
                  </a:moveTo>
                  <a:cubicBezTo>
                    <a:pt x="38" y="227"/>
                    <a:pt x="38" y="227"/>
                    <a:pt x="38" y="227"/>
                  </a:cubicBezTo>
                  <a:cubicBezTo>
                    <a:pt x="38" y="228"/>
                    <a:pt x="37" y="229"/>
                    <a:pt x="31" y="229"/>
                  </a:cubicBezTo>
                  <a:cubicBezTo>
                    <a:pt x="26" y="229"/>
                    <a:pt x="26" y="229"/>
                    <a:pt x="27" y="229"/>
                  </a:cubicBezTo>
                  <a:cubicBezTo>
                    <a:pt x="27" y="229"/>
                    <a:pt x="28" y="228"/>
                    <a:pt x="28" y="228"/>
                  </a:cubicBezTo>
                  <a:cubicBezTo>
                    <a:pt x="28" y="228"/>
                    <a:pt x="28" y="227"/>
                    <a:pt x="28" y="227"/>
                  </a:cubicBezTo>
                  <a:cubicBezTo>
                    <a:pt x="28" y="226"/>
                    <a:pt x="30" y="225"/>
                    <a:pt x="30" y="225"/>
                  </a:cubicBezTo>
                  <a:cubicBezTo>
                    <a:pt x="31" y="225"/>
                    <a:pt x="33" y="225"/>
                    <a:pt x="33" y="225"/>
                  </a:cubicBezTo>
                  <a:cubicBezTo>
                    <a:pt x="33" y="225"/>
                    <a:pt x="33" y="224"/>
                    <a:pt x="33" y="224"/>
                  </a:cubicBezTo>
                  <a:cubicBezTo>
                    <a:pt x="33" y="222"/>
                    <a:pt x="39" y="222"/>
                    <a:pt x="40" y="222"/>
                  </a:cubicBezTo>
                  <a:cubicBezTo>
                    <a:pt x="40" y="222"/>
                    <a:pt x="41" y="222"/>
                    <a:pt x="41" y="223"/>
                  </a:cubicBezTo>
                  <a:cubicBezTo>
                    <a:pt x="42" y="223"/>
                    <a:pt x="43" y="225"/>
                    <a:pt x="43" y="225"/>
                  </a:cubicBezTo>
                  <a:cubicBezTo>
                    <a:pt x="43" y="225"/>
                    <a:pt x="38" y="226"/>
                    <a:pt x="38" y="226"/>
                  </a:cubicBezTo>
                  <a:cubicBezTo>
                    <a:pt x="37" y="226"/>
                    <a:pt x="38" y="226"/>
                    <a:pt x="38" y="226"/>
                  </a:cubicBezTo>
                  <a:moveTo>
                    <a:pt x="49" y="228"/>
                  </a:moveTo>
                  <a:cubicBezTo>
                    <a:pt x="49" y="228"/>
                    <a:pt x="48" y="223"/>
                    <a:pt x="38" y="222"/>
                  </a:cubicBezTo>
                  <a:cubicBezTo>
                    <a:pt x="35" y="221"/>
                    <a:pt x="27" y="226"/>
                    <a:pt x="25" y="225"/>
                  </a:cubicBezTo>
                  <a:cubicBezTo>
                    <a:pt x="17" y="222"/>
                    <a:pt x="21" y="219"/>
                    <a:pt x="21" y="218"/>
                  </a:cubicBezTo>
                  <a:cubicBezTo>
                    <a:pt x="21" y="215"/>
                    <a:pt x="17" y="212"/>
                    <a:pt x="18" y="211"/>
                  </a:cubicBezTo>
                  <a:cubicBezTo>
                    <a:pt x="18" y="209"/>
                    <a:pt x="18" y="208"/>
                    <a:pt x="18" y="207"/>
                  </a:cubicBezTo>
                  <a:cubicBezTo>
                    <a:pt x="18" y="205"/>
                    <a:pt x="17" y="204"/>
                    <a:pt x="17" y="202"/>
                  </a:cubicBezTo>
                  <a:cubicBezTo>
                    <a:pt x="16" y="199"/>
                    <a:pt x="15" y="195"/>
                    <a:pt x="19" y="194"/>
                  </a:cubicBezTo>
                  <a:cubicBezTo>
                    <a:pt x="20" y="194"/>
                    <a:pt x="21" y="195"/>
                    <a:pt x="21" y="196"/>
                  </a:cubicBezTo>
                  <a:cubicBezTo>
                    <a:pt x="21" y="197"/>
                    <a:pt x="19" y="197"/>
                    <a:pt x="19" y="198"/>
                  </a:cubicBezTo>
                  <a:cubicBezTo>
                    <a:pt x="18" y="199"/>
                    <a:pt x="18" y="201"/>
                    <a:pt x="19" y="201"/>
                  </a:cubicBezTo>
                  <a:cubicBezTo>
                    <a:pt x="19" y="201"/>
                    <a:pt x="20" y="199"/>
                    <a:pt x="20" y="199"/>
                  </a:cubicBezTo>
                  <a:cubicBezTo>
                    <a:pt x="21" y="198"/>
                    <a:pt x="21" y="194"/>
                    <a:pt x="22" y="194"/>
                  </a:cubicBezTo>
                  <a:cubicBezTo>
                    <a:pt x="24" y="193"/>
                    <a:pt x="24" y="196"/>
                    <a:pt x="23" y="198"/>
                  </a:cubicBezTo>
                  <a:cubicBezTo>
                    <a:pt x="23" y="200"/>
                    <a:pt x="20" y="204"/>
                    <a:pt x="23" y="206"/>
                  </a:cubicBezTo>
                  <a:cubicBezTo>
                    <a:pt x="24" y="206"/>
                    <a:pt x="25" y="206"/>
                    <a:pt x="26" y="206"/>
                  </a:cubicBezTo>
                  <a:cubicBezTo>
                    <a:pt x="26" y="207"/>
                    <a:pt x="27" y="210"/>
                    <a:pt x="27" y="211"/>
                  </a:cubicBezTo>
                  <a:cubicBezTo>
                    <a:pt x="27" y="212"/>
                    <a:pt x="26" y="212"/>
                    <a:pt x="26" y="213"/>
                  </a:cubicBezTo>
                  <a:cubicBezTo>
                    <a:pt x="26" y="214"/>
                    <a:pt x="26" y="216"/>
                    <a:pt x="26" y="217"/>
                  </a:cubicBezTo>
                  <a:cubicBezTo>
                    <a:pt x="26" y="218"/>
                    <a:pt x="25" y="219"/>
                    <a:pt x="24" y="220"/>
                  </a:cubicBezTo>
                  <a:cubicBezTo>
                    <a:pt x="23" y="222"/>
                    <a:pt x="23" y="223"/>
                    <a:pt x="26" y="224"/>
                  </a:cubicBezTo>
                  <a:cubicBezTo>
                    <a:pt x="28" y="224"/>
                    <a:pt x="31" y="222"/>
                    <a:pt x="33" y="220"/>
                  </a:cubicBezTo>
                  <a:cubicBezTo>
                    <a:pt x="33" y="219"/>
                    <a:pt x="33" y="219"/>
                    <a:pt x="34" y="218"/>
                  </a:cubicBezTo>
                  <a:cubicBezTo>
                    <a:pt x="34" y="218"/>
                    <a:pt x="36" y="219"/>
                    <a:pt x="37" y="219"/>
                  </a:cubicBezTo>
                  <a:cubicBezTo>
                    <a:pt x="38" y="220"/>
                    <a:pt x="41" y="219"/>
                    <a:pt x="42" y="219"/>
                  </a:cubicBezTo>
                  <a:cubicBezTo>
                    <a:pt x="43" y="219"/>
                    <a:pt x="50" y="223"/>
                    <a:pt x="50" y="223"/>
                  </a:cubicBezTo>
                  <a:cubicBezTo>
                    <a:pt x="52" y="225"/>
                    <a:pt x="52" y="228"/>
                    <a:pt x="49" y="228"/>
                  </a:cubicBezTo>
                  <a:moveTo>
                    <a:pt x="57" y="223"/>
                  </a:moveTo>
                  <a:cubicBezTo>
                    <a:pt x="46" y="223"/>
                    <a:pt x="45" y="218"/>
                    <a:pt x="43" y="217"/>
                  </a:cubicBezTo>
                  <a:cubicBezTo>
                    <a:pt x="37" y="217"/>
                    <a:pt x="37" y="217"/>
                    <a:pt x="37" y="217"/>
                  </a:cubicBezTo>
                  <a:cubicBezTo>
                    <a:pt x="37" y="216"/>
                    <a:pt x="34" y="216"/>
                    <a:pt x="34" y="216"/>
                  </a:cubicBezTo>
                  <a:cubicBezTo>
                    <a:pt x="32" y="216"/>
                    <a:pt x="31" y="219"/>
                    <a:pt x="30" y="221"/>
                  </a:cubicBezTo>
                  <a:cubicBezTo>
                    <a:pt x="29" y="221"/>
                    <a:pt x="27" y="222"/>
                    <a:pt x="27" y="222"/>
                  </a:cubicBezTo>
                  <a:cubicBezTo>
                    <a:pt x="26" y="222"/>
                    <a:pt x="26" y="221"/>
                    <a:pt x="26" y="220"/>
                  </a:cubicBezTo>
                  <a:cubicBezTo>
                    <a:pt x="26" y="220"/>
                    <a:pt x="28" y="219"/>
                    <a:pt x="28" y="218"/>
                  </a:cubicBezTo>
                  <a:cubicBezTo>
                    <a:pt x="28" y="218"/>
                    <a:pt x="28" y="217"/>
                    <a:pt x="28" y="217"/>
                  </a:cubicBezTo>
                  <a:cubicBezTo>
                    <a:pt x="28" y="216"/>
                    <a:pt x="28" y="214"/>
                    <a:pt x="28" y="213"/>
                  </a:cubicBezTo>
                  <a:cubicBezTo>
                    <a:pt x="28" y="212"/>
                    <a:pt x="29" y="212"/>
                    <a:pt x="29" y="211"/>
                  </a:cubicBezTo>
                  <a:cubicBezTo>
                    <a:pt x="30" y="209"/>
                    <a:pt x="28" y="209"/>
                    <a:pt x="28" y="207"/>
                  </a:cubicBezTo>
                  <a:cubicBezTo>
                    <a:pt x="28" y="206"/>
                    <a:pt x="29" y="202"/>
                    <a:pt x="29" y="202"/>
                  </a:cubicBezTo>
                  <a:cubicBezTo>
                    <a:pt x="28" y="201"/>
                    <a:pt x="27" y="202"/>
                    <a:pt x="26" y="203"/>
                  </a:cubicBezTo>
                  <a:cubicBezTo>
                    <a:pt x="25" y="203"/>
                    <a:pt x="25" y="203"/>
                    <a:pt x="25" y="203"/>
                  </a:cubicBezTo>
                  <a:cubicBezTo>
                    <a:pt x="23" y="202"/>
                    <a:pt x="25" y="201"/>
                    <a:pt x="25" y="199"/>
                  </a:cubicBezTo>
                  <a:cubicBezTo>
                    <a:pt x="25" y="198"/>
                    <a:pt x="25" y="197"/>
                    <a:pt x="25" y="196"/>
                  </a:cubicBezTo>
                  <a:cubicBezTo>
                    <a:pt x="25" y="195"/>
                    <a:pt x="25" y="194"/>
                    <a:pt x="26" y="194"/>
                  </a:cubicBezTo>
                  <a:cubicBezTo>
                    <a:pt x="28" y="193"/>
                    <a:pt x="33" y="193"/>
                    <a:pt x="34" y="193"/>
                  </a:cubicBezTo>
                  <a:cubicBezTo>
                    <a:pt x="34" y="194"/>
                    <a:pt x="37" y="196"/>
                    <a:pt x="37" y="197"/>
                  </a:cubicBezTo>
                  <a:cubicBezTo>
                    <a:pt x="37" y="198"/>
                    <a:pt x="36" y="198"/>
                    <a:pt x="36" y="198"/>
                  </a:cubicBezTo>
                  <a:cubicBezTo>
                    <a:pt x="36" y="199"/>
                    <a:pt x="36" y="199"/>
                    <a:pt x="36" y="201"/>
                  </a:cubicBezTo>
                  <a:cubicBezTo>
                    <a:pt x="36" y="201"/>
                    <a:pt x="36" y="201"/>
                    <a:pt x="36" y="201"/>
                  </a:cubicBezTo>
                  <a:cubicBezTo>
                    <a:pt x="36" y="202"/>
                    <a:pt x="34" y="204"/>
                    <a:pt x="34" y="206"/>
                  </a:cubicBezTo>
                  <a:cubicBezTo>
                    <a:pt x="34" y="207"/>
                    <a:pt x="35" y="208"/>
                    <a:pt x="35" y="209"/>
                  </a:cubicBezTo>
                  <a:cubicBezTo>
                    <a:pt x="36" y="209"/>
                    <a:pt x="36" y="209"/>
                    <a:pt x="37" y="209"/>
                  </a:cubicBezTo>
                  <a:cubicBezTo>
                    <a:pt x="37" y="208"/>
                    <a:pt x="35" y="208"/>
                    <a:pt x="35" y="206"/>
                  </a:cubicBezTo>
                  <a:cubicBezTo>
                    <a:pt x="35" y="205"/>
                    <a:pt x="37" y="202"/>
                    <a:pt x="37" y="201"/>
                  </a:cubicBezTo>
                  <a:cubicBezTo>
                    <a:pt x="37" y="201"/>
                    <a:pt x="37" y="201"/>
                    <a:pt x="38" y="201"/>
                  </a:cubicBezTo>
                  <a:cubicBezTo>
                    <a:pt x="40" y="201"/>
                    <a:pt x="39" y="203"/>
                    <a:pt x="40" y="205"/>
                  </a:cubicBezTo>
                  <a:cubicBezTo>
                    <a:pt x="40" y="206"/>
                    <a:pt x="41" y="208"/>
                    <a:pt x="42" y="208"/>
                  </a:cubicBezTo>
                  <a:cubicBezTo>
                    <a:pt x="43" y="209"/>
                    <a:pt x="47" y="207"/>
                    <a:pt x="47" y="207"/>
                  </a:cubicBezTo>
                  <a:cubicBezTo>
                    <a:pt x="48" y="207"/>
                    <a:pt x="48" y="208"/>
                    <a:pt x="49" y="209"/>
                  </a:cubicBezTo>
                  <a:cubicBezTo>
                    <a:pt x="50" y="210"/>
                    <a:pt x="52" y="209"/>
                    <a:pt x="53" y="209"/>
                  </a:cubicBezTo>
                  <a:cubicBezTo>
                    <a:pt x="54" y="208"/>
                    <a:pt x="55" y="205"/>
                    <a:pt x="55" y="204"/>
                  </a:cubicBezTo>
                  <a:cubicBezTo>
                    <a:pt x="56" y="202"/>
                    <a:pt x="56" y="201"/>
                    <a:pt x="56" y="199"/>
                  </a:cubicBezTo>
                  <a:cubicBezTo>
                    <a:pt x="56" y="198"/>
                    <a:pt x="57" y="196"/>
                    <a:pt x="59" y="195"/>
                  </a:cubicBezTo>
                  <a:cubicBezTo>
                    <a:pt x="60" y="195"/>
                    <a:pt x="60" y="195"/>
                    <a:pt x="59" y="196"/>
                  </a:cubicBezTo>
                  <a:cubicBezTo>
                    <a:pt x="59" y="200"/>
                    <a:pt x="57" y="208"/>
                    <a:pt x="57" y="209"/>
                  </a:cubicBezTo>
                  <a:cubicBezTo>
                    <a:pt x="56" y="211"/>
                    <a:pt x="55" y="211"/>
                    <a:pt x="53" y="211"/>
                  </a:cubicBezTo>
                  <a:cubicBezTo>
                    <a:pt x="52" y="211"/>
                    <a:pt x="52" y="212"/>
                    <a:pt x="52" y="212"/>
                  </a:cubicBezTo>
                  <a:cubicBezTo>
                    <a:pt x="52" y="213"/>
                    <a:pt x="52" y="213"/>
                    <a:pt x="52" y="213"/>
                  </a:cubicBezTo>
                  <a:cubicBezTo>
                    <a:pt x="53" y="213"/>
                    <a:pt x="53" y="212"/>
                    <a:pt x="54" y="212"/>
                  </a:cubicBezTo>
                  <a:cubicBezTo>
                    <a:pt x="54" y="212"/>
                    <a:pt x="55" y="211"/>
                    <a:pt x="56" y="211"/>
                  </a:cubicBezTo>
                  <a:cubicBezTo>
                    <a:pt x="57" y="211"/>
                    <a:pt x="58" y="211"/>
                    <a:pt x="58" y="211"/>
                  </a:cubicBezTo>
                  <a:cubicBezTo>
                    <a:pt x="58" y="211"/>
                    <a:pt x="58" y="215"/>
                    <a:pt x="51" y="213"/>
                  </a:cubicBezTo>
                  <a:cubicBezTo>
                    <a:pt x="52" y="215"/>
                    <a:pt x="55" y="218"/>
                    <a:pt x="56" y="218"/>
                  </a:cubicBezTo>
                  <a:cubicBezTo>
                    <a:pt x="57" y="218"/>
                    <a:pt x="68" y="223"/>
                    <a:pt x="57" y="223"/>
                  </a:cubicBezTo>
                  <a:moveTo>
                    <a:pt x="66" y="229"/>
                  </a:moveTo>
                  <a:cubicBezTo>
                    <a:pt x="65" y="229"/>
                    <a:pt x="63" y="229"/>
                    <a:pt x="62" y="228"/>
                  </a:cubicBezTo>
                  <a:cubicBezTo>
                    <a:pt x="62" y="228"/>
                    <a:pt x="62" y="228"/>
                    <a:pt x="61" y="225"/>
                  </a:cubicBezTo>
                  <a:cubicBezTo>
                    <a:pt x="60" y="223"/>
                    <a:pt x="65" y="226"/>
                    <a:pt x="66" y="228"/>
                  </a:cubicBezTo>
                  <a:cubicBezTo>
                    <a:pt x="66" y="228"/>
                    <a:pt x="66" y="229"/>
                    <a:pt x="66" y="229"/>
                  </a:cubicBezTo>
                  <a:moveTo>
                    <a:pt x="59" y="208"/>
                  </a:moveTo>
                  <a:cubicBezTo>
                    <a:pt x="59" y="195"/>
                    <a:pt x="69" y="185"/>
                    <a:pt x="82" y="185"/>
                  </a:cubicBezTo>
                  <a:cubicBezTo>
                    <a:pt x="94" y="185"/>
                    <a:pt x="104" y="195"/>
                    <a:pt x="104" y="208"/>
                  </a:cubicBezTo>
                  <a:cubicBezTo>
                    <a:pt x="104" y="220"/>
                    <a:pt x="94" y="230"/>
                    <a:pt x="82" y="230"/>
                  </a:cubicBezTo>
                  <a:cubicBezTo>
                    <a:pt x="69" y="230"/>
                    <a:pt x="59" y="220"/>
                    <a:pt x="59" y="208"/>
                  </a:cubicBezTo>
                  <a:moveTo>
                    <a:pt x="109" y="224"/>
                  </a:moveTo>
                  <a:cubicBezTo>
                    <a:pt x="108" y="227"/>
                    <a:pt x="105" y="227"/>
                    <a:pt x="103" y="227"/>
                  </a:cubicBezTo>
                  <a:cubicBezTo>
                    <a:pt x="101" y="228"/>
                    <a:pt x="98" y="228"/>
                    <a:pt x="98" y="228"/>
                  </a:cubicBezTo>
                  <a:cubicBezTo>
                    <a:pt x="98" y="228"/>
                    <a:pt x="97" y="227"/>
                    <a:pt x="97" y="227"/>
                  </a:cubicBezTo>
                  <a:cubicBezTo>
                    <a:pt x="97" y="227"/>
                    <a:pt x="101" y="224"/>
                    <a:pt x="102" y="221"/>
                  </a:cubicBezTo>
                  <a:cubicBezTo>
                    <a:pt x="104" y="219"/>
                    <a:pt x="105" y="217"/>
                    <a:pt x="105" y="215"/>
                  </a:cubicBezTo>
                  <a:cubicBezTo>
                    <a:pt x="106" y="213"/>
                    <a:pt x="106" y="210"/>
                    <a:pt x="106" y="210"/>
                  </a:cubicBezTo>
                  <a:cubicBezTo>
                    <a:pt x="106" y="210"/>
                    <a:pt x="108" y="211"/>
                    <a:pt x="108" y="211"/>
                  </a:cubicBezTo>
                  <a:cubicBezTo>
                    <a:pt x="109" y="213"/>
                    <a:pt x="109" y="213"/>
                    <a:pt x="109" y="215"/>
                  </a:cubicBezTo>
                  <a:cubicBezTo>
                    <a:pt x="109" y="216"/>
                    <a:pt x="111" y="217"/>
                    <a:pt x="111" y="219"/>
                  </a:cubicBezTo>
                  <a:cubicBezTo>
                    <a:pt x="111" y="219"/>
                    <a:pt x="110" y="219"/>
                    <a:pt x="109" y="224"/>
                  </a:cubicBezTo>
                  <a:moveTo>
                    <a:pt x="121" y="226"/>
                  </a:moveTo>
                  <a:cubicBezTo>
                    <a:pt x="121" y="227"/>
                    <a:pt x="121" y="227"/>
                    <a:pt x="121" y="227"/>
                  </a:cubicBezTo>
                  <a:cubicBezTo>
                    <a:pt x="120" y="227"/>
                    <a:pt x="120" y="227"/>
                    <a:pt x="120" y="227"/>
                  </a:cubicBezTo>
                  <a:cubicBezTo>
                    <a:pt x="119" y="225"/>
                    <a:pt x="120" y="224"/>
                    <a:pt x="121" y="222"/>
                  </a:cubicBezTo>
                  <a:cubicBezTo>
                    <a:pt x="121" y="221"/>
                    <a:pt x="120" y="219"/>
                    <a:pt x="121" y="219"/>
                  </a:cubicBezTo>
                  <a:cubicBezTo>
                    <a:pt x="121" y="218"/>
                    <a:pt x="123" y="218"/>
                    <a:pt x="124" y="219"/>
                  </a:cubicBezTo>
                  <a:cubicBezTo>
                    <a:pt x="125" y="220"/>
                    <a:pt x="125" y="220"/>
                    <a:pt x="124" y="222"/>
                  </a:cubicBezTo>
                  <a:cubicBezTo>
                    <a:pt x="123" y="223"/>
                    <a:pt x="122" y="224"/>
                    <a:pt x="121" y="226"/>
                  </a:cubicBezTo>
                  <a:moveTo>
                    <a:pt x="132" y="226"/>
                  </a:moveTo>
                  <a:cubicBezTo>
                    <a:pt x="132" y="227"/>
                    <a:pt x="131" y="227"/>
                    <a:pt x="131" y="227"/>
                  </a:cubicBezTo>
                  <a:cubicBezTo>
                    <a:pt x="130" y="227"/>
                    <a:pt x="130" y="227"/>
                    <a:pt x="130" y="226"/>
                  </a:cubicBezTo>
                  <a:cubicBezTo>
                    <a:pt x="130" y="225"/>
                    <a:pt x="130" y="225"/>
                    <a:pt x="130" y="225"/>
                  </a:cubicBezTo>
                  <a:cubicBezTo>
                    <a:pt x="131" y="224"/>
                    <a:pt x="131" y="224"/>
                    <a:pt x="131" y="224"/>
                  </a:cubicBezTo>
                  <a:cubicBezTo>
                    <a:pt x="131" y="224"/>
                    <a:pt x="131" y="224"/>
                    <a:pt x="132" y="224"/>
                  </a:cubicBezTo>
                  <a:cubicBezTo>
                    <a:pt x="132" y="224"/>
                    <a:pt x="132" y="225"/>
                    <a:pt x="132" y="226"/>
                  </a:cubicBezTo>
                  <a:moveTo>
                    <a:pt x="132" y="218"/>
                  </a:moveTo>
                  <a:cubicBezTo>
                    <a:pt x="131" y="219"/>
                    <a:pt x="130" y="219"/>
                    <a:pt x="130" y="220"/>
                  </a:cubicBezTo>
                  <a:cubicBezTo>
                    <a:pt x="129" y="222"/>
                    <a:pt x="128" y="224"/>
                    <a:pt x="127" y="225"/>
                  </a:cubicBezTo>
                  <a:cubicBezTo>
                    <a:pt x="126" y="227"/>
                    <a:pt x="125" y="227"/>
                    <a:pt x="124" y="226"/>
                  </a:cubicBezTo>
                  <a:cubicBezTo>
                    <a:pt x="122" y="225"/>
                    <a:pt x="124" y="224"/>
                    <a:pt x="126" y="222"/>
                  </a:cubicBezTo>
                  <a:cubicBezTo>
                    <a:pt x="127" y="221"/>
                    <a:pt x="128" y="219"/>
                    <a:pt x="128" y="218"/>
                  </a:cubicBezTo>
                  <a:cubicBezTo>
                    <a:pt x="128" y="217"/>
                    <a:pt x="128" y="216"/>
                    <a:pt x="128" y="216"/>
                  </a:cubicBezTo>
                  <a:cubicBezTo>
                    <a:pt x="128" y="216"/>
                    <a:pt x="126" y="217"/>
                    <a:pt x="124" y="217"/>
                  </a:cubicBezTo>
                  <a:cubicBezTo>
                    <a:pt x="124" y="217"/>
                    <a:pt x="124" y="216"/>
                    <a:pt x="123" y="216"/>
                  </a:cubicBezTo>
                  <a:cubicBezTo>
                    <a:pt x="123" y="216"/>
                    <a:pt x="123" y="216"/>
                    <a:pt x="123" y="213"/>
                  </a:cubicBezTo>
                  <a:cubicBezTo>
                    <a:pt x="123" y="210"/>
                    <a:pt x="123" y="210"/>
                    <a:pt x="123" y="210"/>
                  </a:cubicBezTo>
                  <a:cubicBezTo>
                    <a:pt x="122" y="209"/>
                    <a:pt x="121" y="210"/>
                    <a:pt x="121" y="211"/>
                  </a:cubicBezTo>
                  <a:cubicBezTo>
                    <a:pt x="121" y="212"/>
                    <a:pt x="121" y="213"/>
                    <a:pt x="121" y="214"/>
                  </a:cubicBezTo>
                  <a:cubicBezTo>
                    <a:pt x="121" y="215"/>
                    <a:pt x="119" y="216"/>
                    <a:pt x="119" y="217"/>
                  </a:cubicBezTo>
                  <a:cubicBezTo>
                    <a:pt x="119" y="219"/>
                    <a:pt x="119" y="219"/>
                    <a:pt x="119" y="221"/>
                  </a:cubicBezTo>
                  <a:cubicBezTo>
                    <a:pt x="119" y="223"/>
                    <a:pt x="118" y="226"/>
                    <a:pt x="116" y="227"/>
                  </a:cubicBezTo>
                  <a:cubicBezTo>
                    <a:pt x="114" y="227"/>
                    <a:pt x="115" y="224"/>
                    <a:pt x="116" y="222"/>
                  </a:cubicBezTo>
                  <a:cubicBezTo>
                    <a:pt x="116" y="221"/>
                    <a:pt x="115" y="217"/>
                    <a:pt x="114" y="216"/>
                  </a:cubicBezTo>
                  <a:cubicBezTo>
                    <a:pt x="112" y="215"/>
                    <a:pt x="110" y="215"/>
                    <a:pt x="111" y="213"/>
                  </a:cubicBezTo>
                  <a:cubicBezTo>
                    <a:pt x="111" y="213"/>
                    <a:pt x="113" y="211"/>
                    <a:pt x="113" y="211"/>
                  </a:cubicBezTo>
                  <a:cubicBezTo>
                    <a:pt x="113" y="211"/>
                    <a:pt x="111" y="211"/>
                    <a:pt x="111" y="210"/>
                  </a:cubicBezTo>
                  <a:cubicBezTo>
                    <a:pt x="110" y="210"/>
                    <a:pt x="109" y="208"/>
                    <a:pt x="109" y="207"/>
                  </a:cubicBezTo>
                  <a:cubicBezTo>
                    <a:pt x="110" y="206"/>
                    <a:pt x="110" y="205"/>
                    <a:pt x="110" y="205"/>
                  </a:cubicBezTo>
                  <a:cubicBezTo>
                    <a:pt x="110" y="204"/>
                    <a:pt x="109" y="203"/>
                    <a:pt x="109" y="202"/>
                  </a:cubicBezTo>
                  <a:cubicBezTo>
                    <a:pt x="109" y="202"/>
                    <a:pt x="109" y="201"/>
                    <a:pt x="109" y="200"/>
                  </a:cubicBezTo>
                  <a:cubicBezTo>
                    <a:pt x="109" y="200"/>
                    <a:pt x="109" y="199"/>
                    <a:pt x="109" y="198"/>
                  </a:cubicBezTo>
                  <a:cubicBezTo>
                    <a:pt x="109" y="196"/>
                    <a:pt x="110" y="196"/>
                    <a:pt x="112" y="195"/>
                  </a:cubicBezTo>
                  <a:cubicBezTo>
                    <a:pt x="115" y="194"/>
                    <a:pt x="117" y="195"/>
                    <a:pt x="117" y="198"/>
                  </a:cubicBezTo>
                  <a:cubicBezTo>
                    <a:pt x="117" y="200"/>
                    <a:pt x="116" y="200"/>
                    <a:pt x="114" y="202"/>
                  </a:cubicBezTo>
                  <a:cubicBezTo>
                    <a:pt x="114" y="203"/>
                    <a:pt x="112" y="206"/>
                    <a:pt x="113" y="207"/>
                  </a:cubicBezTo>
                  <a:cubicBezTo>
                    <a:pt x="115" y="208"/>
                    <a:pt x="115" y="205"/>
                    <a:pt x="116" y="204"/>
                  </a:cubicBezTo>
                  <a:cubicBezTo>
                    <a:pt x="116" y="204"/>
                    <a:pt x="116" y="203"/>
                    <a:pt x="116" y="203"/>
                  </a:cubicBezTo>
                  <a:cubicBezTo>
                    <a:pt x="117" y="202"/>
                    <a:pt x="121" y="200"/>
                    <a:pt x="122" y="200"/>
                  </a:cubicBezTo>
                  <a:cubicBezTo>
                    <a:pt x="124" y="201"/>
                    <a:pt x="123" y="203"/>
                    <a:pt x="122" y="205"/>
                  </a:cubicBezTo>
                  <a:cubicBezTo>
                    <a:pt x="122" y="206"/>
                    <a:pt x="122" y="207"/>
                    <a:pt x="123" y="207"/>
                  </a:cubicBezTo>
                  <a:cubicBezTo>
                    <a:pt x="125" y="209"/>
                    <a:pt x="126" y="208"/>
                    <a:pt x="128" y="208"/>
                  </a:cubicBezTo>
                  <a:cubicBezTo>
                    <a:pt x="130" y="208"/>
                    <a:pt x="131" y="209"/>
                    <a:pt x="132" y="210"/>
                  </a:cubicBezTo>
                  <a:cubicBezTo>
                    <a:pt x="134" y="211"/>
                    <a:pt x="133" y="216"/>
                    <a:pt x="132" y="218"/>
                  </a:cubicBezTo>
                  <a:moveTo>
                    <a:pt x="120" y="190"/>
                  </a:moveTo>
                  <a:cubicBezTo>
                    <a:pt x="121" y="190"/>
                    <a:pt x="121" y="192"/>
                    <a:pt x="122" y="192"/>
                  </a:cubicBezTo>
                  <a:cubicBezTo>
                    <a:pt x="123" y="192"/>
                    <a:pt x="123" y="192"/>
                    <a:pt x="125" y="199"/>
                  </a:cubicBezTo>
                  <a:cubicBezTo>
                    <a:pt x="127" y="206"/>
                    <a:pt x="126" y="206"/>
                    <a:pt x="126" y="206"/>
                  </a:cubicBezTo>
                  <a:cubicBezTo>
                    <a:pt x="124" y="205"/>
                    <a:pt x="125" y="204"/>
                    <a:pt x="125" y="202"/>
                  </a:cubicBezTo>
                  <a:cubicBezTo>
                    <a:pt x="125" y="202"/>
                    <a:pt x="125" y="201"/>
                    <a:pt x="125" y="200"/>
                  </a:cubicBezTo>
                  <a:cubicBezTo>
                    <a:pt x="124" y="198"/>
                    <a:pt x="122" y="198"/>
                    <a:pt x="120" y="198"/>
                  </a:cubicBezTo>
                  <a:cubicBezTo>
                    <a:pt x="118" y="198"/>
                    <a:pt x="119" y="197"/>
                    <a:pt x="118" y="195"/>
                  </a:cubicBezTo>
                  <a:cubicBezTo>
                    <a:pt x="117" y="192"/>
                    <a:pt x="116" y="190"/>
                    <a:pt x="114" y="191"/>
                  </a:cubicBezTo>
                  <a:cubicBezTo>
                    <a:pt x="113" y="191"/>
                    <a:pt x="112" y="192"/>
                    <a:pt x="111" y="192"/>
                  </a:cubicBezTo>
                  <a:cubicBezTo>
                    <a:pt x="111" y="193"/>
                    <a:pt x="111" y="192"/>
                    <a:pt x="110" y="192"/>
                  </a:cubicBezTo>
                  <a:cubicBezTo>
                    <a:pt x="109" y="191"/>
                    <a:pt x="109" y="191"/>
                    <a:pt x="109" y="190"/>
                  </a:cubicBezTo>
                  <a:cubicBezTo>
                    <a:pt x="110" y="188"/>
                    <a:pt x="120" y="190"/>
                    <a:pt x="120" y="190"/>
                  </a:cubicBezTo>
                  <a:moveTo>
                    <a:pt x="117" y="187"/>
                  </a:moveTo>
                  <a:cubicBezTo>
                    <a:pt x="117" y="188"/>
                    <a:pt x="117" y="188"/>
                    <a:pt x="117" y="187"/>
                  </a:cubicBezTo>
                  <a:cubicBezTo>
                    <a:pt x="117" y="187"/>
                    <a:pt x="116" y="187"/>
                    <a:pt x="116" y="187"/>
                  </a:cubicBezTo>
                  <a:cubicBezTo>
                    <a:pt x="116" y="186"/>
                    <a:pt x="116" y="186"/>
                    <a:pt x="117" y="187"/>
                  </a:cubicBezTo>
                  <a:moveTo>
                    <a:pt x="118" y="186"/>
                  </a:moveTo>
                  <a:cubicBezTo>
                    <a:pt x="119" y="186"/>
                    <a:pt x="119" y="186"/>
                    <a:pt x="119" y="186"/>
                  </a:cubicBezTo>
                  <a:cubicBezTo>
                    <a:pt x="119" y="186"/>
                    <a:pt x="119" y="186"/>
                    <a:pt x="118" y="186"/>
                  </a:cubicBezTo>
                  <a:cubicBezTo>
                    <a:pt x="118" y="186"/>
                    <a:pt x="118" y="186"/>
                    <a:pt x="118" y="186"/>
                  </a:cubicBezTo>
                  <a:moveTo>
                    <a:pt x="125" y="187"/>
                  </a:moveTo>
                  <a:cubicBezTo>
                    <a:pt x="125" y="188"/>
                    <a:pt x="123" y="188"/>
                    <a:pt x="122" y="187"/>
                  </a:cubicBezTo>
                  <a:cubicBezTo>
                    <a:pt x="122" y="187"/>
                    <a:pt x="122" y="187"/>
                    <a:pt x="122" y="186"/>
                  </a:cubicBezTo>
                  <a:cubicBezTo>
                    <a:pt x="123" y="185"/>
                    <a:pt x="123" y="185"/>
                    <a:pt x="123" y="185"/>
                  </a:cubicBezTo>
                  <a:cubicBezTo>
                    <a:pt x="124" y="186"/>
                    <a:pt x="125" y="187"/>
                    <a:pt x="125" y="187"/>
                  </a:cubicBezTo>
                  <a:moveTo>
                    <a:pt x="126" y="194"/>
                  </a:moveTo>
                  <a:cubicBezTo>
                    <a:pt x="126" y="195"/>
                    <a:pt x="126" y="195"/>
                    <a:pt x="126" y="195"/>
                  </a:cubicBezTo>
                  <a:cubicBezTo>
                    <a:pt x="126" y="195"/>
                    <a:pt x="125" y="195"/>
                    <a:pt x="125" y="194"/>
                  </a:cubicBezTo>
                  <a:cubicBezTo>
                    <a:pt x="125" y="194"/>
                    <a:pt x="125" y="192"/>
                    <a:pt x="126" y="194"/>
                  </a:cubicBezTo>
                  <a:moveTo>
                    <a:pt x="113" y="187"/>
                  </a:moveTo>
                  <a:cubicBezTo>
                    <a:pt x="112" y="188"/>
                    <a:pt x="110" y="187"/>
                    <a:pt x="110" y="186"/>
                  </a:cubicBezTo>
                  <a:cubicBezTo>
                    <a:pt x="110" y="185"/>
                    <a:pt x="110" y="185"/>
                    <a:pt x="110" y="185"/>
                  </a:cubicBezTo>
                  <a:cubicBezTo>
                    <a:pt x="111" y="185"/>
                    <a:pt x="111" y="185"/>
                    <a:pt x="112" y="185"/>
                  </a:cubicBezTo>
                  <a:cubicBezTo>
                    <a:pt x="113" y="185"/>
                    <a:pt x="114" y="186"/>
                    <a:pt x="114" y="186"/>
                  </a:cubicBezTo>
                  <a:cubicBezTo>
                    <a:pt x="114" y="187"/>
                    <a:pt x="114" y="187"/>
                    <a:pt x="113" y="187"/>
                  </a:cubicBezTo>
                  <a:moveTo>
                    <a:pt x="113" y="182"/>
                  </a:moveTo>
                  <a:cubicBezTo>
                    <a:pt x="113" y="182"/>
                    <a:pt x="111" y="182"/>
                    <a:pt x="110" y="182"/>
                  </a:cubicBezTo>
                  <a:cubicBezTo>
                    <a:pt x="108" y="182"/>
                    <a:pt x="109" y="177"/>
                    <a:pt x="109" y="175"/>
                  </a:cubicBezTo>
                  <a:cubicBezTo>
                    <a:pt x="109" y="175"/>
                    <a:pt x="110" y="175"/>
                    <a:pt x="110" y="175"/>
                  </a:cubicBezTo>
                  <a:cubicBezTo>
                    <a:pt x="110" y="175"/>
                    <a:pt x="112" y="180"/>
                    <a:pt x="113" y="181"/>
                  </a:cubicBezTo>
                  <a:cubicBezTo>
                    <a:pt x="113" y="181"/>
                    <a:pt x="113" y="181"/>
                    <a:pt x="113" y="182"/>
                  </a:cubicBezTo>
                  <a:moveTo>
                    <a:pt x="130" y="195"/>
                  </a:moveTo>
                  <a:cubicBezTo>
                    <a:pt x="131" y="206"/>
                    <a:pt x="131" y="206"/>
                    <a:pt x="131" y="206"/>
                  </a:cubicBezTo>
                  <a:cubicBezTo>
                    <a:pt x="127" y="201"/>
                    <a:pt x="127" y="201"/>
                    <a:pt x="127" y="201"/>
                  </a:cubicBezTo>
                  <a:lnTo>
                    <a:pt x="130" y="195"/>
                  </a:lnTo>
                  <a:close/>
                  <a:moveTo>
                    <a:pt x="129" y="186"/>
                  </a:moveTo>
                  <a:cubicBezTo>
                    <a:pt x="129" y="186"/>
                    <a:pt x="129" y="186"/>
                    <a:pt x="130" y="185"/>
                  </a:cubicBezTo>
                  <a:cubicBezTo>
                    <a:pt x="130" y="185"/>
                    <a:pt x="131" y="186"/>
                    <a:pt x="131" y="186"/>
                  </a:cubicBezTo>
                  <a:cubicBezTo>
                    <a:pt x="131" y="187"/>
                    <a:pt x="131" y="188"/>
                    <a:pt x="130" y="188"/>
                  </a:cubicBezTo>
                  <a:cubicBezTo>
                    <a:pt x="129" y="188"/>
                    <a:pt x="129" y="188"/>
                    <a:pt x="129" y="187"/>
                  </a:cubicBezTo>
                  <a:cubicBezTo>
                    <a:pt x="128" y="187"/>
                    <a:pt x="128" y="187"/>
                    <a:pt x="129" y="186"/>
                  </a:cubicBezTo>
                  <a:moveTo>
                    <a:pt x="138" y="194"/>
                  </a:moveTo>
                  <a:cubicBezTo>
                    <a:pt x="138" y="193"/>
                    <a:pt x="139" y="193"/>
                    <a:pt x="139" y="193"/>
                  </a:cubicBezTo>
                  <a:cubicBezTo>
                    <a:pt x="140" y="193"/>
                    <a:pt x="140" y="194"/>
                    <a:pt x="140" y="194"/>
                  </a:cubicBezTo>
                  <a:cubicBezTo>
                    <a:pt x="140" y="196"/>
                    <a:pt x="142" y="201"/>
                    <a:pt x="142" y="202"/>
                  </a:cubicBezTo>
                  <a:cubicBezTo>
                    <a:pt x="143" y="204"/>
                    <a:pt x="140" y="218"/>
                    <a:pt x="140" y="218"/>
                  </a:cubicBezTo>
                  <a:cubicBezTo>
                    <a:pt x="141" y="218"/>
                    <a:pt x="141" y="218"/>
                    <a:pt x="141" y="218"/>
                  </a:cubicBezTo>
                  <a:cubicBezTo>
                    <a:pt x="143" y="216"/>
                    <a:pt x="145" y="209"/>
                    <a:pt x="145" y="207"/>
                  </a:cubicBezTo>
                  <a:cubicBezTo>
                    <a:pt x="145" y="206"/>
                    <a:pt x="145" y="205"/>
                    <a:pt x="145" y="204"/>
                  </a:cubicBezTo>
                  <a:cubicBezTo>
                    <a:pt x="146" y="204"/>
                    <a:pt x="148" y="205"/>
                    <a:pt x="148" y="206"/>
                  </a:cubicBezTo>
                  <a:cubicBezTo>
                    <a:pt x="148" y="207"/>
                    <a:pt x="147" y="208"/>
                    <a:pt x="147" y="209"/>
                  </a:cubicBezTo>
                  <a:cubicBezTo>
                    <a:pt x="147" y="210"/>
                    <a:pt x="147" y="211"/>
                    <a:pt x="146" y="212"/>
                  </a:cubicBezTo>
                  <a:cubicBezTo>
                    <a:pt x="146" y="215"/>
                    <a:pt x="145" y="215"/>
                    <a:pt x="143" y="217"/>
                  </a:cubicBezTo>
                  <a:cubicBezTo>
                    <a:pt x="143" y="218"/>
                    <a:pt x="143" y="220"/>
                    <a:pt x="142" y="221"/>
                  </a:cubicBezTo>
                  <a:cubicBezTo>
                    <a:pt x="142" y="221"/>
                    <a:pt x="142" y="222"/>
                    <a:pt x="141" y="222"/>
                  </a:cubicBezTo>
                  <a:cubicBezTo>
                    <a:pt x="141" y="223"/>
                    <a:pt x="140" y="223"/>
                    <a:pt x="140" y="222"/>
                  </a:cubicBezTo>
                  <a:cubicBezTo>
                    <a:pt x="140" y="222"/>
                    <a:pt x="140" y="222"/>
                    <a:pt x="140" y="221"/>
                  </a:cubicBezTo>
                  <a:cubicBezTo>
                    <a:pt x="140" y="220"/>
                    <a:pt x="140" y="220"/>
                    <a:pt x="139" y="220"/>
                  </a:cubicBezTo>
                  <a:cubicBezTo>
                    <a:pt x="139" y="219"/>
                    <a:pt x="139" y="208"/>
                    <a:pt x="139" y="207"/>
                  </a:cubicBezTo>
                  <a:cubicBezTo>
                    <a:pt x="139" y="207"/>
                    <a:pt x="139" y="206"/>
                    <a:pt x="139" y="206"/>
                  </a:cubicBezTo>
                  <a:cubicBezTo>
                    <a:pt x="140" y="205"/>
                    <a:pt x="138" y="197"/>
                    <a:pt x="138" y="194"/>
                  </a:cubicBezTo>
                  <a:moveTo>
                    <a:pt x="138" y="219"/>
                  </a:moveTo>
                  <a:cubicBezTo>
                    <a:pt x="137" y="220"/>
                    <a:pt x="136" y="223"/>
                    <a:pt x="135" y="223"/>
                  </a:cubicBezTo>
                  <a:cubicBezTo>
                    <a:pt x="134" y="223"/>
                    <a:pt x="134" y="223"/>
                    <a:pt x="133" y="223"/>
                  </a:cubicBezTo>
                  <a:cubicBezTo>
                    <a:pt x="133" y="222"/>
                    <a:pt x="133" y="222"/>
                    <a:pt x="134" y="221"/>
                  </a:cubicBezTo>
                  <a:cubicBezTo>
                    <a:pt x="134" y="220"/>
                    <a:pt x="135" y="220"/>
                    <a:pt x="135" y="219"/>
                  </a:cubicBezTo>
                  <a:cubicBezTo>
                    <a:pt x="135" y="219"/>
                    <a:pt x="135" y="219"/>
                    <a:pt x="136" y="218"/>
                  </a:cubicBezTo>
                  <a:cubicBezTo>
                    <a:pt x="138" y="218"/>
                    <a:pt x="138" y="218"/>
                    <a:pt x="138" y="219"/>
                  </a:cubicBezTo>
                  <a:moveTo>
                    <a:pt x="133" y="185"/>
                  </a:moveTo>
                  <a:cubicBezTo>
                    <a:pt x="134" y="185"/>
                    <a:pt x="136" y="186"/>
                    <a:pt x="136" y="187"/>
                  </a:cubicBezTo>
                  <a:cubicBezTo>
                    <a:pt x="136" y="187"/>
                    <a:pt x="136" y="188"/>
                    <a:pt x="136" y="188"/>
                  </a:cubicBezTo>
                  <a:cubicBezTo>
                    <a:pt x="135" y="188"/>
                    <a:pt x="135" y="188"/>
                    <a:pt x="135" y="188"/>
                  </a:cubicBezTo>
                  <a:cubicBezTo>
                    <a:pt x="134" y="188"/>
                    <a:pt x="134" y="187"/>
                    <a:pt x="134" y="187"/>
                  </a:cubicBezTo>
                  <a:cubicBezTo>
                    <a:pt x="133" y="186"/>
                    <a:pt x="133" y="186"/>
                    <a:pt x="133" y="185"/>
                  </a:cubicBezTo>
                  <a:moveTo>
                    <a:pt x="133" y="200"/>
                  </a:moveTo>
                  <a:cubicBezTo>
                    <a:pt x="133" y="200"/>
                    <a:pt x="134" y="196"/>
                    <a:pt x="134" y="196"/>
                  </a:cubicBezTo>
                  <a:cubicBezTo>
                    <a:pt x="134" y="196"/>
                    <a:pt x="135" y="197"/>
                    <a:pt x="135" y="197"/>
                  </a:cubicBezTo>
                  <a:cubicBezTo>
                    <a:pt x="136" y="197"/>
                    <a:pt x="136" y="197"/>
                    <a:pt x="137" y="197"/>
                  </a:cubicBezTo>
                  <a:cubicBezTo>
                    <a:pt x="137" y="198"/>
                    <a:pt x="137" y="198"/>
                    <a:pt x="136" y="205"/>
                  </a:cubicBezTo>
                  <a:cubicBezTo>
                    <a:pt x="135" y="211"/>
                    <a:pt x="135" y="211"/>
                    <a:pt x="134" y="210"/>
                  </a:cubicBezTo>
                  <a:cubicBezTo>
                    <a:pt x="134" y="210"/>
                    <a:pt x="134" y="209"/>
                    <a:pt x="133" y="208"/>
                  </a:cubicBezTo>
                  <a:cubicBezTo>
                    <a:pt x="133" y="208"/>
                    <a:pt x="132" y="207"/>
                    <a:pt x="131" y="207"/>
                  </a:cubicBezTo>
                  <a:cubicBezTo>
                    <a:pt x="131" y="206"/>
                    <a:pt x="131" y="202"/>
                    <a:pt x="132" y="201"/>
                  </a:cubicBezTo>
                  <a:cubicBezTo>
                    <a:pt x="132" y="201"/>
                    <a:pt x="133" y="201"/>
                    <a:pt x="133" y="200"/>
                  </a:cubicBezTo>
                  <a:moveTo>
                    <a:pt x="127" y="174"/>
                  </a:moveTo>
                  <a:cubicBezTo>
                    <a:pt x="128" y="173"/>
                    <a:pt x="129" y="173"/>
                    <a:pt x="130" y="173"/>
                  </a:cubicBezTo>
                  <a:cubicBezTo>
                    <a:pt x="132" y="173"/>
                    <a:pt x="133" y="174"/>
                    <a:pt x="132" y="176"/>
                  </a:cubicBezTo>
                  <a:cubicBezTo>
                    <a:pt x="131" y="177"/>
                    <a:pt x="131" y="176"/>
                    <a:pt x="130" y="175"/>
                  </a:cubicBezTo>
                  <a:cubicBezTo>
                    <a:pt x="129" y="175"/>
                    <a:pt x="129" y="176"/>
                    <a:pt x="129" y="176"/>
                  </a:cubicBezTo>
                  <a:cubicBezTo>
                    <a:pt x="129" y="177"/>
                    <a:pt x="130" y="178"/>
                    <a:pt x="130" y="180"/>
                  </a:cubicBezTo>
                  <a:cubicBezTo>
                    <a:pt x="131" y="180"/>
                    <a:pt x="131" y="181"/>
                    <a:pt x="130" y="182"/>
                  </a:cubicBezTo>
                  <a:cubicBezTo>
                    <a:pt x="130" y="182"/>
                    <a:pt x="130" y="182"/>
                    <a:pt x="130" y="182"/>
                  </a:cubicBezTo>
                  <a:cubicBezTo>
                    <a:pt x="128" y="181"/>
                    <a:pt x="128" y="180"/>
                    <a:pt x="127" y="178"/>
                  </a:cubicBezTo>
                  <a:cubicBezTo>
                    <a:pt x="126" y="177"/>
                    <a:pt x="126" y="177"/>
                    <a:pt x="125" y="178"/>
                  </a:cubicBezTo>
                  <a:cubicBezTo>
                    <a:pt x="124" y="178"/>
                    <a:pt x="125" y="180"/>
                    <a:pt x="126" y="181"/>
                  </a:cubicBezTo>
                  <a:cubicBezTo>
                    <a:pt x="126" y="182"/>
                    <a:pt x="126" y="182"/>
                    <a:pt x="126" y="182"/>
                  </a:cubicBezTo>
                  <a:cubicBezTo>
                    <a:pt x="125" y="183"/>
                    <a:pt x="124" y="182"/>
                    <a:pt x="124" y="182"/>
                  </a:cubicBezTo>
                  <a:cubicBezTo>
                    <a:pt x="123" y="181"/>
                    <a:pt x="123" y="180"/>
                    <a:pt x="123" y="180"/>
                  </a:cubicBezTo>
                  <a:cubicBezTo>
                    <a:pt x="122" y="180"/>
                    <a:pt x="122" y="180"/>
                    <a:pt x="122" y="180"/>
                  </a:cubicBezTo>
                  <a:cubicBezTo>
                    <a:pt x="121" y="180"/>
                    <a:pt x="122" y="182"/>
                    <a:pt x="121" y="183"/>
                  </a:cubicBezTo>
                  <a:cubicBezTo>
                    <a:pt x="121" y="183"/>
                    <a:pt x="121" y="183"/>
                    <a:pt x="121" y="183"/>
                  </a:cubicBezTo>
                  <a:cubicBezTo>
                    <a:pt x="119" y="184"/>
                    <a:pt x="118" y="183"/>
                    <a:pt x="117" y="182"/>
                  </a:cubicBezTo>
                  <a:cubicBezTo>
                    <a:pt x="112" y="178"/>
                    <a:pt x="113" y="176"/>
                    <a:pt x="111" y="170"/>
                  </a:cubicBezTo>
                  <a:cubicBezTo>
                    <a:pt x="111" y="169"/>
                    <a:pt x="110" y="168"/>
                    <a:pt x="110" y="167"/>
                  </a:cubicBezTo>
                  <a:cubicBezTo>
                    <a:pt x="108" y="164"/>
                    <a:pt x="107" y="159"/>
                    <a:pt x="106" y="157"/>
                  </a:cubicBezTo>
                  <a:cubicBezTo>
                    <a:pt x="106" y="156"/>
                    <a:pt x="105" y="155"/>
                    <a:pt x="105" y="155"/>
                  </a:cubicBezTo>
                  <a:cubicBezTo>
                    <a:pt x="103" y="152"/>
                    <a:pt x="105" y="152"/>
                    <a:pt x="106" y="145"/>
                  </a:cubicBezTo>
                  <a:cubicBezTo>
                    <a:pt x="106" y="144"/>
                    <a:pt x="106" y="143"/>
                    <a:pt x="106" y="142"/>
                  </a:cubicBezTo>
                  <a:cubicBezTo>
                    <a:pt x="106" y="141"/>
                    <a:pt x="106" y="140"/>
                    <a:pt x="106" y="139"/>
                  </a:cubicBezTo>
                  <a:cubicBezTo>
                    <a:pt x="107" y="137"/>
                    <a:pt x="106" y="127"/>
                    <a:pt x="105" y="124"/>
                  </a:cubicBezTo>
                  <a:cubicBezTo>
                    <a:pt x="105" y="122"/>
                    <a:pt x="103" y="120"/>
                    <a:pt x="104" y="119"/>
                  </a:cubicBezTo>
                  <a:cubicBezTo>
                    <a:pt x="105" y="118"/>
                    <a:pt x="105" y="119"/>
                    <a:pt x="106" y="120"/>
                  </a:cubicBezTo>
                  <a:cubicBezTo>
                    <a:pt x="107" y="121"/>
                    <a:pt x="109" y="122"/>
                    <a:pt x="110" y="123"/>
                  </a:cubicBezTo>
                  <a:cubicBezTo>
                    <a:pt x="111" y="124"/>
                    <a:pt x="115" y="131"/>
                    <a:pt x="115" y="133"/>
                  </a:cubicBezTo>
                  <a:cubicBezTo>
                    <a:pt x="116" y="135"/>
                    <a:pt x="116" y="138"/>
                    <a:pt x="116" y="141"/>
                  </a:cubicBezTo>
                  <a:cubicBezTo>
                    <a:pt x="116" y="144"/>
                    <a:pt x="115" y="147"/>
                    <a:pt x="116" y="151"/>
                  </a:cubicBezTo>
                  <a:cubicBezTo>
                    <a:pt x="116" y="153"/>
                    <a:pt x="116" y="156"/>
                    <a:pt x="116" y="156"/>
                  </a:cubicBezTo>
                  <a:cubicBezTo>
                    <a:pt x="116" y="156"/>
                    <a:pt x="116" y="155"/>
                    <a:pt x="117" y="154"/>
                  </a:cubicBezTo>
                  <a:cubicBezTo>
                    <a:pt x="118" y="153"/>
                    <a:pt x="117" y="152"/>
                    <a:pt x="117" y="150"/>
                  </a:cubicBezTo>
                  <a:cubicBezTo>
                    <a:pt x="117" y="149"/>
                    <a:pt x="118" y="148"/>
                    <a:pt x="118" y="146"/>
                  </a:cubicBezTo>
                  <a:cubicBezTo>
                    <a:pt x="118" y="145"/>
                    <a:pt x="118" y="144"/>
                    <a:pt x="118" y="143"/>
                  </a:cubicBezTo>
                  <a:cubicBezTo>
                    <a:pt x="118" y="142"/>
                    <a:pt x="118" y="142"/>
                    <a:pt x="118" y="141"/>
                  </a:cubicBezTo>
                  <a:cubicBezTo>
                    <a:pt x="118" y="140"/>
                    <a:pt x="118" y="137"/>
                    <a:pt x="118" y="135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20" y="134"/>
                    <a:pt x="120" y="136"/>
                    <a:pt x="120" y="138"/>
                  </a:cubicBezTo>
                  <a:cubicBezTo>
                    <a:pt x="120" y="141"/>
                    <a:pt x="121" y="144"/>
                    <a:pt x="120" y="147"/>
                  </a:cubicBezTo>
                  <a:cubicBezTo>
                    <a:pt x="120" y="150"/>
                    <a:pt x="119" y="156"/>
                    <a:pt x="119" y="157"/>
                  </a:cubicBezTo>
                  <a:cubicBezTo>
                    <a:pt x="120" y="159"/>
                    <a:pt x="124" y="165"/>
                    <a:pt x="122" y="169"/>
                  </a:cubicBezTo>
                  <a:cubicBezTo>
                    <a:pt x="121" y="170"/>
                    <a:pt x="120" y="170"/>
                    <a:pt x="119" y="169"/>
                  </a:cubicBezTo>
                  <a:cubicBezTo>
                    <a:pt x="119" y="168"/>
                    <a:pt x="119" y="166"/>
                    <a:pt x="118" y="166"/>
                  </a:cubicBezTo>
                  <a:cubicBezTo>
                    <a:pt x="118" y="165"/>
                    <a:pt x="118" y="165"/>
                    <a:pt x="118" y="165"/>
                  </a:cubicBezTo>
                  <a:cubicBezTo>
                    <a:pt x="117" y="165"/>
                    <a:pt x="117" y="165"/>
                    <a:pt x="117" y="166"/>
                  </a:cubicBezTo>
                  <a:cubicBezTo>
                    <a:pt x="117" y="168"/>
                    <a:pt x="117" y="168"/>
                    <a:pt x="117" y="169"/>
                  </a:cubicBezTo>
                  <a:cubicBezTo>
                    <a:pt x="117" y="170"/>
                    <a:pt x="118" y="170"/>
                    <a:pt x="118" y="171"/>
                  </a:cubicBezTo>
                  <a:cubicBezTo>
                    <a:pt x="120" y="173"/>
                    <a:pt x="123" y="175"/>
                    <a:pt x="127" y="174"/>
                  </a:cubicBezTo>
                  <a:moveTo>
                    <a:pt x="123" y="117"/>
                  </a:moveTo>
                  <a:cubicBezTo>
                    <a:pt x="123" y="117"/>
                    <a:pt x="122" y="118"/>
                    <a:pt x="122" y="116"/>
                  </a:cubicBezTo>
                  <a:cubicBezTo>
                    <a:pt x="122" y="116"/>
                    <a:pt x="122" y="114"/>
                    <a:pt x="122" y="113"/>
                  </a:cubicBezTo>
                  <a:cubicBezTo>
                    <a:pt x="123" y="112"/>
                    <a:pt x="124" y="110"/>
                    <a:pt x="125" y="111"/>
                  </a:cubicBezTo>
                  <a:cubicBezTo>
                    <a:pt x="126" y="111"/>
                    <a:pt x="126" y="112"/>
                    <a:pt x="126" y="113"/>
                  </a:cubicBezTo>
                  <a:cubicBezTo>
                    <a:pt x="126" y="114"/>
                    <a:pt x="124" y="117"/>
                    <a:pt x="123" y="117"/>
                  </a:cubicBezTo>
                  <a:moveTo>
                    <a:pt x="126" y="118"/>
                  </a:moveTo>
                  <a:cubicBezTo>
                    <a:pt x="126" y="118"/>
                    <a:pt x="126" y="118"/>
                    <a:pt x="125" y="118"/>
                  </a:cubicBezTo>
                  <a:cubicBezTo>
                    <a:pt x="125" y="117"/>
                    <a:pt x="125" y="117"/>
                    <a:pt x="125" y="116"/>
                  </a:cubicBezTo>
                  <a:cubicBezTo>
                    <a:pt x="125" y="116"/>
                    <a:pt x="125" y="115"/>
                    <a:pt x="126" y="115"/>
                  </a:cubicBezTo>
                  <a:cubicBezTo>
                    <a:pt x="126" y="115"/>
                    <a:pt x="127" y="115"/>
                    <a:pt x="127" y="116"/>
                  </a:cubicBezTo>
                  <a:cubicBezTo>
                    <a:pt x="127" y="116"/>
                    <a:pt x="127" y="118"/>
                    <a:pt x="126" y="118"/>
                  </a:cubicBezTo>
                  <a:moveTo>
                    <a:pt x="129" y="113"/>
                  </a:moveTo>
                  <a:cubicBezTo>
                    <a:pt x="128" y="114"/>
                    <a:pt x="127" y="114"/>
                    <a:pt x="127" y="113"/>
                  </a:cubicBezTo>
                  <a:cubicBezTo>
                    <a:pt x="127" y="112"/>
                    <a:pt x="128" y="111"/>
                    <a:pt x="128" y="111"/>
                  </a:cubicBezTo>
                  <a:cubicBezTo>
                    <a:pt x="129" y="112"/>
                    <a:pt x="129" y="112"/>
                    <a:pt x="129" y="112"/>
                  </a:cubicBezTo>
                  <a:cubicBezTo>
                    <a:pt x="129" y="113"/>
                    <a:pt x="129" y="113"/>
                    <a:pt x="129" y="113"/>
                  </a:cubicBezTo>
                  <a:moveTo>
                    <a:pt x="132" y="104"/>
                  </a:moveTo>
                  <a:cubicBezTo>
                    <a:pt x="131" y="105"/>
                    <a:pt x="129" y="108"/>
                    <a:pt x="128" y="109"/>
                  </a:cubicBezTo>
                  <a:cubicBezTo>
                    <a:pt x="128" y="109"/>
                    <a:pt x="126" y="109"/>
                    <a:pt x="126" y="108"/>
                  </a:cubicBezTo>
                  <a:cubicBezTo>
                    <a:pt x="126" y="107"/>
                    <a:pt x="126" y="107"/>
                    <a:pt x="126" y="106"/>
                  </a:cubicBezTo>
                  <a:cubicBezTo>
                    <a:pt x="127" y="106"/>
                    <a:pt x="127" y="106"/>
                    <a:pt x="127" y="106"/>
                  </a:cubicBezTo>
                  <a:cubicBezTo>
                    <a:pt x="128" y="104"/>
                    <a:pt x="131" y="100"/>
                    <a:pt x="131" y="100"/>
                  </a:cubicBezTo>
                  <a:cubicBezTo>
                    <a:pt x="132" y="100"/>
                    <a:pt x="132" y="103"/>
                    <a:pt x="132" y="104"/>
                  </a:cubicBezTo>
                  <a:moveTo>
                    <a:pt x="132" y="87"/>
                  </a:moveTo>
                  <a:cubicBezTo>
                    <a:pt x="133" y="88"/>
                    <a:pt x="132" y="90"/>
                    <a:pt x="131" y="91"/>
                  </a:cubicBezTo>
                  <a:cubicBezTo>
                    <a:pt x="130" y="91"/>
                    <a:pt x="130" y="91"/>
                    <a:pt x="130" y="91"/>
                  </a:cubicBezTo>
                  <a:cubicBezTo>
                    <a:pt x="130" y="93"/>
                    <a:pt x="132" y="92"/>
                    <a:pt x="133" y="91"/>
                  </a:cubicBezTo>
                  <a:cubicBezTo>
                    <a:pt x="134" y="91"/>
                    <a:pt x="134" y="91"/>
                    <a:pt x="134" y="92"/>
                  </a:cubicBezTo>
                  <a:cubicBezTo>
                    <a:pt x="134" y="92"/>
                    <a:pt x="134" y="92"/>
                    <a:pt x="133" y="93"/>
                  </a:cubicBezTo>
                  <a:cubicBezTo>
                    <a:pt x="133" y="93"/>
                    <a:pt x="132" y="94"/>
                    <a:pt x="131" y="95"/>
                  </a:cubicBezTo>
                  <a:cubicBezTo>
                    <a:pt x="130" y="95"/>
                    <a:pt x="128" y="94"/>
                    <a:pt x="127" y="94"/>
                  </a:cubicBezTo>
                  <a:cubicBezTo>
                    <a:pt x="125" y="92"/>
                    <a:pt x="127" y="89"/>
                    <a:pt x="129" y="87"/>
                  </a:cubicBezTo>
                  <a:cubicBezTo>
                    <a:pt x="130" y="86"/>
                    <a:pt x="132" y="85"/>
                    <a:pt x="132" y="87"/>
                  </a:cubicBezTo>
                  <a:moveTo>
                    <a:pt x="131" y="80"/>
                  </a:moveTo>
                  <a:cubicBezTo>
                    <a:pt x="131" y="80"/>
                    <a:pt x="130" y="80"/>
                    <a:pt x="129" y="80"/>
                  </a:cubicBezTo>
                  <a:cubicBezTo>
                    <a:pt x="128" y="79"/>
                    <a:pt x="129" y="78"/>
                    <a:pt x="128" y="77"/>
                  </a:cubicBezTo>
                  <a:cubicBezTo>
                    <a:pt x="128" y="76"/>
                    <a:pt x="127" y="76"/>
                    <a:pt x="125" y="75"/>
                  </a:cubicBezTo>
                  <a:cubicBezTo>
                    <a:pt x="125" y="74"/>
                    <a:pt x="124" y="73"/>
                    <a:pt x="124" y="73"/>
                  </a:cubicBezTo>
                  <a:cubicBezTo>
                    <a:pt x="124" y="72"/>
                    <a:pt x="124" y="71"/>
                    <a:pt x="124" y="71"/>
                  </a:cubicBezTo>
                  <a:cubicBezTo>
                    <a:pt x="125" y="70"/>
                    <a:pt x="124" y="69"/>
                    <a:pt x="124" y="68"/>
                  </a:cubicBezTo>
                  <a:cubicBezTo>
                    <a:pt x="124" y="68"/>
                    <a:pt x="125" y="68"/>
                    <a:pt x="125" y="67"/>
                  </a:cubicBezTo>
                  <a:cubicBezTo>
                    <a:pt x="126" y="67"/>
                    <a:pt x="128" y="66"/>
                    <a:pt x="128" y="67"/>
                  </a:cubicBezTo>
                  <a:cubicBezTo>
                    <a:pt x="128" y="67"/>
                    <a:pt x="128" y="68"/>
                    <a:pt x="128" y="68"/>
                  </a:cubicBezTo>
                  <a:cubicBezTo>
                    <a:pt x="128" y="69"/>
                    <a:pt x="126" y="71"/>
                    <a:pt x="126" y="72"/>
                  </a:cubicBezTo>
                  <a:cubicBezTo>
                    <a:pt x="126" y="73"/>
                    <a:pt x="126" y="74"/>
                    <a:pt x="127" y="75"/>
                  </a:cubicBezTo>
                  <a:cubicBezTo>
                    <a:pt x="127" y="75"/>
                    <a:pt x="129" y="75"/>
                    <a:pt x="129" y="75"/>
                  </a:cubicBezTo>
                  <a:cubicBezTo>
                    <a:pt x="130" y="76"/>
                    <a:pt x="130" y="77"/>
                    <a:pt x="130" y="78"/>
                  </a:cubicBezTo>
                  <a:cubicBezTo>
                    <a:pt x="130" y="79"/>
                    <a:pt x="131" y="79"/>
                    <a:pt x="131" y="80"/>
                  </a:cubicBezTo>
                  <a:moveTo>
                    <a:pt x="143" y="63"/>
                  </a:moveTo>
                  <a:cubicBezTo>
                    <a:pt x="143" y="64"/>
                    <a:pt x="142" y="67"/>
                    <a:pt x="142" y="67"/>
                  </a:cubicBezTo>
                  <a:cubicBezTo>
                    <a:pt x="140" y="68"/>
                    <a:pt x="140" y="66"/>
                    <a:pt x="138" y="65"/>
                  </a:cubicBezTo>
                  <a:cubicBezTo>
                    <a:pt x="137" y="64"/>
                    <a:pt x="135" y="64"/>
                    <a:pt x="135" y="64"/>
                  </a:cubicBezTo>
                  <a:cubicBezTo>
                    <a:pt x="135" y="64"/>
                    <a:pt x="134" y="63"/>
                    <a:pt x="135" y="63"/>
                  </a:cubicBezTo>
                  <a:cubicBezTo>
                    <a:pt x="136" y="62"/>
                    <a:pt x="137" y="61"/>
                    <a:pt x="138" y="62"/>
                  </a:cubicBezTo>
                  <a:cubicBezTo>
                    <a:pt x="139" y="62"/>
                    <a:pt x="139" y="62"/>
                    <a:pt x="140" y="62"/>
                  </a:cubicBezTo>
                  <a:cubicBezTo>
                    <a:pt x="140" y="62"/>
                    <a:pt x="141" y="62"/>
                    <a:pt x="141" y="62"/>
                  </a:cubicBezTo>
                  <a:cubicBezTo>
                    <a:pt x="142" y="62"/>
                    <a:pt x="142" y="62"/>
                    <a:pt x="142" y="62"/>
                  </a:cubicBezTo>
                  <a:cubicBezTo>
                    <a:pt x="143" y="62"/>
                    <a:pt x="143" y="63"/>
                    <a:pt x="143" y="63"/>
                  </a:cubicBezTo>
                  <a:moveTo>
                    <a:pt x="139" y="57"/>
                  </a:moveTo>
                  <a:cubicBezTo>
                    <a:pt x="139" y="56"/>
                    <a:pt x="140" y="56"/>
                    <a:pt x="140" y="56"/>
                  </a:cubicBezTo>
                  <a:cubicBezTo>
                    <a:pt x="140" y="56"/>
                    <a:pt x="140" y="56"/>
                    <a:pt x="140" y="57"/>
                  </a:cubicBezTo>
                  <a:cubicBezTo>
                    <a:pt x="141" y="58"/>
                    <a:pt x="141" y="58"/>
                    <a:pt x="141" y="60"/>
                  </a:cubicBezTo>
                  <a:cubicBezTo>
                    <a:pt x="141" y="60"/>
                    <a:pt x="140" y="60"/>
                    <a:pt x="140" y="60"/>
                  </a:cubicBezTo>
                  <a:cubicBezTo>
                    <a:pt x="140" y="59"/>
                    <a:pt x="139" y="59"/>
                    <a:pt x="139" y="57"/>
                  </a:cubicBezTo>
                  <a:moveTo>
                    <a:pt x="148" y="50"/>
                  </a:moveTo>
                  <a:cubicBezTo>
                    <a:pt x="148" y="50"/>
                    <a:pt x="148" y="50"/>
                    <a:pt x="148" y="50"/>
                  </a:cubicBezTo>
                  <a:cubicBezTo>
                    <a:pt x="147" y="52"/>
                    <a:pt x="148" y="52"/>
                    <a:pt x="147" y="52"/>
                  </a:cubicBezTo>
                  <a:cubicBezTo>
                    <a:pt x="145" y="53"/>
                    <a:pt x="145" y="52"/>
                    <a:pt x="145" y="52"/>
                  </a:cubicBezTo>
                  <a:cubicBezTo>
                    <a:pt x="144" y="50"/>
                    <a:pt x="144" y="48"/>
                    <a:pt x="143" y="48"/>
                  </a:cubicBezTo>
                  <a:cubicBezTo>
                    <a:pt x="142" y="48"/>
                    <a:pt x="142" y="48"/>
                    <a:pt x="142" y="49"/>
                  </a:cubicBezTo>
                  <a:cubicBezTo>
                    <a:pt x="142" y="49"/>
                    <a:pt x="142" y="49"/>
                    <a:pt x="141" y="51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8" y="52"/>
                    <a:pt x="135" y="51"/>
                    <a:pt x="133" y="50"/>
                  </a:cubicBezTo>
                  <a:cubicBezTo>
                    <a:pt x="132" y="50"/>
                    <a:pt x="135" y="53"/>
                    <a:pt x="137" y="53"/>
                  </a:cubicBezTo>
                  <a:cubicBezTo>
                    <a:pt x="138" y="52"/>
                    <a:pt x="137" y="55"/>
                    <a:pt x="138" y="55"/>
                  </a:cubicBezTo>
                  <a:cubicBezTo>
                    <a:pt x="135" y="58"/>
                    <a:pt x="135" y="58"/>
                    <a:pt x="135" y="59"/>
                  </a:cubicBezTo>
                  <a:cubicBezTo>
                    <a:pt x="135" y="59"/>
                    <a:pt x="134" y="59"/>
                    <a:pt x="134" y="60"/>
                  </a:cubicBezTo>
                  <a:cubicBezTo>
                    <a:pt x="133" y="62"/>
                    <a:pt x="131" y="63"/>
                    <a:pt x="132" y="64"/>
                  </a:cubicBezTo>
                  <a:cubicBezTo>
                    <a:pt x="132" y="67"/>
                    <a:pt x="134" y="66"/>
                    <a:pt x="136" y="67"/>
                  </a:cubicBezTo>
                  <a:cubicBezTo>
                    <a:pt x="137" y="67"/>
                    <a:pt x="138" y="68"/>
                    <a:pt x="139" y="69"/>
                  </a:cubicBezTo>
                  <a:cubicBezTo>
                    <a:pt x="140" y="70"/>
                    <a:pt x="140" y="72"/>
                    <a:pt x="139" y="73"/>
                  </a:cubicBezTo>
                  <a:cubicBezTo>
                    <a:pt x="136" y="75"/>
                    <a:pt x="135" y="70"/>
                    <a:pt x="134" y="69"/>
                  </a:cubicBezTo>
                  <a:cubicBezTo>
                    <a:pt x="133" y="68"/>
                    <a:pt x="132" y="68"/>
                    <a:pt x="132" y="67"/>
                  </a:cubicBezTo>
                  <a:cubicBezTo>
                    <a:pt x="131" y="66"/>
                    <a:pt x="130" y="64"/>
                    <a:pt x="131" y="62"/>
                  </a:cubicBezTo>
                  <a:cubicBezTo>
                    <a:pt x="131" y="62"/>
                    <a:pt x="131" y="61"/>
                    <a:pt x="131" y="60"/>
                  </a:cubicBezTo>
                  <a:cubicBezTo>
                    <a:pt x="131" y="59"/>
                    <a:pt x="130" y="56"/>
                    <a:pt x="129" y="55"/>
                  </a:cubicBezTo>
                  <a:cubicBezTo>
                    <a:pt x="129" y="54"/>
                    <a:pt x="131" y="48"/>
                    <a:pt x="131" y="48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4" y="45"/>
                    <a:pt x="135" y="46"/>
                    <a:pt x="137" y="48"/>
                  </a:cubicBezTo>
                  <a:cubicBezTo>
                    <a:pt x="137" y="48"/>
                    <a:pt x="137" y="48"/>
                    <a:pt x="138" y="48"/>
                  </a:cubicBezTo>
                  <a:cubicBezTo>
                    <a:pt x="139" y="47"/>
                    <a:pt x="140" y="47"/>
                    <a:pt x="142" y="46"/>
                  </a:cubicBezTo>
                  <a:cubicBezTo>
                    <a:pt x="142" y="46"/>
                    <a:pt x="143" y="45"/>
                    <a:pt x="143" y="45"/>
                  </a:cubicBezTo>
                  <a:cubicBezTo>
                    <a:pt x="143" y="45"/>
                    <a:pt x="143" y="47"/>
                    <a:pt x="144" y="48"/>
                  </a:cubicBezTo>
                  <a:cubicBezTo>
                    <a:pt x="144" y="49"/>
                    <a:pt x="145" y="49"/>
                    <a:pt x="146" y="48"/>
                  </a:cubicBezTo>
                  <a:cubicBezTo>
                    <a:pt x="147" y="48"/>
                    <a:pt x="148" y="47"/>
                    <a:pt x="149" y="48"/>
                  </a:cubicBezTo>
                  <a:cubicBezTo>
                    <a:pt x="150" y="49"/>
                    <a:pt x="149" y="49"/>
                    <a:pt x="148" y="50"/>
                  </a:cubicBezTo>
                  <a:moveTo>
                    <a:pt x="154" y="57"/>
                  </a:moveTo>
                  <a:cubicBezTo>
                    <a:pt x="153" y="59"/>
                    <a:pt x="152" y="60"/>
                    <a:pt x="151" y="59"/>
                  </a:cubicBezTo>
                  <a:cubicBezTo>
                    <a:pt x="149" y="58"/>
                    <a:pt x="150" y="57"/>
                    <a:pt x="150" y="54"/>
                  </a:cubicBezTo>
                  <a:cubicBezTo>
                    <a:pt x="151" y="53"/>
                    <a:pt x="150" y="52"/>
                    <a:pt x="150" y="51"/>
                  </a:cubicBezTo>
                  <a:cubicBezTo>
                    <a:pt x="150" y="51"/>
                    <a:pt x="151" y="51"/>
                    <a:pt x="151" y="51"/>
                  </a:cubicBezTo>
                  <a:cubicBezTo>
                    <a:pt x="151" y="51"/>
                    <a:pt x="152" y="52"/>
                    <a:pt x="152" y="53"/>
                  </a:cubicBezTo>
                  <a:cubicBezTo>
                    <a:pt x="153" y="55"/>
                    <a:pt x="154" y="56"/>
                    <a:pt x="154" y="5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3956" y="1722"/>
              <a:ext cx="5" cy="5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1 h 2"/>
                <a:gd name="T4" fmla="*/ 0 w 2"/>
                <a:gd name="T5" fmla="*/ 1 h 2"/>
                <a:gd name="T6" fmla="*/ 2 w 2"/>
                <a:gd name="T7" fmla="*/ 1 h 2"/>
                <a:gd name="T8" fmla="*/ 1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0"/>
            <p:cNvSpPr>
              <a:spLocks noEditPoints="1"/>
            </p:cNvSpPr>
            <p:nvPr/>
          </p:nvSpPr>
          <p:spPr bwMode="auto">
            <a:xfrm>
              <a:off x="3804" y="1698"/>
              <a:ext cx="57" cy="52"/>
            </a:xfrm>
            <a:custGeom>
              <a:avLst/>
              <a:gdLst>
                <a:gd name="T0" fmla="*/ 16 w 24"/>
                <a:gd name="T1" fmla="*/ 18 h 22"/>
                <a:gd name="T2" fmla="*/ 12 w 24"/>
                <a:gd name="T3" fmla="*/ 15 h 22"/>
                <a:gd name="T4" fmla="*/ 12 w 24"/>
                <a:gd name="T5" fmla="*/ 14 h 22"/>
                <a:gd name="T6" fmla="*/ 9 w 24"/>
                <a:gd name="T7" fmla="*/ 2 h 22"/>
                <a:gd name="T8" fmla="*/ 3 w 24"/>
                <a:gd name="T9" fmla="*/ 3 h 22"/>
                <a:gd name="T10" fmla="*/ 0 w 24"/>
                <a:gd name="T11" fmla="*/ 8 h 22"/>
                <a:gd name="T12" fmla="*/ 2 w 24"/>
                <a:gd name="T13" fmla="*/ 11 h 22"/>
                <a:gd name="T14" fmla="*/ 7 w 24"/>
                <a:gd name="T15" fmla="*/ 12 h 22"/>
                <a:gd name="T16" fmla="*/ 9 w 24"/>
                <a:gd name="T17" fmla="*/ 10 h 22"/>
                <a:gd name="T18" fmla="*/ 9 w 24"/>
                <a:gd name="T19" fmla="*/ 15 h 22"/>
                <a:gd name="T20" fmla="*/ 15 w 24"/>
                <a:gd name="T21" fmla="*/ 22 h 22"/>
                <a:gd name="T22" fmla="*/ 20 w 24"/>
                <a:gd name="T23" fmla="*/ 18 h 22"/>
                <a:gd name="T24" fmla="*/ 24 w 24"/>
                <a:gd name="T25" fmla="*/ 15 h 22"/>
                <a:gd name="T26" fmla="*/ 21 w 24"/>
                <a:gd name="T27" fmla="*/ 13 h 22"/>
                <a:gd name="T28" fmla="*/ 16 w 24"/>
                <a:gd name="T29" fmla="*/ 18 h 22"/>
                <a:gd name="T30" fmla="*/ 8 w 24"/>
                <a:gd name="T31" fmla="*/ 10 h 22"/>
                <a:gd name="T32" fmla="*/ 4 w 24"/>
                <a:gd name="T33" fmla="*/ 10 h 22"/>
                <a:gd name="T34" fmla="*/ 3 w 24"/>
                <a:gd name="T35" fmla="*/ 8 h 22"/>
                <a:gd name="T36" fmla="*/ 3 w 24"/>
                <a:gd name="T37" fmla="*/ 8 h 22"/>
                <a:gd name="T38" fmla="*/ 8 w 24"/>
                <a:gd name="T39" fmla="*/ 7 h 22"/>
                <a:gd name="T40" fmla="*/ 8 w 24"/>
                <a:gd name="T41" fmla="*/ 10 h 22"/>
                <a:gd name="T42" fmla="*/ 6 w 24"/>
                <a:gd name="T43" fmla="*/ 5 h 22"/>
                <a:gd name="T44" fmla="*/ 3 w 24"/>
                <a:gd name="T45" fmla="*/ 5 h 22"/>
                <a:gd name="T46" fmla="*/ 3 w 24"/>
                <a:gd name="T47" fmla="*/ 5 h 22"/>
                <a:gd name="T48" fmla="*/ 6 w 24"/>
                <a:gd name="T49" fmla="*/ 3 h 22"/>
                <a:gd name="T50" fmla="*/ 10 w 24"/>
                <a:gd name="T51" fmla="*/ 6 h 22"/>
                <a:gd name="T52" fmla="*/ 6 w 24"/>
                <a:gd name="T53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22">
                  <a:moveTo>
                    <a:pt x="16" y="18"/>
                  </a:moveTo>
                  <a:cubicBezTo>
                    <a:pt x="15" y="19"/>
                    <a:pt x="13" y="16"/>
                    <a:pt x="12" y="15"/>
                  </a:cubicBezTo>
                  <a:cubicBezTo>
                    <a:pt x="11" y="15"/>
                    <a:pt x="11" y="15"/>
                    <a:pt x="12" y="14"/>
                  </a:cubicBezTo>
                  <a:cubicBezTo>
                    <a:pt x="13" y="8"/>
                    <a:pt x="14" y="6"/>
                    <a:pt x="9" y="2"/>
                  </a:cubicBezTo>
                  <a:cubicBezTo>
                    <a:pt x="7" y="0"/>
                    <a:pt x="6" y="1"/>
                    <a:pt x="3" y="3"/>
                  </a:cubicBezTo>
                  <a:cubicBezTo>
                    <a:pt x="1" y="5"/>
                    <a:pt x="1" y="5"/>
                    <a:pt x="0" y="8"/>
                  </a:cubicBezTo>
                  <a:cubicBezTo>
                    <a:pt x="0" y="9"/>
                    <a:pt x="0" y="10"/>
                    <a:pt x="2" y="11"/>
                  </a:cubicBezTo>
                  <a:cubicBezTo>
                    <a:pt x="3" y="12"/>
                    <a:pt x="5" y="12"/>
                    <a:pt x="7" y="12"/>
                  </a:cubicBezTo>
                  <a:cubicBezTo>
                    <a:pt x="8" y="11"/>
                    <a:pt x="9" y="11"/>
                    <a:pt x="9" y="10"/>
                  </a:cubicBezTo>
                  <a:cubicBezTo>
                    <a:pt x="11" y="10"/>
                    <a:pt x="9" y="14"/>
                    <a:pt x="9" y="15"/>
                  </a:cubicBezTo>
                  <a:cubicBezTo>
                    <a:pt x="9" y="17"/>
                    <a:pt x="14" y="22"/>
                    <a:pt x="15" y="22"/>
                  </a:cubicBezTo>
                  <a:cubicBezTo>
                    <a:pt x="17" y="22"/>
                    <a:pt x="20" y="20"/>
                    <a:pt x="20" y="18"/>
                  </a:cubicBezTo>
                  <a:cubicBezTo>
                    <a:pt x="22" y="19"/>
                    <a:pt x="24" y="18"/>
                    <a:pt x="24" y="15"/>
                  </a:cubicBezTo>
                  <a:cubicBezTo>
                    <a:pt x="24" y="14"/>
                    <a:pt x="24" y="13"/>
                    <a:pt x="21" y="13"/>
                  </a:cubicBezTo>
                  <a:cubicBezTo>
                    <a:pt x="17" y="13"/>
                    <a:pt x="18" y="18"/>
                    <a:pt x="16" y="18"/>
                  </a:cubicBezTo>
                  <a:moveTo>
                    <a:pt x="8" y="10"/>
                  </a:moveTo>
                  <a:cubicBezTo>
                    <a:pt x="8" y="10"/>
                    <a:pt x="5" y="10"/>
                    <a:pt x="4" y="10"/>
                  </a:cubicBezTo>
                  <a:cubicBezTo>
                    <a:pt x="3" y="10"/>
                    <a:pt x="2" y="9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5" y="6"/>
                    <a:pt x="6" y="7"/>
                    <a:pt x="8" y="7"/>
                  </a:cubicBezTo>
                  <a:cubicBezTo>
                    <a:pt x="9" y="8"/>
                    <a:pt x="9" y="9"/>
                    <a:pt x="8" y="10"/>
                  </a:cubicBezTo>
                  <a:moveTo>
                    <a:pt x="6" y="5"/>
                  </a:moveTo>
                  <a:cubicBezTo>
                    <a:pt x="5" y="5"/>
                    <a:pt x="3" y="6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5" y="4"/>
                    <a:pt x="6" y="3"/>
                  </a:cubicBezTo>
                  <a:cubicBezTo>
                    <a:pt x="7" y="3"/>
                    <a:pt x="10" y="4"/>
                    <a:pt x="10" y="6"/>
                  </a:cubicBezTo>
                  <a:cubicBezTo>
                    <a:pt x="11" y="8"/>
                    <a:pt x="7" y="5"/>
                    <a:pt x="6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3838" y="2150"/>
              <a:ext cx="11" cy="43"/>
            </a:xfrm>
            <a:custGeom>
              <a:avLst/>
              <a:gdLst>
                <a:gd name="T0" fmla="*/ 5 w 5"/>
                <a:gd name="T1" fmla="*/ 0 h 18"/>
                <a:gd name="T2" fmla="*/ 4 w 5"/>
                <a:gd name="T3" fmla="*/ 0 h 18"/>
                <a:gd name="T4" fmla="*/ 3 w 5"/>
                <a:gd name="T5" fmla="*/ 7 h 18"/>
                <a:gd name="T6" fmla="*/ 0 w 5"/>
                <a:gd name="T7" fmla="*/ 17 h 18"/>
                <a:gd name="T8" fmla="*/ 2 w 5"/>
                <a:gd name="T9" fmla="*/ 18 h 18"/>
                <a:gd name="T10" fmla="*/ 3 w 5"/>
                <a:gd name="T11" fmla="*/ 17 h 18"/>
                <a:gd name="T12" fmla="*/ 4 w 5"/>
                <a:gd name="T13" fmla="*/ 18 h 18"/>
                <a:gd name="T14" fmla="*/ 5 w 5"/>
                <a:gd name="T15" fmla="*/ 18 h 18"/>
                <a:gd name="T16" fmla="*/ 5 w 5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8">
                  <a:moveTo>
                    <a:pt x="5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5"/>
                    <a:pt x="3" y="7"/>
                  </a:cubicBezTo>
                  <a:cubicBezTo>
                    <a:pt x="3" y="10"/>
                    <a:pt x="2" y="14"/>
                    <a:pt x="0" y="17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7"/>
                    <a:pt x="2" y="17"/>
                    <a:pt x="3" y="17"/>
                  </a:cubicBezTo>
                  <a:cubicBezTo>
                    <a:pt x="3" y="17"/>
                    <a:pt x="3" y="17"/>
                    <a:pt x="4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2"/>
                    <a:pt x="4" y="6"/>
                    <a:pt x="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3852" y="2100"/>
              <a:ext cx="31" cy="39"/>
            </a:xfrm>
            <a:custGeom>
              <a:avLst/>
              <a:gdLst>
                <a:gd name="T0" fmla="*/ 1 w 13"/>
                <a:gd name="T1" fmla="*/ 16 h 16"/>
                <a:gd name="T2" fmla="*/ 8 w 13"/>
                <a:gd name="T3" fmla="*/ 8 h 16"/>
                <a:gd name="T4" fmla="*/ 13 w 13"/>
                <a:gd name="T5" fmla="*/ 3 h 16"/>
                <a:gd name="T6" fmla="*/ 11 w 13"/>
                <a:gd name="T7" fmla="*/ 2 h 16"/>
                <a:gd name="T8" fmla="*/ 10 w 13"/>
                <a:gd name="T9" fmla="*/ 3 h 16"/>
                <a:gd name="T10" fmla="*/ 10 w 13"/>
                <a:gd name="T11" fmla="*/ 1 h 16"/>
                <a:gd name="T12" fmla="*/ 8 w 13"/>
                <a:gd name="T13" fmla="*/ 0 h 16"/>
                <a:gd name="T14" fmla="*/ 0 w 13"/>
                <a:gd name="T15" fmla="*/ 16 h 16"/>
                <a:gd name="T16" fmla="*/ 1 w 13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6">
                  <a:moveTo>
                    <a:pt x="1" y="16"/>
                  </a:moveTo>
                  <a:cubicBezTo>
                    <a:pt x="3" y="13"/>
                    <a:pt x="5" y="10"/>
                    <a:pt x="8" y="8"/>
                  </a:cubicBezTo>
                  <a:cubicBezTo>
                    <a:pt x="9" y="6"/>
                    <a:pt x="11" y="5"/>
                    <a:pt x="13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0" y="3"/>
                    <a:pt x="10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6"/>
                    <a:pt x="3" y="11"/>
                    <a:pt x="0" y="16"/>
                  </a:cubicBezTo>
                  <a:lnTo>
                    <a:pt x="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3854" y="2110"/>
              <a:ext cx="36" cy="31"/>
            </a:xfrm>
            <a:custGeom>
              <a:avLst/>
              <a:gdLst>
                <a:gd name="T0" fmla="*/ 0 w 15"/>
                <a:gd name="T1" fmla="*/ 12 h 13"/>
                <a:gd name="T2" fmla="*/ 0 w 15"/>
                <a:gd name="T3" fmla="*/ 13 h 13"/>
                <a:gd name="T4" fmla="*/ 4 w 15"/>
                <a:gd name="T5" fmla="*/ 10 h 13"/>
                <a:gd name="T6" fmla="*/ 15 w 15"/>
                <a:gd name="T7" fmla="*/ 4 h 13"/>
                <a:gd name="T8" fmla="*/ 14 w 15"/>
                <a:gd name="T9" fmla="*/ 2 h 13"/>
                <a:gd name="T10" fmla="*/ 13 w 15"/>
                <a:gd name="T11" fmla="*/ 2 h 13"/>
                <a:gd name="T12" fmla="*/ 13 w 15"/>
                <a:gd name="T13" fmla="*/ 1 h 13"/>
                <a:gd name="T14" fmla="*/ 12 w 15"/>
                <a:gd name="T15" fmla="*/ 0 h 13"/>
                <a:gd name="T16" fmla="*/ 0 w 15"/>
                <a:gd name="T1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3">
                  <a:moveTo>
                    <a:pt x="0" y="12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1" y="12"/>
                    <a:pt x="3" y="11"/>
                    <a:pt x="4" y="10"/>
                  </a:cubicBezTo>
                  <a:cubicBezTo>
                    <a:pt x="7" y="7"/>
                    <a:pt x="11" y="5"/>
                    <a:pt x="15" y="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2"/>
                    <a:pt x="13" y="1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5"/>
                    <a:pt x="4" y="9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3849" y="2098"/>
              <a:ext cx="22" cy="41"/>
            </a:xfrm>
            <a:custGeom>
              <a:avLst/>
              <a:gdLst>
                <a:gd name="T0" fmla="*/ 2 w 9"/>
                <a:gd name="T1" fmla="*/ 14 h 17"/>
                <a:gd name="T2" fmla="*/ 0 w 9"/>
                <a:gd name="T3" fmla="*/ 17 h 17"/>
                <a:gd name="T4" fmla="*/ 1 w 9"/>
                <a:gd name="T5" fmla="*/ 17 h 17"/>
                <a:gd name="T6" fmla="*/ 3 w 9"/>
                <a:gd name="T7" fmla="*/ 11 h 17"/>
                <a:gd name="T8" fmla="*/ 9 w 9"/>
                <a:gd name="T9" fmla="*/ 1 h 17"/>
                <a:gd name="T10" fmla="*/ 8 w 9"/>
                <a:gd name="T11" fmla="*/ 1 h 17"/>
                <a:gd name="T12" fmla="*/ 6 w 9"/>
                <a:gd name="T13" fmla="*/ 1 h 17"/>
                <a:gd name="T14" fmla="*/ 6 w 9"/>
                <a:gd name="T15" fmla="*/ 0 h 17"/>
                <a:gd name="T16" fmla="*/ 4 w 9"/>
                <a:gd name="T17" fmla="*/ 0 h 17"/>
                <a:gd name="T18" fmla="*/ 2 w 9"/>
                <a:gd name="T1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7">
                  <a:moveTo>
                    <a:pt x="2" y="14"/>
                  </a:move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5"/>
                    <a:pt x="3" y="13"/>
                    <a:pt x="3" y="11"/>
                  </a:cubicBezTo>
                  <a:cubicBezTo>
                    <a:pt x="5" y="7"/>
                    <a:pt x="7" y="4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4"/>
                    <a:pt x="3" y="9"/>
                    <a:pt x="2" y="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3845" y="2141"/>
              <a:ext cx="7" cy="5"/>
            </a:xfrm>
            <a:custGeom>
              <a:avLst/>
              <a:gdLst>
                <a:gd name="T0" fmla="*/ 2 w 3"/>
                <a:gd name="T1" fmla="*/ 1 h 2"/>
                <a:gd name="T2" fmla="*/ 2 w 3"/>
                <a:gd name="T3" fmla="*/ 2 h 2"/>
                <a:gd name="T4" fmla="*/ 2 w 3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2" y="1"/>
                  </a:moveTo>
                  <a:cubicBezTo>
                    <a:pt x="1" y="0"/>
                    <a:pt x="0" y="2"/>
                    <a:pt x="2" y="2"/>
                  </a:cubicBezTo>
                  <a:cubicBezTo>
                    <a:pt x="2" y="2"/>
                    <a:pt x="3" y="1"/>
                    <a:pt x="2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3835" y="2096"/>
              <a:ext cx="12" cy="43"/>
            </a:xfrm>
            <a:custGeom>
              <a:avLst/>
              <a:gdLst>
                <a:gd name="T0" fmla="*/ 5 w 5"/>
                <a:gd name="T1" fmla="*/ 17 h 18"/>
                <a:gd name="T2" fmla="*/ 5 w 5"/>
                <a:gd name="T3" fmla="*/ 1 h 18"/>
                <a:gd name="T4" fmla="*/ 5 w 5"/>
                <a:gd name="T5" fmla="*/ 0 h 18"/>
                <a:gd name="T6" fmla="*/ 3 w 5"/>
                <a:gd name="T7" fmla="*/ 0 h 18"/>
                <a:gd name="T8" fmla="*/ 2 w 5"/>
                <a:gd name="T9" fmla="*/ 1 h 18"/>
                <a:gd name="T10" fmla="*/ 1 w 5"/>
                <a:gd name="T11" fmla="*/ 1 h 18"/>
                <a:gd name="T12" fmla="*/ 0 w 5"/>
                <a:gd name="T13" fmla="*/ 1 h 18"/>
                <a:gd name="T14" fmla="*/ 5 w 5"/>
                <a:gd name="T15" fmla="*/ 18 h 18"/>
                <a:gd name="T16" fmla="*/ 5 w 5"/>
                <a:gd name="T1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18">
                  <a:moveTo>
                    <a:pt x="5" y="17"/>
                  </a:moveTo>
                  <a:cubicBezTo>
                    <a:pt x="4" y="12"/>
                    <a:pt x="4" y="6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6"/>
                    <a:pt x="4" y="12"/>
                    <a:pt x="5" y="18"/>
                  </a:cubicBezTo>
                  <a:lnTo>
                    <a:pt x="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3854" y="2119"/>
              <a:ext cx="40" cy="22"/>
            </a:xfrm>
            <a:custGeom>
              <a:avLst/>
              <a:gdLst>
                <a:gd name="T0" fmla="*/ 0 w 17"/>
                <a:gd name="T1" fmla="*/ 9 h 9"/>
                <a:gd name="T2" fmla="*/ 6 w 17"/>
                <a:gd name="T3" fmla="*/ 7 h 9"/>
                <a:gd name="T4" fmla="*/ 17 w 17"/>
                <a:gd name="T5" fmla="*/ 4 h 9"/>
                <a:gd name="T6" fmla="*/ 17 w 17"/>
                <a:gd name="T7" fmla="*/ 3 h 9"/>
                <a:gd name="T8" fmla="*/ 15 w 17"/>
                <a:gd name="T9" fmla="*/ 2 h 9"/>
                <a:gd name="T10" fmla="*/ 16 w 17"/>
                <a:gd name="T11" fmla="*/ 1 h 9"/>
                <a:gd name="T12" fmla="*/ 15 w 17"/>
                <a:gd name="T13" fmla="*/ 0 h 9"/>
                <a:gd name="T14" fmla="*/ 0 w 17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0" y="9"/>
                  </a:moveTo>
                  <a:cubicBezTo>
                    <a:pt x="2" y="8"/>
                    <a:pt x="4" y="8"/>
                    <a:pt x="6" y="7"/>
                  </a:cubicBezTo>
                  <a:cubicBezTo>
                    <a:pt x="10" y="6"/>
                    <a:pt x="14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5" y="2"/>
                  </a:cubicBezTo>
                  <a:cubicBezTo>
                    <a:pt x="15" y="2"/>
                    <a:pt x="16" y="1"/>
                    <a:pt x="16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4"/>
                    <a:pt x="6" y="7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3719" y="2119"/>
              <a:ext cx="7" cy="8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3 h 3"/>
                <a:gd name="T4" fmla="*/ 1 w 3"/>
                <a:gd name="T5" fmla="*/ 3 h 3"/>
                <a:gd name="T6" fmla="*/ 2 w 3"/>
                <a:gd name="T7" fmla="*/ 0 h 3"/>
                <a:gd name="T8" fmla="*/ 1 w 3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2"/>
                    <a:pt x="3" y="1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9"/>
            <p:cNvSpPr>
              <a:spLocks/>
            </p:cNvSpPr>
            <p:nvPr/>
          </p:nvSpPr>
          <p:spPr bwMode="auto">
            <a:xfrm>
              <a:off x="3823" y="2098"/>
              <a:ext cx="24" cy="41"/>
            </a:xfrm>
            <a:custGeom>
              <a:avLst/>
              <a:gdLst>
                <a:gd name="T0" fmla="*/ 10 w 10"/>
                <a:gd name="T1" fmla="*/ 17 h 17"/>
                <a:gd name="T2" fmla="*/ 5 w 10"/>
                <a:gd name="T3" fmla="*/ 5 h 17"/>
                <a:gd name="T4" fmla="*/ 5 w 10"/>
                <a:gd name="T5" fmla="*/ 0 h 17"/>
                <a:gd name="T6" fmla="*/ 3 w 10"/>
                <a:gd name="T7" fmla="*/ 0 h 17"/>
                <a:gd name="T8" fmla="*/ 3 w 10"/>
                <a:gd name="T9" fmla="*/ 2 h 17"/>
                <a:gd name="T10" fmla="*/ 1 w 10"/>
                <a:gd name="T11" fmla="*/ 1 h 17"/>
                <a:gd name="T12" fmla="*/ 0 w 10"/>
                <a:gd name="T13" fmla="*/ 2 h 17"/>
                <a:gd name="T14" fmla="*/ 9 w 10"/>
                <a:gd name="T15" fmla="*/ 17 h 17"/>
                <a:gd name="T16" fmla="*/ 10 w 10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7">
                  <a:moveTo>
                    <a:pt x="10" y="17"/>
                  </a:moveTo>
                  <a:cubicBezTo>
                    <a:pt x="8" y="13"/>
                    <a:pt x="6" y="9"/>
                    <a:pt x="5" y="5"/>
                  </a:cubicBezTo>
                  <a:cubicBezTo>
                    <a:pt x="5" y="3"/>
                    <a:pt x="5" y="2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6"/>
                    <a:pt x="7" y="12"/>
                    <a:pt x="9" y="17"/>
                  </a:cubicBezTo>
                  <a:lnTo>
                    <a:pt x="1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3674" y="1750"/>
              <a:ext cx="12" cy="10"/>
            </a:xfrm>
            <a:custGeom>
              <a:avLst/>
              <a:gdLst>
                <a:gd name="T0" fmla="*/ 4 w 5"/>
                <a:gd name="T1" fmla="*/ 0 h 4"/>
                <a:gd name="T2" fmla="*/ 1 w 5"/>
                <a:gd name="T3" fmla="*/ 1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1 h 4"/>
                <a:gd name="T10" fmla="*/ 4 w 5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4" y="0"/>
                  </a:moveTo>
                  <a:cubicBezTo>
                    <a:pt x="4" y="0"/>
                    <a:pt x="2" y="1"/>
                    <a:pt x="1" y="1"/>
                  </a:cubicBezTo>
                  <a:cubicBezTo>
                    <a:pt x="0" y="2"/>
                    <a:pt x="2" y="3"/>
                    <a:pt x="3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2"/>
                    <a:pt x="5" y="1"/>
                  </a:cubicBezTo>
                  <a:cubicBezTo>
                    <a:pt x="5" y="1"/>
                    <a:pt x="5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1"/>
            <p:cNvSpPr>
              <a:spLocks/>
            </p:cNvSpPr>
            <p:nvPr/>
          </p:nvSpPr>
          <p:spPr bwMode="auto">
            <a:xfrm>
              <a:off x="3759" y="1977"/>
              <a:ext cx="17" cy="62"/>
            </a:xfrm>
            <a:custGeom>
              <a:avLst/>
              <a:gdLst>
                <a:gd name="T0" fmla="*/ 1 w 7"/>
                <a:gd name="T1" fmla="*/ 25 h 26"/>
                <a:gd name="T2" fmla="*/ 6 w 7"/>
                <a:gd name="T3" fmla="*/ 3 h 26"/>
                <a:gd name="T4" fmla="*/ 5 w 7"/>
                <a:gd name="T5" fmla="*/ 0 h 26"/>
                <a:gd name="T6" fmla="*/ 4 w 7"/>
                <a:gd name="T7" fmla="*/ 1 h 26"/>
                <a:gd name="T8" fmla="*/ 4 w 7"/>
                <a:gd name="T9" fmla="*/ 9 h 26"/>
                <a:gd name="T10" fmla="*/ 1 w 7"/>
                <a:gd name="T11" fmla="*/ 23 h 26"/>
                <a:gd name="T12" fmla="*/ 1 w 7"/>
                <a:gd name="T13" fmla="*/ 26 h 26"/>
                <a:gd name="T14" fmla="*/ 1 w 7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26">
                  <a:moveTo>
                    <a:pt x="1" y="25"/>
                  </a:moveTo>
                  <a:cubicBezTo>
                    <a:pt x="5" y="18"/>
                    <a:pt x="7" y="10"/>
                    <a:pt x="6" y="3"/>
                  </a:cubicBezTo>
                  <a:cubicBezTo>
                    <a:pt x="6" y="2"/>
                    <a:pt x="6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4" y="2"/>
                    <a:pt x="4" y="6"/>
                    <a:pt x="4" y="9"/>
                  </a:cubicBezTo>
                  <a:cubicBezTo>
                    <a:pt x="4" y="11"/>
                    <a:pt x="2" y="18"/>
                    <a:pt x="1" y="23"/>
                  </a:cubicBezTo>
                  <a:cubicBezTo>
                    <a:pt x="1" y="24"/>
                    <a:pt x="0" y="25"/>
                    <a:pt x="1" y="26"/>
                  </a:cubicBezTo>
                  <a:cubicBezTo>
                    <a:pt x="1" y="26"/>
                    <a:pt x="1" y="25"/>
                    <a:pt x="1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2"/>
            <p:cNvSpPr>
              <a:spLocks/>
            </p:cNvSpPr>
            <p:nvPr/>
          </p:nvSpPr>
          <p:spPr bwMode="auto">
            <a:xfrm>
              <a:off x="3857" y="2131"/>
              <a:ext cx="40" cy="12"/>
            </a:xfrm>
            <a:custGeom>
              <a:avLst/>
              <a:gdLst>
                <a:gd name="T0" fmla="*/ 0 w 17"/>
                <a:gd name="T1" fmla="*/ 5 h 5"/>
                <a:gd name="T2" fmla="*/ 15 w 17"/>
                <a:gd name="T3" fmla="*/ 4 h 5"/>
                <a:gd name="T4" fmla="*/ 17 w 17"/>
                <a:gd name="T5" fmla="*/ 5 h 5"/>
                <a:gd name="T6" fmla="*/ 17 w 17"/>
                <a:gd name="T7" fmla="*/ 3 h 5"/>
                <a:gd name="T8" fmla="*/ 16 w 17"/>
                <a:gd name="T9" fmla="*/ 2 h 5"/>
                <a:gd name="T10" fmla="*/ 17 w 17"/>
                <a:gd name="T11" fmla="*/ 1 h 5"/>
                <a:gd name="T12" fmla="*/ 16 w 17"/>
                <a:gd name="T13" fmla="*/ 0 h 5"/>
                <a:gd name="T14" fmla="*/ 0 w 17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5">
                  <a:moveTo>
                    <a:pt x="0" y="5"/>
                  </a:moveTo>
                  <a:cubicBezTo>
                    <a:pt x="5" y="4"/>
                    <a:pt x="10" y="4"/>
                    <a:pt x="15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6" y="2"/>
                    <a:pt x="17" y="1"/>
                    <a:pt x="17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1" y="2"/>
                    <a:pt x="5" y="4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23"/>
            <p:cNvSpPr>
              <a:spLocks/>
            </p:cNvSpPr>
            <p:nvPr/>
          </p:nvSpPr>
          <p:spPr bwMode="auto">
            <a:xfrm>
              <a:off x="3857" y="2143"/>
              <a:ext cx="40" cy="12"/>
            </a:xfrm>
            <a:custGeom>
              <a:avLst/>
              <a:gdLst>
                <a:gd name="T0" fmla="*/ 0 w 17"/>
                <a:gd name="T1" fmla="*/ 0 h 5"/>
                <a:gd name="T2" fmla="*/ 0 w 17"/>
                <a:gd name="T3" fmla="*/ 1 h 5"/>
                <a:gd name="T4" fmla="*/ 14 w 17"/>
                <a:gd name="T5" fmla="*/ 4 h 5"/>
                <a:gd name="T6" fmla="*/ 17 w 17"/>
                <a:gd name="T7" fmla="*/ 5 h 5"/>
                <a:gd name="T8" fmla="*/ 17 w 17"/>
                <a:gd name="T9" fmla="*/ 3 h 5"/>
                <a:gd name="T10" fmla="*/ 16 w 17"/>
                <a:gd name="T11" fmla="*/ 2 h 5"/>
                <a:gd name="T12" fmla="*/ 17 w 17"/>
                <a:gd name="T13" fmla="*/ 1 h 5"/>
                <a:gd name="T14" fmla="*/ 17 w 17"/>
                <a:gd name="T15" fmla="*/ 0 h 5"/>
                <a:gd name="T16" fmla="*/ 0 w 17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5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10" y="2"/>
                    <a:pt x="14" y="4"/>
                  </a:cubicBezTo>
                  <a:cubicBezTo>
                    <a:pt x="15" y="4"/>
                    <a:pt x="16" y="4"/>
                    <a:pt x="17" y="5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6" y="2"/>
                    <a:pt x="17" y="2"/>
                    <a:pt x="17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1"/>
                    <a:pt x="5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24"/>
            <p:cNvSpPr>
              <a:spLocks/>
            </p:cNvSpPr>
            <p:nvPr/>
          </p:nvSpPr>
          <p:spPr bwMode="auto">
            <a:xfrm>
              <a:off x="3854" y="2146"/>
              <a:ext cx="43" cy="21"/>
            </a:xfrm>
            <a:custGeom>
              <a:avLst/>
              <a:gdLst>
                <a:gd name="T0" fmla="*/ 0 w 18"/>
                <a:gd name="T1" fmla="*/ 1 h 9"/>
                <a:gd name="T2" fmla="*/ 14 w 18"/>
                <a:gd name="T3" fmla="*/ 8 h 9"/>
                <a:gd name="T4" fmla="*/ 16 w 18"/>
                <a:gd name="T5" fmla="*/ 9 h 9"/>
                <a:gd name="T6" fmla="*/ 17 w 18"/>
                <a:gd name="T7" fmla="*/ 7 h 9"/>
                <a:gd name="T8" fmla="*/ 17 w 18"/>
                <a:gd name="T9" fmla="*/ 6 h 9"/>
                <a:gd name="T10" fmla="*/ 18 w 18"/>
                <a:gd name="T11" fmla="*/ 4 h 9"/>
                <a:gd name="T12" fmla="*/ 1 w 18"/>
                <a:gd name="T13" fmla="*/ 0 h 9"/>
                <a:gd name="T14" fmla="*/ 0 w 18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9">
                  <a:moveTo>
                    <a:pt x="0" y="1"/>
                  </a:moveTo>
                  <a:cubicBezTo>
                    <a:pt x="5" y="2"/>
                    <a:pt x="10" y="5"/>
                    <a:pt x="14" y="8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6" y="6"/>
                    <a:pt x="15" y="6"/>
                    <a:pt x="17" y="6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2" y="4"/>
                    <a:pt x="6" y="2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auto">
            <a:xfrm>
              <a:off x="3849" y="2150"/>
              <a:ext cx="15" cy="43"/>
            </a:xfrm>
            <a:custGeom>
              <a:avLst/>
              <a:gdLst>
                <a:gd name="T0" fmla="*/ 0 w 6"/>
                <a:gd name="T1" fmla="*/ 0 h 18"/>
                <a:gd name="T2" fmla="*/ 1 w 6"/>
                <a:gd name="T3" fmla="*/ 16 h 18"/>
                <a:gd name="T4" fmla="*/ 0 w 6"/>
                <a:gd name="T5" fmla="*/ 18 h 18"/>
                <a:gd name="T6" fmla="*/ 2 w 6"/>
                <a:gd name="T7" fmla="*/ 18 h 18"/>
                <a:gd name="T8" fmla="*/ 3 w 6"/>
                <a:gd name="T9" fmla="*/ 16 h 18"/>
                <a:gd name="T10" fmla="*/ 4 w 6"/>
                <a:gd name="T11" fmla="*/ 17 h 18"/>
                <a:gd name="T12" fmla="*/ 6 w 6"/>
                <a:gd name="T13" fmla="*/ 17 h 18"/>
                <a:gd name="T14" fmla="*/ 1 w 6"/>
                <a:gd name="T15" fmla="*/ 0 h 18"/>
                <a:gd name="T16" fmla="*/ 0 w 6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8">
                  <a:moveTo>
                    <a:pt x="0" y="0"/>
                  </a:moveTo>
                  <a:cubicBezTo>
                    <a:pt x="1" y="5"/>
                    <a:pt x="1" y="11"/>
                    <a:pt x="1" y="16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7"/>
                    <a:pt x="2" y="17"/>
                    <a:pt x="3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3" y="12"/>
                    <a:pt x="1" y="6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auto">
            <a:xfrm>
              <a:off x="3852" y="2150"/>
              <a:ext cx="21" cy="41"/>
            </a:xfrm>
            <a:custGeom>
              <a:avLst/>
              <a:gdLst>
                <a:gd name="T0" fmla="*/ 0 w 9"/>
                <a:gd name="T1" fmla="*/ 0 h 17"/>
                <a:gd name="T2" fmla="*/ 2 w 9"/>
                <a:gd name="T3" fmla="*/ 5 h 17"/>
                <a:gd name="T4" fmla="*/ 5 w 9"/>
                <a:gd name="T5" fmla="*/ 17 h 17"/>
                <a:gd name="T6" fmla="*/ 6 w 9"/>
                <a:gd name="T7" fmla="*/ 16 h 17"/>
                <a:gd name="T8" fmla="*/ 7 w 9"/>
                <a:gd name="T9" fmla="*/ 15 h 17"/>
                <a:gd name="T10" fmla="*/ 8 w 9"/>
                <a:gd name="T11" fmla="*/ 16 h 17"/>
                <a:gd name="T12" fmla="*/ 9 w 9"/>
                <a:gd name="T13" fmla="*/ 15 h 17"/>
                <a:gd name="T14" fmla="*/ 0 w 9"/>
                <a:gd name="T1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7">
                  <a:moveTo>
                    <a:pt x="0" y="0"/>
                  </a:moveTo>
                  <a:cubicBezTo>
                    <a:pt x="0" y="2"/>
                    <a:pt x="1" y="3"/>
                    <a:pt x="2" y="5"/>
                  </a:cubicBezTo>
                  <a:cubicBezTo>
                    <a:pt x="3" y="9"/>
                    <a:pt x="5" y="13"/>
                    <a:pt x="5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5"/>
                    <a:pt x="7" y="15"/>
                  </a:cubicBezTo>
                  <a:cubicBezTo>
                    <a:pt x="7" y="15"/>
                    <a:pt x="8" y="15"/>
                    <a:pt x="8" y="16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5" y="10"/>
                    <a:pt x="3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3814" y="2103"/>
              <a:ext cx="31" cy="36"/>
            </a:xfrm>
            <a:custGeom>
              <a:avLst/>
              <a:gdLst>
                <a:gd name="T0" fmla="*/ 12 w 13"/>
                <a:gd name="T1" fmla="*/ 15 h 15"/>
                <a:gd name="T2" fmla="*/ 13 w 13"/>
                <a:gd name="T3" fmla="*/ 15 h 15"/>
                <a:gd name="T4" fmla="*/ 4 w 13"/>
                <a:gd name="T5" fmla="*/ 0 h 15"/>
                <a:gd name="T6" fmla="*/ 2 w 13"/>
                <a:gd name="T7" fmla="*/ 1 h 15"/>
                <a:gd name="T8" fmla="*/ 2 w 13"/>
                <a:gd name="T9" fmla="*/ 3 h 15"/>
                <a:gd name="T10" fmla="*/ 1 w 13"/>
                <a:gd name="T11" fmla="*/ 2 h 15"/>
                <a:gd name="T12" fmla="*/ 0 w 13"/>
                <a:gd name="T13" fmla="*/ 3 h 15"/>
                <a:gd name="T14" fmla="*/ 12 w 13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5">
                  <a:moveTo>
                    <a:pt x="12" y="15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9" y="11"/>
                    <a:pt x="5" y="6"/>
                    <a:pt x="4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5" y="6"/>
                    <a:pt x="9" y="11"/>
                    <a:pt x="1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8"/>
            <p:cNvSpPr>
              <a:spLocks/>
            </p:cNvSpPr>
            <p:nvPr/>
          </p:nvSpPr>
          <p:spPr bwMode="auto">
            <a:xfrm>
              <a:off x="3816" y="2150"/>
              <a:ext cx="29" cy="36"/>
            </a:xfrm>
            <a:custGeom>
              <a:avLst/>
              <a:gdLst>
                <a:gd name="T0" fmla="*/ 12 w 12"/>
                <a:gd name="T1" fmla="*/ 0 h 15"/>
                <a:gd name="T2" fmla="*/ 0 w 12"/>
                <a:gd name="T3" fmla="*/ 12 h 15"/>
                <a:gd name="T4" fmla="*/ 1 w 12"/>
                <a:gd name="T5" fmla="*/ 13 h 15"/>
                <a:gd name="T6" fmla="*/ 2 w 12"/>
                <a:gd name="T7" fmla="*/ 13 h 15"/>
                <a:gd name="T8" fmla="*/ 3 w 12"/>
                <a:gd name="T9" fmla="*/ 15 h 15"/>
                <a:gd name="T10" fmla="*/ 4 w 12"/>
                <a:gd name="T11" fmla="*/ 15 h 15"/>
                <a:gd name="T12" fmla="*/ 12 w 12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">
                  <a:moveTo>
                    <a:pt x="12" y="0"/>
                  </a:moveTo>
                  <a:cubicBezTo>
                    <a:pt x="8" y="4"/>
                    <a:pt x="4" y="9"/>
                    <a:pt x="0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3" y="13"/>
                    <a:pt x="2" y="14"/>
                    <a:pt x="3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0"/>
                    <a:pt x="9" y="5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auto">
            <a:xfrm>
              <a:off x="3826" y="2150"/>
              <a:ext cx="21" cy="41"/>
            </a:xfrm>
            <a:custGeom>
              <a:avLst/>
              <a:gdLst>
                <a:gd name="T0" fmla="*/ 8 w 9"/>
                <a:gd name="T1" fmla="*/ 0 h 17"/>
                <a:gd name="T2" fmla="*/ 1 w 9"/>
                <a:gd name="T3" fmla="*/ 14 h 17"/>
                <a:gd name="T4" fmla="*/ 0 w 9"/>
                <a:gd name="T5" fmla="*/ 15 h 17"/>
                <a:gd name="T6" fmla="*/ 1 w 9"/>
                <a:gd name="T7" fmla="*/ 16 h 17"/>
                <a:gd name="T8" fmla="*/ 3 w 9"/>
                <a:gd name="T9" fmla="*/ 15 h 17"/>
                <a:gd name="T10" fmla="*/ 3 w 9"/>
                <a:gd name="T11" fmla="*/ 17 h 17"/>
                <a:gd name="T12" fmla="*/ 5 w 9"/>
                <a:gd name="T13" fmla="*/ 17 h 17"/>
                <a:gd name="T14" fmla="*/ 9 w 9"/>
                <a:gd name="T15" fmla="*/ 0 h 17"/>
                <a:gd name="T16" fmla="*/ 8 w 9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17">
                  <a:moveTo>
                    <a:pt x="8" y="0"/>
                  </a:moveTo>
                  <a:cubicBezTo>
                    <a:pt x="7" y="5"/>
                    <a:pt x="4" y="10"/>
                    <a:pt x="1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2" y="15"/>
                    <a:pt x="3" y="15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2"/>
                    <a:pt x="7" y="6"/>
                    <a:pt x="9" y="0"/>
                  </a:cubicBez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3852" y="2148"/>
              <a:ext cx="33" cy="38"/>
            </a:xfrm>
            <a:custGeom>
              <a:avLst/>
              <a:gdLst>
                <a:gd name="T0" fmla="*/ 1 w 14"/>
                <a:gd name="T1" fmla="*/ 0 h 16"/>
                <a:gd name="T2" fmla="*/ 0 w 14"/>
                <a:gd name="T3" fmla="*/ 1 h 16"/>
                <a:gd name="T4" fmla="*/ 8 w 14"/>
                <a:gd name="T5" fmla="*/ 12 h 16"/>
                <a:gd name="T6" fmla="*/ 10 w 14"/>
                <a:gd name="T7" fmla="*/ 16 h 16"/>
                <a:gd name="T8" fmla="*/ 11 w 14"/>
                <a:gd name="T9" fmla="*/ 15 h 16"/>
                <a:gd name="T10" fmla="*/ 11 w 14"/>
                <a:gd name="T11" fmla="*/ 13 h 16"/>
                <a:gd name="T12" fmla="*/ 13 w 14"/>
                <a:gd name="T13" fmla="*/ 13 h 16"/>
                <a:gd name="T14" fmla="*/ 14 w 14"/>
                <a:gd name="T15" fmla="*/ 12 h 16"/>
                <a:gd name="T16" fmla="*/ 1 w 14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4"/>
                    <a:pt x="6" y="8"/>
                    <a:pt x="8" y="12"/>
                  </a:cubicBezTo>
                  <a:cubicBezTo>
                    <a:pt x="9" y="13"/>
                    <a:pt x="9" y="14"/>
                    <a:pt x="10" y="16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4"/>
                    <a:pt x="11" y="14"/>
                    <a:pt x="11" y="13"/>
                  </a:cubicBezTo>
                  <a:cubicBezTo>
                    <a:pt x="12" y="13"/>
                    <a:pt x="12" y="13"/>
                    <a:pt x="13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8" y="9"/>
                    <a:pt x="5" y="5"/>
                    <a:pt x="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3854" y="2148"/>
              <a:ext cx="38" cy="29"/>
            </a:xfrm>
            <a:custGeom>
              <a:avLst/>
              <a:gdLst>
                <a:gd name="T0" fmla="*/ 13 w 16"/>
                <a:gd name="T1" fmla="*/ 10 h 12"/>
                <a:gd name="T2" fmla="*/ 15 w 16"/>
                <a:gd name="T3" fmla="*/ 9 h 12"/>
                <a:gd name="T4" fmla="*/ 16 w 16"/>
                <a:gd name="T5" fmla="*/ 8 h 12"/>
                <a:gd name="T6" fmla="*/ 0 w 16"/>
                <a:gd name="T7" fmla="*/ 0 h 12"/>
                <a:gd name="T8" fmla="*/ 0 w 16"/>
                <a:gd name="T9" fmla="*/ 0 h 12"/>
                <a:gd name="T10" fmla="*/ 12 w 16"/>
                <a:gd name="T11" fmla="*/ 11 h 12"/>
                <a:gd name="T12" fmla="*/ 13 w 16"/>
                <a:gd name="T13" fmla="*/ 12 h 12"/>
                <a:gd name="T14" fmla="*/ 14 w 16"/>
                <a:gd name="T15" fmla="*/ 11 h 12"/>
                <a:gd name="T16" fmla="*/ 13 w 16"/>
                <a:gd name="T1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2">
                  <a:moveTo>
                    <a:pt x="13" y="10"/>
                  </a:moveTo>
                  <a:cubicBezTo>
                    <a:pt x="14" y="9"/>
                    <a:pt x="15" y="9"/>
                    <a:pt x="15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0" y="6"/>
                    <a:pt x="5" y="3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3"/>
                    <a:pt x="8" y="7"/>
                    <a:pt x="12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0"/>
                    <a:pt x="13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3921" y="2119"/>
              <a:ext cx="4" cy="8"/>
            </a:xfrm>
            <a:custGeom>
              <a:avLst/>
              <a:gdLst>
                <a:gd name="T0" fmla="*/ 2 w 2"/>
                <a:gd name="T1" fmla="*/ 2 h 3"/>
                <a:gd name="T2" fmla="*/ 1 w 2"/>
                <a:gd name="T3" fmla="*/ 1 h 3"/>
                <a:gd name="T4" fmla="*/ 0 w 2"/>
                <a:gd name="T5" fmla="*/ 2 h 3"/>
                <a:gd name="T6" fmla="*/ 0 w 2"/>
                <a:gd name="T7" fmla="*/ 2 h 3"/>
                <a:gd name="T8" fmla="*/ 2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2"/>
                  </a:moveTo>
                  <a:cubicBezTo>
                    <a:pt x="2" y="2"/>
                    <a:pt x="2" y="1"/>
                    <a:pt x="1" y="1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2" y="2"/>
                    <a:pt x="2" y="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3807" y="2148"/>
              <a:ext cx="38" cy="31"/>
            </a:xfrm>
            <a:custGeom>
              <a:avLst/>
              <a:gdLst>
                <a:gd name="T0" fmla="*/ 16 w 16"/>
                <a:gd name="T1" fmla="*/ 1 h 13"/>
                <a:gd name="T2" fmla="*/ 15 w 16"/>
                <a:gd name="T3" fmla="*/ 0 h 13"/>
                <a:gd name="T4" fmla="*/ 0 w 16"/>
                <a:gd name="T5" fmla="*/ 9 h 13"/>
                <a:gd name="T6" fmla="*/ 1 w 16"/>
                <a:gd name="T7" fmla="*/ 11 h 13"/>
                <a:gd name="T8" fmla="*/ 3 w 16"/>
                <a:gd name="T9" fmla="*/ 11 h 13"/>
                <a:gd name="T10" fmla="*/ 2 w 16"/>
                <a:gd name="T11" fmla="*/ 12 h 13"/>
                <a:gd name="T12" fmla="*/ 3 w 16"/>
                <a:gd name="T13" fmla="*/ 13 h 13"/>
                <a:gd name="T14" fmla="*/ 16 w 16"/>
                <a:gd name="T15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">
                  <a:moveTo>
                    <a:pt x="16" y="1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1" y="4"/>
                    <a:pt x="6" y="8"/>
                    <a:pt x="0" y="9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0"/>
                    <a:pt x="3" y="11"/>
                  </a:cubicBezTo>
                  <a:cubicBezTo>
                    <a:pt x="3" y="11"/>
                    <a:pt x="2" y="12"/>
                    <a:pt x="2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8"/>
                    <a:pt x="11" y="4"/>
                    <a:pt x="16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34"/>
            <p:cNvSpPr>
              <a:spLocks/>
            </p:cNvSpPr>
            <p:nvPr/>
          </p:nvSpPr>
          <p:spPr bwMode="auto">
            <a:xfrm>
              <a:off x="3802" y="2122"/>
              <a:ext cx="40" cy="21"/>
            </a:xfrm>
            <a:custGeom>
              <a:avLst/>
              <a:gdLst>
                <a:gd name="T0" fmla="*/ 17 w 17"/>
                <a:gd name="T1" fmla="*/ 9 h 9"/>
                <a:gd name="T2" fmla="*/ 17 w 17"/>
                <a:gd name="T3" fmla="*/ 8 h 9"/>
                <a:gd name="T4" fmla="*/ 6 w 17"/>
                <a:gd name="T5" fmla="*/ 3 h 9"/>
                <a:gd name="T6" fmla="*/ 1 w 17"/>
                <a:gd name="T7" fmla="*/ 0 h 9"/>
                <a:gd name="T8" fmla="*/ 1 w 17"/>
                <a:gd name="T9" fmla="*/ 1 h 9"/>
                <a:gd name="T10" fmla="*/ 1 w 17"/>
                <a:gd name="T11" fmla="*/ 3 h 9"/>
                <a:gd name="T12" fmla="*/ 0 w 17"/>
                <a:gd name="T13" fmla="*/ 3 h 9"/>
                <a:gd name="T14" fmla="*/ 0 w 17"/>
                <a:gd name="T15" fmla="*/ 5 h 9"/>
                <a:gd name="T16" fmla="*/ 17 w 17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9">
                  <a:moveTo>
                    <a:pt x="17" y="9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3" y="7"/>
                    <a:pt x="9" y="5"/>
                    <a:pt x="6" y="3"/>
                  </a:cubicBezTo>
                  <a:cubicBezTo>
                    <a:pt x="4" y="2"/>
                    <a:pt x="3" y="1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5"/>
                    <a:pt x="12" y="7"/>
                    <a:pt x="17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35"/>
            <p:cNvSpPr>
              <a:spLocks/>
            </p:cNvSpPr>
            <p:nvPr/>
          </p:nvSpPr>
          <p:spPr bwMode="auto">
            <a:xfrm>
              <a:off x="3804" y="2112"/>
              <a:ext cx="38" cy="29"/>
            </a:xfrm>
            <a:custGeom>
              <a:avLst/>
              <a:gdLst>
                <a:gd name="T0" fmla="*/ 16 w 16"/>
                <a:gd name="T1" fmla="*/ 12 h 12"/>
                <a:gd name="T2" fmla="*/ 16 w 16"/>
                <a:gd name="T3" fmla="*/ 11 h 12"/>
                <a:gd name="T4" fmla="*/ 3 w 16"/>
                <a:gd name="T5" fmla="*/ 0 h 12"/>
                <a:gd name="T6" fmla="*/ 2 w 16"/>
                <a:gd name="T7" fmla="*/ 1 h 12"/>
                <a:gd name="T8" fmla="*/ 3 w 16"/>
                <a:gd name="T9" fmla="*/ 2 h 12"/>
                <a:gd name="T10" fmla="*/ 1 w 16"/>
                <a:gd name="T11" fmla="*/ 2 h 12"/>
                <a:gd name="T12" fmla="*/ 0 w 16"/>
                <a:gd name="T13" fmla="*/ 4 h 12"/>
                <a:gd name="T14" fmla="*/ 13 w 16"/>
                <a:gd name="T15" fmla="*/ 10 h 12"/>
                <a:gd name="T16" fmla="*/ 16 w 16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12">
                  <a:moveTo>
                    <a:pt x="16" y="12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2" y="8"/>
                    <a:pt x="7" y="4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" y="5"/>
                    <a:pt x="9" y="8"/>
                    <a:pt x="13" y="10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36"/>
            <p:cNvSpPr>
              <a:spLocks/>
            </p:cNvSpPr>
            <p:nvPr/>
          </p:nvSpPr>
          <p:spPr bwMode="auto">
            <a:xfrm>
              <a:off x="3800" y="2134"/>
              <a:ext cx="42" cy="12"/>
            </a:xfrm>
            <a:custGeom>
              <a:avLst/>
              <a:gdLst>
                <a:gd name="T0" fmla="*/ 18 w 18"/>
                <a:gd name="T1" fmla="*/ 4 h 5"/>
                <a:gd name="T2" fmla="*/ 18 w 18"/>
                <a:gd name="T3" fmla="*/ 4 h 5"/>
                <a:gd name="T4" fmla="*/ 0 w 18"/>
                <a:gd name="T5" fmla="*/ 0 h 5"/>
                <a:gd name="T6" fmla="*/ 0 w 18"/>
                <a:gd name="T7" fmla="*/ 1 h 5"/>
                <a:gd name="T8" fmla="*/ 1 w 18"/>
                <a:gd name="T9" fmla="*/ 3 h 5"/>
                <a:gd name="T10" fmla="*/ 0 w 18"/>
                <a:gd name="T11" fmla="*/ 4 h 5"/>
                <a:gd name="T12" fmla="*/ 0 w 18"/>
                <a:gd name="T13" fmla="*/ 5 h 5"/>
                <a:gd name="T14" fmla="*/ 18 w 18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5">
                  <a:moveTo>
                    <a:pt x="18" y="4"/>
                  </a:moveTo>
                  <a:cubicBezTo>
                    <a:pt x="18" y="4"/>
                    <a:pt x="18" y="4"/>
                    <a:pt x="18" y="4"/>
                  </a:cubicBezTo>
                  <a:cubicBezTo>
                    <a:pt x="12" y="3"/>
                    <a:pt x="6" y="2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3"/>
                  </a:cubicBezTo>
                  <a:cubicBezTo>
                    <a:pt x="1" y="3"/>
                    <a:pt x="0" y="3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3"/>
                    <a:pt x="12" y="4"/>
                    <a:pt x="18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37"/>
            <p:cNvSpPr>
              <a:spLocks/>
            </p:cNvSpPr>
            <p:nvPr/>
          </p:nvSpPr>
          <p:spPr bwMode="auto">
            <a:xfrm>
              <a:off x="3800" y="2146"/>
              <a:ext cx="42" cy="12"/>
            </a:xfrm>
            <a:custGeom>
              <a:avLst/>
              <a:gdLst>
                <a:gd name="T0" fmla="*/ 18 w 18"/>
                <a:gd name="T1" fmla="*/ 0 h 5"/>
                <a:gd name="T2" fmla="*/ 18 w 18"/>
                <a:gd name="T3" fmla="*/ 0 h 5"/>
                <a:gd name="T4" fmla="*/ 0 w 18"/>
                <a:gd name="T5" fmla="*/ 0 h 5"/>
                <a:gd name="T6" fmla="*/ 0 w 18"/>
                <a:gd name="T7" fmla="*/ 2 h 5"/>
                <a:gd name="T8" fmla="*/ 0 w 18"/>
                <a:gd name="T9" fmla="*/ 4 h 5"/>
                <a:gd name="T10" fmla="*/ 1 w 18"/>
                <a:gd name="T11" fmla="*/ 5 h 5"/>
                <a:gd name="T12" fmla="*/ 13 w 18"/>
                <a:gd name="T13" fmla="*/ 1 h 5"/>
                <a:gd name="T14" fmla="*/ 18 w 1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5">
                  <a:moveTo>
                    <a:pt x="18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12" y="1"/>
                    <a:pt x="6" y="1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3"/>
                    <a:pt x="1" y="2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5" y="3"/>
                    <a:pt x="9" y="2"/>
                    <a:pt x="13" y="1"/>
                  </a:cubicBezTo>
                  <a:cubicBezTo>
                    <a:pt x="14" y="1"/>
                    <a:pt x="16" y="0"/>
                    <a:pt x="1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38"/>
            <p:cNvSpPr>
              <a:spLocks/>
            </p:cNvSpPr>
            <p:nvPr/>
          </p:nvSpPr>
          <p:spPr bwMode="auto">
            <a:xfrm>
              <a:off x="3802" y="2146"/>
              <a:ext cx="40" cy="23"/>
            </a:xfrm>
            <a:custGeom>
              <a:avLst/>
              <a:gdLst>
                <a:gd name="T0" fmla="*/ 17 w 17"/>
                <a:gd name="T1" fmla="*/ 1 h 10"/>
                <a:gd name="T2" fmla="*/ 17 w 17"/>
                <a:gd name="T3" fmla="*/ 0 h 10"/>
                <a:gd name="T4" fmla="*/ 2 w 17"/>
                <a:gd name="T5" fmla="*/ 5 h 10"/>
                <a:gd name="T6" fmla="*/ 0 w 17"/>
                <a:gd name="T7" fmla="*/ 5 h 10"/>
                <a:gd name="T8" fmla="*/ 0 w 17"/>
                <a:gd name="T9" fmla="*/ 7 h 10"/>
                <a:gd name="T10" fmla="*/ 2 w 17"/>
                <a:gd name="T11" fmla="*/ 7 h 10"/>
                <a:gd name="T12" fmla="*/ 1 w 17"/>
                <a:gd name="T13" fmla="*/ 9 h 10"/>
                <a:gd name="T14" fmla="*/ 2 w 17"/>
                <a:gd name="T15" fmla="*/ 10 h 10"/>
                <a:gd name="T16" fmla="*/ 17 w 17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0">
                  <a:moveTo>
                    <a:pt x="17" y="1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12" y="3"/>
                    <a:pt x="7" y="5"/>
                    <a:pt x="2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8"/>
                    <a:pt x="1" y="8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6" y="6"/>
                    <a:pt x="12" y="3"/>
                    <a:pt x="17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39"/>
            <p:cNvSpPr>
              <a:spLocks noEditPoints="1"/>
            </p:cNvSpPr>
            <p:nvPr/>
          </p:nvSpPr>
          <p:spPr bwMode="auto">
            <a:xfrm>
              <a:off x="3712" y="2243"/>
              <a:ext cx="254" cy="43"/>
            </a:xfrm>
            <a:custGeom>
              <a:avLst/>
              <a:gdLst>
                <a:gd name="T0" fmla="*/ 20 w 107"/>
                <a:gd name="T1" fmla="*/ 16 h 18"/>
                <a:gd name="T2" fmla="*/ 18 w 107"/>
                <a:gd name="T3" fmla="*/ 16 h 18"/>
                <a:gd name="T4" fmla="*/ 24 w 107"/>
                <a:gd name="T5" fmla="*/ 10 h 18"/>
                <a:gd name="T6" fmla="*/ 27 w 107"/>
                <a:gd name="T7" fmla="*/ 8 h 18"/>
                <a:gd name="T8" fmla="*/ 26 w 107"/>
                <a:gd name="T9" fmla="*/ 12 h 18"/>
                <a:gd name="T10" fmla="*/ 25 w 107"/>
                <a:gd name="T11" fmla="*/ 13 h 18"/>
                <a:gd name="T12" fmla="*/ 31 w 107"/>
                <a:gd name="T13" fmla="*/ 7 h 18"/>
                <a:gd name="T14" fmla="*/ 43 w 107"/>
                <a:gd name="T15" fmla="*/ 7 h 18"/>
                <a:gd name="T16" fmla="*/ 88 w 107"/>
                <a:gd name="T17" fmla="*/ 9 h 18"/>
                <a:gd name="T18" fmla="*/ 86 w 107"/>
                <a:gd name="T19" fmla="*/ 13 h 18"/>
                <a:gd name="T20" fmla="*/ 90 w 107"/>
                <a:gd name="T21" fmla="*/ 14 h 18"/>
                <a:gd name="T22" fmla="*/ 99 w 107"/>
                <a:gd name="T23" fmla="*/ 1 h 18"/>
                <a:gd name="T24" fmla="*/ 105 w 107"/>
                <a:gd name="T25" fmla="*/ 7 h 18"/>
                <a:gd name="T26" fmla="*/ 98 w 107"/>
                <a:gd name="T27" fmla="*/ 11 h 18"/>
                <a:gd name="T28" fmla="*/ 101 w 107"/>
                <a:gd name="T29" fmla="*/ 17 h 18"/>
                <a:gd name="T30" fmla="*/ 98 w 107"/>
                <a:gd name="T31" fmla="*/ 16 h 18"/>
                <a:gd name="T32" fmla="*/ 97 w 107"/>
                <a:gd name="T33" fmla="*/ 10 h 18"/>
                <a:gd name="T34" fmla="*/ 95 w 107"/>
                <a:gd name="T35" fmla="*/ 7 h 18"/>
                <a:gd name="T36" fmla="*/ 92 w 107"/>
                <a:gd name="T37" fmla="*/ 15 h 18"/>
                <a:gd name="T38" fmla="*/ 84 w 107"/>
                <a:gd name="T39" fmla="*/ 11 h 18"/>
                <a:gd name="T40" fmla="*/ 86 w 107"/>
                <a:gd name="T41" fmla="*/ 8 h 18"/>
                <a:gd name="T42" fmla="*/ 81 w 107"/>
                <a:gd name="T43" fmla="*/ 18 h 18"/>
                <a:gd name="T44" fmla="*/ 76 w 107"/>
                <a:gd name="T45" fmla="*/ 13 h 18"/>
                <a:gd name="T46" fmla="*/ 75 w 107"/>
                <a:gd name="T47" fmla="*/ 17 h 18"/>
                <a:gd name="T48" fmla="*/ 68 w 107"/>
                <a:gd name="T49" fmla="*/ 10 h 18"/>
                <a:gd name="T50" fmla="*/ 71 w 107"/>
                <a:gd name="T51" fmla="*/ 14 h 18"/>
                <a:gd name="T52" fmla="*/ 74 w 107"/>
                <a:gd name="T53" fmla="*/ 11 h 18"/>
                <a:gd name="T54" fmla="*/ 67 w 107"/>
                <a:gd name="T55" fmla="*/ 7 h 18"/>
                <a:gd name="T56" fmla="*/ 95 w 107"/>
                <a:gd name="T57" fmla="*/ 6 h 18"/>
                <a:gd name="T58" fmla="*/ 12 w 107"/>
                <a:gd name="T59" fmla="*/ 12 h 18"/>
                <a:gd name="T60" fmla="*/ 7 w 107"/>
                <a:gd name="T61" fmla="*/ 7 h 18"/>
                <a:gd name="T62" fmla="*/ 6 w 107"/>
                <a:gd name="T63" fmla="*/ 13 h 18"/>
                <a:gd name="T64" fmla="*/ 6 w 107"/>
                <a:gd name="T65" fmla="*/ 15 h 18"/>
                <a:gd name="T66" fmla="*/ 6 w 107"/>
                <a:gd name="T67" fmla="*/ 17 h 18"/>
                <a:gd name="T68" fmla="*/ 3 w 107"/>
                <a:gd name="T69" fmla="*/ 10 h 18"/>
                <a:gd name="T70" fmla="*/ 6 w 107"/>
                <a:gd name="T71" fmla="*/ 11 h 18"/>
                <a:gd name="T72" fmla="*/ 0 w 107"/>
                <a:gd name="T73" fmla="*/ 6 h 18"/>
                <a:gd name="T74" fmla="*/ 34 w 107"/>
                <a:gd name="T75" fmla="*/ 6 h 18"/>
                <a:gd name="T76" fmla="*/ 44 w 107"/>
                <a:gd name="T77" fmla="*/ 6 h 18"/>
                <a:gd name="T78" fmla="*/ 55 w 107"/>
                <a:gd name="T79" fmla="*/ 7 h 18"/>
                <a:gd name="T80" fmla="*/ 53 w 107"/>
                <a:gd name="T81" fmla="*/ 15 h 18"/>
                <a:gd name="T82" fmla="*/ 48 w 107"/>
                <a:gd name="T83" fmla="*/ 13 h 18"/>
                <a:gd name="T84" fmla="*/ 52 w 107"/>
                <a:gd name="T85" fmla="*/ 9 h 18"/>
                <a:gd name="T86" fmla="*/ 53 w 107"/>
                <a:gd name="T87" fmla="*/ 10 h 18"/>
                <a:gd name="T88" fmla="*/ 49 w 107"/>
                <a:gd name="T89" fmla="*/ 12 h 18"/>
                <a:gd name="T90" fmla="*/ 53 w 107"/>
                <a:gd name="T91" fmla="*/ 14 h 18"/>
                <a:gd name="T92" fmla="*/ 45 w 107"/>
                <a:gd name="T93" fmla="*/ 7 h 18"/>
                <a:gd name="T94" fmla="*/ 39 w 107"/>
                <a:gd name="T95" fmla="*/ 14 h 18"/>
                <a:gd name="T96" fmla="*/ 37 w 107"/>
                <a:gd name="T97" fmla="*/ 14 h 18"/>
                <a:gd name="T98" fmla="*/ 36 w 107"/>
                <a:gd name="T99" fmla="*/ 11 h 18"/>
                <a:gd name="T100" fmla="*/ 34 w 107"/>
                <a:gd name="T101" fmla="*/ 7 h 18"/>
                <a:gd name="T102" fmla="*/ 28 w 107"/>
                <a:gd name="T103" fmla="*/ 16 h 18"/>
                <a:gd name="T104" fmla="*/ 24 w 107"/>
                <a:gd name="T105" fmla="*/ 11 h 18"/>
                <a:gd name="T106" fmla="*/ 25 w 107"/>
                <a:gd name="T107" fmla="*/ 7 h 18"/>
                <a:gd name="T108" fmla="*/ 13 w 107"/>
                <a:gd name="T109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" h="18">
                  <a:moveTo>
                    <a:pt x="19" y="11"/>
                  </a:moveTo>
                  <a:cubicBezTo>
                    <a:pt x="19" y="11"/>
                    <a:pt x="19" y="11"/>
                    <a:pt x="19" y="11"/>
                  </a:cubicBezTo>
                  <a:cubicBezTo>
                    <a:pt x="18" y="11"/>
                    <a:pt x="18" y="11"/>
                    <a:pt x="18" y="12"/>
                  </a:cubicBezTo>
                  <a:cubicBezTo>
                    <a:pt x="18" y="13"/>
                    <a:pt x="18" y="13"/>
                    <a:pt x="18" y="14"/>
                  </a:cubicBezTo>
                  <a:cubicBezTo>
                    <a:pt x="19" y="15"/>
                    <a:pt x="19" y="15"/>
                    <a:pt x="20" y="16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7" y="14"/>
                    <a:pt x="17" y="13"/>
                    <a:pt x="17" y="12"/>
                  </a:cubicBezTo>
                  <a:cubicBezTo>
                    <a:pt x="17" y="12"/>
                    <a:pt x="17" y="11"/>
                    <a:pt x="17" y="11"/>
                  </a:cubicBezTo>
                  <a:cubicBezTo>
                    <a:pt x="17" y="10"/>
                    <a:pt x="18" y="10"/>
                    <a:pt x="19" y="10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1"/>
                    <a:pt x="24" y="11"/>
                  </a:cubicBezTo>
                  <a:lnTo>
                    <a:pt x="19" y="11"/>
                  </a:lnTo>
                  <a:close/>
                  <a:moveTo>
                    <a:pt x="31" y="7"/>
                  </a:moveTo>
                  <a:cubicBezTo>
                    <a:pt x="27" y="7"/>
                    <a:pt x="27" y="7"/>
                    <a:pt x="27" y="7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7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6" y="14"/>
                    <a:pt x="27" y="15"/>
                    <a:pt x="28" y="15"/>
                  </a:cubicBezTo>
                  <a:cubicBezTo>
                    <a:pt x="29" y="15"/>
                    <a:pt x="30" y="15"/>
                    <a:pt x="30" y="14"/>
                  </a:cubicBezTo>
                  <a:cubicBezTo>
                    <a:pt x="30" y="14"/>
                    <a:pt x="31" y="14"/>
                    <a:pt x="31" y="14"/>
                  </a:cubicBezTo>
                  <a:cubicBezTo>
                    <a:pt x="31" y="13"/>
                    <a:pt x="31" y="13"/>
                    <a:pt x="31" y="13"/>
                  </a:cubicBezTo>
                  <a:lnTo>
                    <a:pt x="31" y="7"/>
                  </a:lnTo>
                  <a:close/>
                  <a:moveTo>
                    <a:pt x="43" y="7"/>
                  </a:moveTo>
                  <a:cubicBezTo>
                    <a:pt x="39" y="7"/>
                    <a:pt x="39" y="7"/>
                    <a:pt x="39" y="7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3" y="11"/>
                    <a:pt x="43" y="11"/>
                    <a:pt x="43" y="11"/>
                  </a:cubicBezTo>
                  <a:lnTo>
                    <a:pt x="43" y="7"/>
                  </a:lnTo>
                  <a:close/>
                  <a:moveTo>
                    <a:pt x="92" y="7"/>
                  </a:moveTo>
                  <a:cubicBezTo>
                    <a:pt x="87" y="7"/>
                    <a:pt x="87" y="7"/>
                    <a:pt x="87" y="7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88" y="11"/>
                    <a:pt x="88" y="11"/>
                    <a:pt x="87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6" y="12"/>
                    <a:pt x="86" y="12"/>
                    <a:pt x="86" y="12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6" y="14"/>
                    <a:pt x="87" y="15"/>
                    <a:pt x="89" y="15"/>
                  </a:cubicBezTo>
                  <a:cubicBezTo>
                    <a:pt x="89" y="15"/>
                    <a:pt x="90" y="15"/>
                    <a:pt x="90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2" y="13"/>
                    <a:pt x="92" y="13"/>
                    <a:pt x="92" y="13"/>
                  </a:cubicBezTo>
                  <a:lnTo>
                    <a:pt x="92" y="7"/>
                  </a:lnTo>
                  <a:close/>
                  <a:moveTo>
                    <a:pt x="104" y="6"/>
                  </a:moveTo>
                  <a:cubicBezTo>
                    <a:pt x="99" y="1"/>
                    <a:pt x="99" y="1"/>
                    <a:pt x="99" y="1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5" y="6"/>
                    <a:pt x="105" y="6"/>
                    <a:pt x="105" y="6"/>
                  </a:cubicBezTo>
                  <a:cubicBezTo>
                    <a:pt x="107" y="6"/>
                    <a:pt x="107" y="6"/>
                    <a:pt x="107" y="6"/>
                  </a:cubicBezTo>
                  <a:cubicBezTo>
                    <a:pt x="107" y="7"/>
                    <a:pt x="107" y="7"/>
                    <a:pt x="107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10"/>
                    <a:pt x="104" y="10"/>
                    <a:pt x="104" y="10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9" y="11"/>
                    <a:pt x="98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8" y="13"/>
                    <a:pt x="98" y="14"/>
                    <a:pt x="99" y="15"/>
                  </a:cubicBezTo>
                  <a:cubicBezTo>
                    <a:pt x="99" y="16"/>
                    <a:pt x="100" y="17"/>
                    <a:pt x="100" y="17"/>
                  </a:cubicBezTo>
                  <a:cubicBezTo>
                    <a:pt x="101" y="17"/>
                    <a:pt x="101" y="17"/>
                    <a:pt x="101" y="17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97" y="14"/>
                    <a:pt x="96" y="14"/>
                  </a:cubicBezTo>
                  <a:cubicBezTo>
                    <a:pt x="96" y="13"/>
                    <a:pt x="96" y="13"/>
                    <a:pt x="96" y="12"/>
                  </a:cubicBezTo>
                  <a:cubicBezTo>
                    <a:pt x="96" y="11"/>
                    <a:pt x="96" y="11"/>
                    <a:pt x="97" y="10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8" y="10"/>
                    <a:pt x="98" y="9"/>
                    <a:pt x="98" y="9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5"/>
                    <a:pt x="90" y="16"/>
                    <a:pt x="89" y="16"/>
                  </a:cubicBezTo>
                  <a:cubicBezTo>
                    <a:pt x="87" y="16"/>
                    <a:pt x="86" y="15"/>
                    <a:pt x="85" y="15"/>
                  </a:cubicBezTo>
                  <a:cubicBezTo>
                    <a:pt x="85" y="14"/>
                    <a:pt x="84" y="13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5" y="11"/>
                    <a:pt x="86" y="11"/>
                    <a:pt x="86" y="11"/>
                  </a:cubicBezTo>
                  <a:cubicBezTo>
                    <a:pt x="87" y="11"/>
                    <a:pt x="87" y="10"/>
                    <a:pt x="87" y="9"/>
                  </a:cubicBezTo>
                  <a:cubicBezTo>
                    <a:pt x="87" y="9"/>
                    <a:pt x="87" y="9"/>
                    <a:pt x="86" y="8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7"/>
                    <a:pt x="82" y="7"/>
                    <a:pt x="82" y="7"/>
                  </a:cubicBezTo>
                  <a:cubicBezTo>
                    <a:pt x="81" y="7"/>
                    <a:pt x="81" y="7"/>
                    <a:pt x="81" y="7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6" y="11"/>
                    <a:pt x="76" y="11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6" y="16"/>
                    <a:pt x="76" y="16"/>
                    <a:pt x="75" y="17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2" y="17"/>
                    <a:pt x="71" y="16"/>
                    <a:pt x="70" y="15"/>
                  </a:cubicBezTo>
                  <a:cubicBezTo>
                    <a:pt x="70" y="14"/>
                    <a:pt x="69" y="13"/>
                    <a:pt x="69" y="1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0" y="12"/>
                    <a:pt x="70" y="13"/>
                    <a:pt x="71" y="14"/>
                  </a:cubicBezTo>
                  <a:cubicBezTo>
                    <a:pt x="72" y="15"/>
                    <a:pt x="73" y="16"/>
                    <a:pt x="74" y="16"/>
                  </a:cubicBezTo>
                  <a:cubicBezTo>
                    <a:pt x="74" y="16"/>
                    <a:pt x="75" y="16"/>
                    <a:pt x="75" y="15"/>
                  </a:cubicBezTo>
                  <a:cubicBezTo>
                    <a:pt x="75" y="15"/>
                    <a:pt x="75" y="15"/>
                    <a:pt x="75" y="14"/>
                  </a:cubicBezTo>
                  <a:cubicBezTo>
                    <a:pt x="75" y="14"/>
                    <a:pt x="75" y="13"/>
                    <a:pt x="75" y="13"/>
                  </a:cubicBezTo>
                  <a:cubicBezTo>
                    <a:pt x="75" y="12"/>
                    <a:pt x="75" y="12"/>
                    <a:pt x="74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0"/>
                    <a:pt x="73" y="10"/>
                    <a:pt x="73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95" y="6"/>
                    <a:pt x="95" y="6"/>
                    <a:pt x="95" y="6"/>
                  </a:cubicBezTo>
                  <a:cubicBezTo>
                    <a:pt x="95" y="6"/>
                    <a:pt x="95" y="6"/>
                    <a:pt x="95" y="6"/>
                  </a:cubicBezTo>
                  <a:lnTo>
                    <a:pt x="104" y="6"/>
                  </a:lnTo>
                  <a:close/>
                  <a:moveTo>
                    <a:pt x="13" y="7"/>
                  </a:move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8"/>
                    <a:pt x="7" y="18"/>
                    <a:pt x="6" y="17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6"/>
                    <a:pt x="50" y="15"/>
                    <a:pt x="49" y="15"/>
                  </a:cubicBezTo>
                  <a:cubicBezTo>
                    <a:pt x="49" y="14"/>
                    <a:pt x="48" y="14"/>
                    <a:pt x="48" y="14"/>
                  </a:cubicBezTo>
                  <a:cubicBezTo>
                    <a:pt x="48" y="14"/>
                    <a:pt x="48" y="13"/>
                    <a:pt x="48" y="13"/>
                  </a:cubicBezTo>
                  <a:cubicBezTo>
                    <a:pt x="48" y="13"/>
                    <a:pt x="48" y="13"/>
                    <a:pt x="48" y="12"/>
                  </a:cubicBezTo>
                  <a:cubicBezTo>
                    <a:pt x="48" y="12"/>
                    <a:pt x="48" y="11"/>
                    <a:pt x="49" y="10"/>
                  </a:cubicBezTo>
                  <a:cubicBezTo>
                    <a:pt x="49" y="9"/>
                    <a:pt x="50" y="9"/>
                    <a:pt x="51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2" y="9"/>
                    <a:pt x="52" y="9"/>
                    <a:pt x="52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1" y="10"/>
                    <a:pt x="51" y="10"/>
                    <a:pt x="50" y="10"/>
                  </a:cubicBezTo>
                  <a:cubicBezTo>
                    <a:pt x="50" y="10"/>
                    <a:pt x="50" y="11"/>
                    <a:pt x="49" y="11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3"/>
                    <a:pt x="50" y="14"/>
                    <a:pt x="50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5"/>
                    <a:pt x="53" y="14"/>
                    <a:pt x="53" y="14"/>
                  </a:cubicBezTo>
                  <a:cubicBezTo>
                    <a:pt x="53" y="14"/>
                    <a:pt x="54" y="14"/>
                    <a:pt x="54" y="13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8" y="15"/>
                    <a:pt x="38" y="14"/>
                    <a:pt x="37" y="14"/>
                  </a:cubicBezTo>
                  <a:cubicBezTo>
                    <a:pt x="37" y="14"/>
                    <a:pt x="37" y="13"/>
                    <a:pt x="36" y="13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12"/>
                    <a:pt x="36" y="11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0" y="16"/>
                    <a:pt x="28" y="16"/>
                  </a:cubicBezTo>
                  <a:cubicBezTo>
                    <a:pt x="27" y="16"/>
                    <a:pt x="26" y="15"/>
                    <a:pt x="25" y="15"/>
                  </a:cubicBezTo>
                  <a:cubicBezTo>
                    <a:pt x="24" y="14"/>
                    <a:pt x="24" y="13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6" y="11"/>
                    <a:pt x="26" y="11"/>
                  </a:cubicBezTo>
                  <a:cubicBezTo>
                    <a:pt x="26" y="11"/>
                    <a:pt x="27" y="10"/>
                    <a:pt x="27" y="9"/>
                  </a:cubicBezTo>
                  <a:cubicBezTo>
                    <a:pt x="27" y="9"/>
                    <a:pt x="26" y="9"/>
                    <a:pt x="26" y="8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lnTo>
                    <a:pt x="13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40"/>
            <p:cNvSpPr>
              <a:spLocks noEditPoints="1"/>
            </p:cNvSpPr>
            <p:nvPr/>
          </p:nvSpPr>
          <p:spPr bwMode="auto">
            <a:xfrm>
              <a:off x="3712" y="2243"/>
              <a:ext cx="256" cy="45"/>
            </a:xfrm>
            <a:custGeom>
              <a:avLst/>
              <a:gdLst>
                <a:gd name="T0" fmla="*/ 40 w 256"/>
                <a:gd name="T1" fmla="*/ 29 h 45"/>
                <a:gd name="T2" fmla="*/ 40 w 256"/>
                <a:gd name="T3" fmla="*/ 36 h 45"/>
                <a:gd name="T4" fmla="*/ 47 w 256"/>
                <a:gd name="T5" fmla="*/ 41 h 45"/>
                <a:gd name="T6" fmla="*/ 43 w 256"/>
                <a:gd name="T7" fmla="*/ 29 h 45"/>
                <a:gd name="T8" fmla="*/ 45 w 256"/>
                <a:gd name="T9" fmla="*/ 26 h 45"/>
                <a:gd name="T10" fmla="*/ 71 w 256"/>
                <a:gd name="T11" fmla="*/ 34 h 45"/>
                <a:gd name="T12" fmla="*/ 66 w 256"/>
                <a:gd name="T13" fmla="*/ 36 h 45"/>
                <a:gd name="T14" fmla="*/ 62 w 256"/>
                <a:gd name="T15" fmla="*/ 29 h 45"/>
                <a:gd name="T16" fmla="*/ 66 w 256"/>
                <a:gd name="T17" fmla="*/ 17 h 45"/>
                <a:gd name="T18" fmla="*/ 216 w 256"/>
                <a:gd name="T19" fmla="*/ 36 h 45"/>
                <a:gd name="T20" fmla="*/ 209 w 256"/>
                <a:gd name="T21" fmla="*/ 36 h 45"/>
                <a:gd name="T22" fmla="*/ 204 w 256"/>
                <a:gd name="T23" fmla="*/ 29 h 45"/>
                <a:gd name="T24" fmla="*/ 206 w 256"/>
                <a:gd name="T25" fmla="*/ 17 h 45"/>
                <a:gd name="T26" fmla="*/ 175 w 256"/>
                <a:gd name="T27" fmla="*/ 24 h 45"/>
                <a:gd name="T28" fmla="*/ 175 w 256"/>
                <a:gd name="T29" fmla="*/ 29 h 45"/>
                <a:gd name="T30" fmla="*/ 178 w 256"/>
                <a:gd name="T31" fmla="*/ 36 h 45"/>
                <a:gd name="T32" fmla="*/ 171 w 256"/>
                <a:gd name="T33" fmla="*/ 38 h 45"/>
                <a:gd name="T34" fmla="*/ 168 w 256"/>
                <a:gd name="T35" fmla="*/ 34 h 45"/>
                <a:gd name="T36" fmla="*/ 166 w 256"/>
                <a:gd name="T37" fmla="*/ 36 h 45"/>
                <a:gd name="T38" fmla="*/ 175 w 256"/>
                <a:gd name="T39" fmla="*/ 38 h 45"/>
                <a:gd name="T40" fmla="*/ 178 w 256"/>
                <a:gd name="T41" fmla="*/ 41 h 45"/>
                <a:gd name="T42" fmla="*/ 182 w 256"/>
                <a:gd name="T43" fmla="*/ 34 h 45"/>
                <a:gd name="T44" fmla="*/ 180 w 256"/>
                <a:gd name="T45" fmla="*/ 26 h 45"/>
                <a:gd name="T46" fmla="*/ 206 w 256"/>
                <a:gd name="T47" fmla="*/ 22 h 45"/>
                <a:gd name="T48" fmla="*/ 206 w 256"/>
                <a:gd name="T49" fmla="*/ 26 h 45"/>
                <a:gd name="T50" fmla="*/ 201 w 256"/>
                <a:gd name="T51" fmla="*/ 26 h 45"/>
                <a:gd name="T52" fmla="*/ 204 w 256"/>
                <a:gd name="T53" fmla="*/ 36 h 45"/>
                <a:gd name="T54" fmla="*/ 213 w 256"/>
                <a:gd name="T55" fmla="*/ 38 h 45"/>
                <a:gd name="T56" fmla="*/ 232 w 256"/>
                <a:gd name="T57" fmla="*/ 24 h 45"/>
                <a:gd name="T58" fmla="*/ 230 w 256"/>
                <a:gd name="T59" fmla="*/ 24 h 45"/>
                <a:gd name="T60" fmla="*/ 227 w 256"/>
                <a:gd name="T61" fmla="*/ 31 h 45"/>
                <a:gd name="T62" fmla="*/ 232 w 256"/>
                <a:gd name="T63" fmla="*/ 41 h 45"/>
                <a:gd name="T64" fmla="*/ 237 w 256"/>
                <a:gd name="T65" fmla="*/ 45 h 45"/>
                <a:gd name="T66" fmla="*/ 235 w 256"/>
                <a:gd name="T67" fmla="*/ 41 h 45"/>
                <a:gd name="T68" fmla="*/ 235 w 256"/>
                <a:gd name="T69" fmla="*/ 36 h 45"/>
                <a:gd name="T70" fmla="*/ 235 w 256"/>
                <a:gd name="T71" fmla="*/ 24 h 45"/>
                <a:gd name="T72" fmla="*/ 249 w 256"/>
                <a:gd name="T73" fmla="*/ 15 h 45"/>
                <a:gd name="T74" fmla="*/ 62 w 256"/>
                <a:gd name="T75" fmla="*/ 22 h 45"/>
                <a:gd name="T76" fmla="*/ 62 w 256"/>
                <a:gd name="T77" fmla="*/ 26 h 45"/>
                <a:gd name="T78" fmla="*/ 57 w 256"/>
                <a:gd name="T79" fmla="*/ 26 h 45"/>
                <a:gd name="T80" fmla="*/ 62 w 256"/>
                <a:gd name="T81" fmla="*/ 36 h 45"/>
                <a:gd name="T82" fmla="*/ 71 w 256"/>
                <a:gd name="T83" fmla="*/ 38 h 45"/>
                <a:gd name="T84" fmla="*/ 85 w 256"/>
                <a:gd name="T85" fmla="*/ 29 h 45"/>
                <a:gd name="T86" fmla="*/ 85 w 256"/>
                <a:gd name="T87" fmla="*/ 31 h 45"/>
                <a:gd name="T88" fmla="*/ 90 w 256"/>
                <a:gd name="T89" fmla="*/ 34 h 45"/>
                <a:gd name="T90" fmla="*/ 92 w 256"/>
                <a:gd name="T91" fmla="*/ 29 h 45"/>
                <a:gd name="T92" fmla="*/ 126 w 256"/>
                <a:gd name="T93" fmla="*/ 34 h 45"/>
                <a:gd name="T94" fmla="*/ 123 w 256"/>
                <a:gd name="T95" fmla="*/ 36 h 45"/>
                <a:gd name="T96" fmla="*/ 116 w 256"/>
                <a:gd name="T97" fmla="*/ 31 h 45"/>
                <a:gd name="T98" fmla="*/ 116 w 256"/>
                <a:gd name="T99" fmla="*/ 24 h 45"/>
                <a:gd name="T100" fmla="*/ 121 w 256"/>
                <a:gd name="T101" fmla="*/ 24 h 45"/>
                <a:gd name="T102" fmla="*/ 126 w 256"/>
                <a:gd name="T103" fmla="*/ 22 h 45"/>
                <a:gd name="T104" fmla="*/ 121 w 256"/>
                <a:gd name="T105" fmla="*/ 22 h 45"/>
                <a:gd name="T106" fmla="*/ 114 w 256"/>
                <a:gd name="T107" fmla="*/ 31 h 45"/>
                <a:gd name="T108" fmla="*/ 116 w 256"/>
                <a:gd name="T109" fmla="*/ 34 h 45"/>
                <a:gd name="T110" fmla="*/ 116 w 256"/>
                <a:gd name="T111" fmla="*/ 36 h 45"/>
                <a:gd name="T112" fmla="*/ 109 w 256"/>
                <a:gd name="T113" fmla="*/ 15 h 45"/>
                <a:gd name="T114" fmla="*/ 14 w 256"/>
                <a:gd name="T115" fmla="*/ 26 h 45"/>
                <a:gd name="T116" fmla="*/ 10 w 256"/>
                <a:gd name="T117" fmla="*/ 29 h 45"/>
                <a:gd name="T118" fmla="*/ 17 w 256"/>
                <a:gd name="T119" fmla="*/ 41 h 45"/>
                <a:gd name="T120" fmla="*/ 12 w 256"/>
                <a:gd name="T121" fmla="*/ 31 h 45"/>
                <a:gd name="T122" fmla="*/ 14 w 256"/>
                <a:gd name="T123" fmla="*/ 29 h 45"/>
                <a:gd name="T124" fmla="*/ 17 w 256"/>
                <a:gd name="T125" fmla="*/ 3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" h="45">
                  <a:moveTo>
                    <a:pt x="45" y="24"/>
                  </a:moveTo>
                  <a:lnTo>
                    <a:pt x="45" y="24"/>
                  </a:lnTo>
                  <a:lnTo>
                    <a:pt x="57" y="24"/>
                  </a:lnTo>
                  <a:lnTo>
                    <a:pt x="57" y="26"/>
                  </a:lnTo>
                  <a:lnTo>
                    <a:pt x="45" y="26"/>
                  </a:lnTo>
                  <a:lnTo>
                    <a:pt x="45" y="24"/>
                  </a:lnTo>
                  <a:close/>
                  <a:moveTo>
                    <a:pt x="57" y="26"/>
                  </a:move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close/>
                  <a:moveTo>
                    <a:pt x="57" y="26"/>
                  </a:moveTo>
                  <a:lnTo>
                    <a:pt x="57" y="26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6"/>
                  </a:lnTo>
                  <a:lnTo>
                    <a:pt x="57" y="26"/>
                  </a:lnTo>
                  <a:close/>
                  <a:moveTo>
                    <a:pt x="57" y="24"/>
                  </a:move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close/>
                  <a:moveTo>
                    <a:pt x="57" y="24"/>
                  </a:moveTo>
                  <a:lnTo>
                    <a:pt x="57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57" y="24"/>
                  </a:lnTo>
                  <a:lnTo>
                    <a:pt x="57" y="24"/>
                  </a:lnTo>
                  <a:close/>
                  <a:moveTo>
                    <a:pt x="45" y="24"/>
                  </a:move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close/>
                  <a:moveTo>
                    <a:pt x="40" y="24"/>
                  </a:move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close/>
                  <a:moveTo>
                    <a:pt x="38" y="29"/>
                  </a:move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close/>
                  <a:moveTo>
                    <a:pt x="40" y="36"/>
                  </a:move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close/>
                  <a:moveTo>
                    <a:pt x="40" y="36"/>
                  </a:moveTo>
                  <a:lnTo>
                    <a:pt x="43" y="36"/>
                  </a:lnTo>
                  <a:lnTo>
                    <a:pt x="45" y="38"/>
                  </a:lnTo>
                  <a:lnTo>
                    <a:pt x="43" y="41"/>
                  </a:lnTo>
                  <a:lnTo>
                    <a:pt x="40" y="36"/>
                  </a:lnTo>
                  <a:lnTo>
                    <a:pt x="40" y="36"/>
                  </a:lnTo>
                  <a:close/>
                  <a:moveTo>
                    <a:pt x="43" y="41"/>
                  </a:move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close/>
                  <a:moveTo>
                    <a:pt x="43" y="41"/>
                  </a:moveTo>
                  <a:lnTo>
                    <a:pt x="45" y="38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3" y="41"/>
                  </a:lnTo>
                  <a:lnTo>
                    <a:pt x="43" y="41"/>
                  </a:lnTo>
                  <a:close/>
                  <a:moveTo>
                    <a:pt x="45" y="41"/>
                  </a:move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close/>
                  <a:moveTo>
                    <a:pt x="45" y="41"/>
                  </a:moveTo>
                  <a:lnTo>
                    <a:pt x="45" y="41"/>
                  </a:lnTo>
                  <a:lnTo>
                    <a:pt x="50" y="43"/>
                  </a:lnTo>
                  <a:lnTo>
                    <a:pt x="47" y="43"/>
                  </a:lnTo>
                  <a:lnTo>
                    <a:pt x="45" y="41"/>
                  </a:lnTo>
                  <a:lnTo>
                    <a:pt x="45" y="41"/>
                  </a:lnTo>
                  <a:close/>
                  <a:moveTo>
                    <a:pt x="50" y="43"/>
                  </a:moveTo>
                  <a:lnTo>
                    <a:pt x="47" y="45"/>
                  </a:lnTo>
                  <a:lnTo>
                    <a:pt x="47" y="43"/>
                  </a:lnTo>
                  <a:lnTo>
                    <a:pt x="50" y="43"/>
                  </a:lnTo>
                  <a:close/>
                  <a:moveTo>
                    <a:pt x="47" y="43"/>
                  </a:moveTo>
                  <a:lnTo>
                    <a:pt x="47" y="43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47" y="43"/>
                  </a:lnTo>
                  <a:close/>
                  <a:moveTo>
                    <a:pt x="50" y="41"/>
                  </a:moveTo>
                  <a:lnTo>
                    <a:pt x="52" y="41"/>
                  </a:lnTo>
                  <a:lnTo>
                    <a:pt x="50" y="43"/>
                  </a:lnTo>
                  <a:lnTo>
                    <a:pt x="50" y="41"/>
                  </a:lnTo>
                  <a:close/>
                  <a:moveTo>
                    <a:pt x="50" y="43"/>
                  </a:moveTo>
                  <a:lnTo>
                    <a:pt x="50" y="41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7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3"/>
                  </a:lnTo>
                  <a:close/>
                  <a:moveTo>
                    <a:pt x="47" y="41"/>
                  </a:move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close/>
                  <a:moveTo>
                    <a:pt x="47" y="41"/>
                  </a:moveTo>
                  <a:lnTo>
                    <a:pt x="47" y="41"/>
                  </a:lnTo>
                  <a:lnTo>
                    <a:pt x="45" y="38"/>
                  </a:lnTo>
                  <a:lnTo>
                    <a:pt x="47" y="38"/>
                  </a:lnTo>
                  <a:lnTo>
                    <a:pt x="50" y="41"/>
                  </a:lnTo>
                  <a:lnTo>
                    <a:pt x="47" y="41"/>
                  </a:lnTo>
                  <a:close/>
                  <a:moveTo>
                    <a:pt x="45" y="38"/>
                  </a:move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close/>
                  <a:moveTo>
                    <a:pt x="47" y="38"/>
                  </a:move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close/>
                  <a:moveTo>
                    <a:pt x="45" y="34"/>
                  </a:move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5" y="34"/>
                  </a:lnTo>
                  <a:close/>
                  <a:moveTo>
                    <a:pt x="43" y="29"/>
                  </a:move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73" y="17"/>
                  </a:moveTo>
                  <a:lnTo>
                    <a:pt x="76" y="17"/>
                  </a:lnTo>
                  <a:lnTo>
                    <a:pt x="76" y="17"/>
                  </a:lnTo>
                  <a:lnTo>
                    <a:pt x="73" y="17"/>
                  </a:lnTo>
                  <a:close/>
                  <a:moveTo>
                    <a:pt x="73" y="17"/>
                  </a:moveTo>
                  <a:lnTo>
                    <a:pt x="76" y="17"/>
                  </a:lnTo>
                  <a:lnTo>
                    <a:pt x="76" y="31"/>
                  </a:lnTo>
                  <a:lnTo>
                    <a:pt x="73" y="31"/>
                  </a:lnTo>
                  <a:lnTo>
                    <a:pt x="73" y="17"/>
                  </a:lnTo>
                  <a:lnTo>
                    <a:pt x="73" y="17"/>
                  </a:lnTo>
                  <a:close/>
                  <a:moveTo>
                    <a:pt x="76" y="31"/>
                  </a:move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close/>
                  <a:moveTo>
                    <a:pt x="76" y="31"/>
                  </a:moveTo>
                  <a:lnTo>
                    <a:pt x="76" y="31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1"/>
                  </a:lnTo>
                  <a:lnTo>
                    <a:pt x="76" y="31"/>
                  </a:lnTo>
                  <a:close/>
                  <a:moveTo>
                    <a:pt x="73" y="34"/>
                  </a:move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close/>
                  <a:moveTo>
                    <a:pt x="73" y="34"/>
                  </a:move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close/>
                  <a:moveTo>
                    <a:pt x="71" y="34"/>
                  </a:move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71" y="34"/>
                  </a:move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66" y="36"/>
                  </a:move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close/>
                  <a:moveTo>
                    <a:pt x="62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59" y="31"/>
                  </a:lnTo>
                  <a:close/>
                  <a:moveTo>
                    <a:pt x="62" y="31"/>
                  </a:move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close/>
                  <a:moveTo>
                    <a:pt x="62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2" y="31"/>
                  </a:lnTo>
                  <a:lnTo>
                    <a:pt x="62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29"/>
                  </a:lnTo>
                  <a:lnTo>
                    <a:pt x="59" y="29"/>
                  </a:lnTo>
                  <a:lnTo>
                    <a:pt x="59" y="31"/>
                  </a:lnTo>
                  <a:close/>
                  <a:moveTo>
                    <a:pt x="59" y="31"/>
                  </a:moveTo>
                  <a:lnTo>
                    <a:pt x="59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9" y="31"/>
                  </a:lnTo>
                  <a:lnTo>
                    <a:pt x="59" y="31"/>
                  </a:lnTo>
                  <a:close/>
                  <a:moveTo>
                    <a:pt x="62" y="29"/>
                  </a:move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close/>
                  <a:moveTo>
                    <a:pt x="62" y="29"/>
                  </a:moveTo>
                  <a:lnTo>
                    <a:pt x="62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2" y="29"/>
                  </a:lnTo>
                  <a:close/>
                  <a:moveTo>
                    <a:pt x="64" y="29"/>
                  </a:move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close/>
                  <a:moveTo>
                    <a:pt x="64" y="29"/>
                  </a:moveTo>
                  <a:lnTo>
                    <a:pt x="64" y="29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close/>
                  <a:moveTo>
                    <a:pt x="66" y="24"/>
                  </a:move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close/>
                  <a:moveTo>
                    <a:pt x="66" y="24"/>
                  </a:moveTo>
                  <a:lnTo>
                    <a:pt x="66" y="24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4"/>
                  </a:lnTo>
                  <a:lnTo>
                    <a:pt x="66" y="24"/>
                  </a:lnTo>
                  <a:close/>
                  <a:moveTo>
                    <a:pt x="66" y="22"/>
                  </a:move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close/>
                  <a:moveTo>
                    <a:pt x="66" y="22"/>
                  </a:moveTo>
                  <a:lnTo>
                    <a:pt x="66" y="22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2"/>
                  </a:lnTo>
                  <a:lnTo>
                    <a:pt x="66" y="22"/>
                  </a:lnTo>
                  <a:close/>
                  <a:moveTo>
                    <a:pt x="66" y="19"/>
                  </a:moveTo>
                  <a:lnTo>
                    <a:pt x="66" y="19"/>
                  </a:lnTo>
                  <a:lnTo>
                    <a:pt x="66" y="19"/>
                  </a:lnTo>
                  <a:lnTo>
                    <a:pt x="66" y="19"/>
                  </a:lnTo>
                  <a:close/>
                  <a:moveTo>
                    <a:pt x="66" y="19"/>
                  </a:moveTo>
                  <a:lnTo>
                    <a:pt x="64" y="19"/>
                  </a:lnTo>
                  <a:lnTo>
                    <a:pt x="64" y="19"/>
                  </a:lnTo>
                  <a:lnTo>
                    <a:pt x="66" y="17"/>
                  </a:lnTo>
                  <a:lnTo>
                    <a:pt x="66" y="19"/>
                  </a:lnTo>
                  <a:lnTo>
                    <a:pt x="66" y="19"/>
                  </a:lnTo>
                  <a:close/>
                  <a:moveTo>
                    <a:pt x="66" y="17"/>
                  </a:moveTo>
                  <a:lnTo>
                    <a:pt x="66" y="17"/>
                  </a:lnTo>
                  <a:lnTo>
                    <a:pt x="66" y="17"/>
                  </a:lnTo>
                  <a:close/>
                  <a:moveTo>
                    <a:pt x="66" y="17"/>
                  </a:moveTo>
                  <a:lnTo>
                    <a:pt x="64" y="19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6" y="17"/>
                  </a:lnTo>
                  <a:close/>
                  <a:moveTo>
                    <a:pt x="64" y="17"/>
                  </a:moveTo>
                  <a:lnTo>
                    <a:pt x="64" y="17"/>
                  </a:lnTo>
                  <a:lnTo>
                    <a:pt x="64" y="17"/>
                  </a:lnTo>
                  <a:lnTo>
                    <a:pt x="64" y="17"/>
                  </a:lnTo>
                  <a:close/>
                  <a:moveTo>
                    <a:pt x="64" y="17"/>
                  </a:moveTo>
                  <a:lnTo>
                    <a:pt x="64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64" y="17"/>
                  </a:lnTo>
                  <a:lnTo>
                    <a:pt x="64" y="17"/>
                  </a:lnTo>
                  <a:close/>
                  <a:moveTo>
                    <a:pt x="102" y="17"/>
                  </a:moveTo>
                  <a:lnTo>
                    <a:pt x="104" y="17"/>
                  </a:lnTo>
                  <a:lnTo>
                    <a:pt x="104" y="17"/>
                  </a:lnTo>
                  <a:lnTo>
                    <a:pt x="102" y="17"/>
                  </a:lnTo>
                  <a:close/>
                  <a:moveTo>
                    <a:pt x="102" y="17"/>
                  </a:moveTo>
                  <a:lnTo>
                    <a:pt x="104" y="17"/>
                  </a:lnTo>
                  <a:lnTo>
                    <a:pt x="104" y="26"/>
                  </a:lnTo>
                  <a:lnTo>
                    <a:pt x="102" y="26"/>
                  </a:lnTo>
                  <a:lnTo>
                    <a:pt x="102" y="17"/>
                  </a:lnTo>
                  <a:lnTo>
                    <a:pt x="102" y="17"/>
                  </a:lnTo>
                  <a:close/>
                  <a:moveTo>
                    <a:pt x="104" y="26"/>
                  </a:moveTo>
                  <a:lnTo>
                    <a:pt x="104" y="29"/>
                  </a:lnTo>
                  <a:lnTo>
                    <a:pt x="102" y="29"/>
                  </a:lnTo>
                  <a:lnTo>
                    <a:pt x="104" y="26"/>
                  </a:lnTo>
                  <a:close/>
                  <a:moveTo>
                    <a:pt x="104" y="26"/>
                  </a:moveTo>
                  <a:lnTo>
                    <a:pt x="102" y="29"/>
                  </a:lnTo>
                  <a:lnTo>
                    <a:pt x="92" y="29"/>
                  </a:lnTo>
                  <a:lnTo>
                    <a:pt x="92" y="26"/>
                  </a:lnTo>
                  <a:lnTo>
                    <a:pt x="102" y="26"/>
                  </a:lnTo>
                  <a:lnTo>
                    <a:pt x="104" y="26"/>
                  </a:lnTo>
                  <a:close/>
                  <a:moveTo>
                    <a:pt x="92" y="29"/>
                  </a:moveTo>
                  <a:lnTo>
                    <a:pt x="92" y="29"/>
                  </a:lnTo>
                  <a:lnTo>
                    <a:pt x="92" y="26"/>
                  </a:lnTo>
                  <a:lnTo>
                    <a:pt x="92" y="29"/>
                  </a:lnTo>
                  <a:close/>
                  <a:moveTo>
                    <a:pt x="92" y="29"/>
                  </a:moveTo>
                  <a:lnTo>
                    <a:pt x="92" y="26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26"/>
                  </a:lnTo>
                  <a:lnTo>
                    <a:pt x="92" y="29"/>
                  </a:lnTo>
                  <a:close/>
                  <a:moveTo>
                    <a:pt x="92" y="17"/>
                  </a:moveTo>
                  <a:lnTo>
                    <a:pt x="92" y="17"/>
                  </a:lnTo>
                  <a:lnTo>
                    <a:pt x="92" y="17"/>
                  </a:lnTo>
                  <a:lnTo>
                    <a:pt x="92" y="17"/>
                  </a:lnTo>
                  <a:close/>
                  <a:moveTo>
                    <a:pt x="92" y="17"/>
                  </a:moveTo>
                  <a:lnTo>
                    <a:pt x="92" y="17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92" y="17"/>
                  </a:lnTo>
                  <a:lnTo>
                    <a:pt x="92" y="17"/>
                  </a:lnTo>
                  <a:close/>
                  <a:moveTo>
                    <a:pt x="218" y="17"/>
                  </a:moveTo>
                  <a:lnTo>
                    <a:pt x="218" y="17"/>
                  </a:lnTo>
                  <a:lnTo>
                    <a:pt x="218" y="17"/>
                  </a:lnTo>
                  <a:lnTo>
                    <a:pt x="218" y="17"/>
                  </a:lnTo>
                  <a:close/>
                  <a:moveTo>
                    <a:pt x="218" y="17"/>
                  </a:moveTo>
                  <a:lnTo>
                    <a:pt x="218" y="17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18" y="17"/>
                  </a:lnTo>
                  <a:lnTo>
                    <a:pt x="218" y="17"/>
                  </a:lnTo>
                  <a:close/>
                  <a:moveTo>
                    <a:pt x="218" y="31"/>
                  </a:moveTo>
                  <a:lnTo>
                    <a:pt x="218" y="31"/>
                  </a:lnTo>
                  <a:lnTo>
                    <a:pt x="218" y="31"/>
                  </a:lnTo>
                  <a:lnTo>
                    <a:pt x="218" y="31"/>
                  </a:lnTo>
                  <a:close/>
                  <a:moveTo>
                    <a:pt x="218" y="31"/>
                  </a:moveTo>
                  <a:lnTo>
                    <a:pt x="218" y="31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8" y="31"/>
                  </a:lnTo>
                  <a:lnTo>
                    <a:pt x="218" y="31"/>
                  </a:lnTo>
                  <a:close/>
                  <a:moveTo>
                    <a:pt x="216" y="34"/>
                  </a:move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close/>
                  <a:moveTo>
                    <a:pt x="216" y="34"/>
                  </a:move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close/>
                  <a:moveTo>
                    <a:pt x="213" y="34"/>
                  </a:move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close/>
                  <a:moveTo>
                    <a:pt x="213" y="34"/>
                  </a:move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3" y="34"/>
                  </a:lnTo>
                  <a:close/>
                  <a:moveTo>
                    <a:pt x="211" y="36"/>
                  </a:moveTo>
                  <a:lnTo>
                    <a:pt x="211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6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11" y="36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1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4" y="31"/>
                  </a:moveTo>
                  <a:lnTo>
                    <a:pt x="201" y="31"/>
                  </a:lnTo>
                  <a:lnTo>
                    <a:pt x="201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close/>
                  <a:moveTo>
                    <a:pt x="201" y="31"/>
                  </a:move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close/>
                  <a:moveTo>
                    <a:pt x="201" y="31"/>
                  </a:moveTo>
                  <a:lnTo>
                    <a:pt x="201" y="31"/>
                  </a:lnTo>
                  <a:lnTo>
                    <a:pt x="201" y="31"/>
                  </a:lnTo>
                  <a:lnTo>
                    <a:pt x="204" y="29"/>
                  </a:lnTo>
                  <a:lnTo>
                    <a:pt x="204" y="31"/>
                  </a:lnTo>
                  <a:lnTo>
                    <a:pt x="201" y="31"/>
                  </a:lnTo>
                  <a:close/>
                  <a:moveTo>
                    <a:pt x="201" y="31"/>
                  </a:moveTo>
                  <a:lnTo>
                    <a:pt x="201" y="29"/>
                  </a:lnTo>
                  <a:lnTo>
                    <a:pt x="201" y="29"/>
                  </a:lnTo>
                  <a:lnTo>
                    <a:pt x="201" y="31"/>
                  </a:lnTo>
                  <a:close/>
                  <a:moveTo>
                    <a:pt x="201" y="31"/>
                  </a:moveTo>
                  <a:lnTo>
                    <a:pt x="201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31"/>
                  </a:lnTo>
                  <a:lnTo>
                    <a:pt x="201" y="31"/>
                  </a:lnTo>
                  <a:close/>
                  <a:moveTo>
                    <a:pt x="204" y="29"/>
                  </a:move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close/>
                  <a:moveTo>
                    <a:pt x="204" y="29"/>
                  </a:moveTo>
                  <a:lnTo>
                    <a:pt x="204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4" y="29"/>
                  </a:lnTo>
                  <a:lnTo>
                    <a:pt x="204" y="29"/>
                  </a:lnTo>
                  <a:close/>
                  <a:moveTo>
                    <a:pt x="206" y="29"/>
                  </a:move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close/>
                  <a:moveTo>
                    <a:pt x="206" y="29"/>
                  </a:move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6"/>
                  </a:lnTo>
                  <a:lnTo>
                    <a:pt x="211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close/>
                  <a:moveTo>
                    <a:pt x="211" y="24"/>
                  </a:move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close/>
                  <a:moveTo>
                    <a:pt x="211" y="24"/>
                  </a:moveTo>
                  <a:lnTo>
                    <a:pt x="209" y="24"/>
                  </a:lnTo>
                  <a:lnTo>
                    <a:pt x="209" y="22"/>
                  </a:lnTo>
                  <a:lnTo>
                    <a:pt x="211" y="22"/>
                  </a:lnTo>
                  <a:lnTo>
                    <a:pt x="211" y="24"/>
                  </a:lnTo>
                  <a:lnTo>
                    <a:pt x="211" y="24"/>
                  </a:lnTo>
                  <a:close/>
                  <a:moveTo>
                    <a:pt x="211" y="22"/>
                  </a:moveTo>
                  <a:lnTo>
                    <a:pt x="211" y="22"/>
                  </a:lnTo>
                  <a:lnTo>
                    <a:pt x="211" y="22"/>
                  </a:lnTo>
                  <a:lnTo>
                    <a:pt x="211" y="22"/>
                  </a:lnTo>
                  <a:close/>
                  <a:moveTo>
                    <a:pt x="211" y="22"/>
                  </a:moveTo>
                  <a:lnTo>
                    <a:pt x="209" y="22"/>
                  </a:lnTo>
                  <a:lnTo>
                    <a:pt x="209" y="19"/>
                  </a:lnTo>
                  <a:lnTo>
                    <a:pt x="209" y="19"/>
                  </a:lnTo>
                  <a:lnTo>
                    <a:pt x="211" y="22"/>
                  </a:lnTo>
                  <a:lnTo>
                    <a:pt x="211" y="22"/>
                  </a:lnTo>
                  <a:close/>
                  <a:moveTo>
                    <a:pt x="209" y="19"/>
                  </a:moveTo>
                  <a:lnTo>
                    <a:pt x="209" y="19"/>
                  </a:lnTo>
                  <a:lnTo>
                    <a:pt x="209" y="19"/>
                  </a:lnTo>
                  <a:lnTo>
                    <a:pt x="209" y="19"/>
                  </a:lnTo>
                  <a:close/>
                  <a:moveTo>
                    <a:pt x="209" y="19"/>
                  </a:moveTo>
                  <a:lnTo>
                    <a:pt x="209" y="19"/>
                  </a:lnTo>
                  <a:lnTo>
                    <a:pt x="206" y="19"/>
                  </a:lnTo>
                  <a:lnTo>
                    <a:pt x="209" y="17"/>
                  </a:lnTo>
                  <a:lnTo>
                    <a:pt x="209" y="19"/>
                  </a:lnTo>
                  <a:lnTo>
                    <a:pt x="209" y="19"/>
                  </a:lnTo>
                  <a:close/>
                  <a:moveTo>
                    <a:pt x="209" y="17"/>
                  </a:moveTo>
                  <a:lnTo>
                    <a:pt x="209" y="17"/>
                  </a:lnTo>
                  <a:lnTo>
                    <a:pt x="209" y="17"/>
                  </a:lnTo>
                  <a:close/>
                  <a:moveTo>
                    <a:pt x="209" y="17"/>
                  </a:moveTo>
                  <a:lnTo>
                    <a:pt x="206" y="19"/>
                  </a:lnTo>
                  <a:lnTo>
                    <a:pt x="206" y="17"/>
                  </a:lnTo>
                  <a:lnTo>
                    <a:pt x="209" y="17"/>
                  </a:lnTo>
                  <a:lnTo>
                    <a:pt x="209" y="17"/>
                  </a:lnTo>
                  <a:lnTo>
                    <a:pt x="209" y="17"/>
                  </a:lnTo>
                  <a:close/>
                  <a:moveTo>
                    <a:pt x="206" y="17"/>
                  </a:moveTo>
                  <a:lnTo>
                    <a:pt x="206" y="17"/>
                  </a:lnTo>
                  <a:lnTo>
                    <a:pt x="206" y="17"/>
                  </a:lnTo>
                  <a:lnTo>
                    <a:pt x="206" y="17"/>
                  </a:lnTo>
                  <a:close/>
                  <a:moveTo>
                    <a:pt x="206" y="17"/>
                  </a:moveTo>
                  <a:lnTo>
                    <a:pt x="206" y="17"/>
                  </a:lnTo>
                  <a:lnTo>
                    <a:pt x="218" y="17"/>
                  </a:lnTo>
                  <a:lnTo>
                    <a:pt x="218" y="17"/>
                  </a:lnTo>
                  <a:lnTo>
                    <a:pt x="206" y="17"/>
                  </a:lnTo>
                  <a:lnTo>
                    <a:pt x="206" y="17"/>
                  </a:lnTo>
                  <a:close/>
                  <a:moveTo>
                    <a:pt x="246" y="15"/>
                  </a:moveTo>
                  <a:lnTo>
                    <a:pt x="249" y="15"/>
                  </a:lnTo>
                  <a:lnTo>
                    <a:pt x="246" y="15"/>
                  </a:lnTo>
                  <a:lnTo>
                    <a:pt x="246" y="15"/>
                  </a:lnTo>
                  <a:close/>
                  <a:moveTo>
                    <a:pt x="246" y="15"/>
                  </a:moveTo>
                  <a:lnTo>
                    <a:pt x="246" y="15"/>
                  </a:lnTo>
                  <a:lnTo>
                    <a:pt x="225" y="15"/>
                  </a:lnTo>
                  <a:lnTo>
                    <a:pt x="225" y="15"/>
                  </a:lnTo>
                  <a:lnTo>
                    <a:pt x="246" y="15"/>
                  </a:lnTo>
                  <a:lnTo>
                    <a:pt x="246" y="15"/>
                  </a:lnTo>
                  <a:close/>
                  <a:moveTo>
                    <a:pt x="225" y="15"/>
                  </a:moveTo>
                  <a:lnTo>
                    <a:pt x="225" y="15"/>
                  </a:lnTo>
                  <a:lnTo>
                    <a:pt x="225" y="15"/>
                  </a:lnTo>
                  <a:lnTo>
                    <a:pt x="225" y="15"/>
                  </a:lnTo>
                  <a:lnTo>
                    <a:pt x="225" y="15"/>
                  </a:lnTo>
                  <a:lnTo>
                    <a:pt x="225" y="15"/>
                  </a:lnTo>
                  <a:close/>
                  <a:moveTo>
                    <a:pt x="225" y="15"/>
                  </a:moveTo>
                  <a:lnTo>
                    <a:pt x="225" y="15"/>
                  </a:lnTo>
                  <a:lnTo>
                    <a:pt x="197" y="15"/>
                  </a:lnTo>
                  <a:lnTo>
                    <a:pt x="197" y="15"/>
                  </a:lnTo>
                  <a:lnTo>
                    <a:pt x="225" y="15"/>
                  </a:lnTo>
                  <a:lnTo>
                    <a:pt x="225" y="15"/>
                  </a:lnTo>
                  <a:close/>
                  <a:moveTo>
                    <a:pt x="197" y="15"/>
                  </a:moveTo>
                  <a:lnTo>
                    <a:pt x="197" y="15"/>
                  </a:lnTo>
                  <a:lnTo>
                    <a:pt x="194" y="15"/>
                  </a:lnTo>
                  <a:lnTo>
                    <a:pt x="194" y="15"/>
                  </a:lnTo>
                  <a:lnTo>
                    <a:pt x="197" y="15"/>
                  </a:lnTo>
                  <a:lnTo>
                    <a:pt x="197" y="15"/>
                  </a:lnTo>
                  <a:close/>
                  <a:moveTo>
                    <a:pt x="194" y="15"/>
                  </a:moveTo>
                  <a:lnTo>
                    <a:pt x="194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94" y="15"/>
                  </a:lnTo>
                  <a:lnTo>
                    <a:pt x="194" y="15"/>
                  </a:lnTo>
                  <a:close/>
                  <a:moveTo>
                    <a:pt x="156" y="15"/>
                  </a:moveTo>
                  <a:lnTo>
                    <a:pt x="156" y="15"/>
                  </a:lnTo>
                  <a:lnTo>
                    <a:pt x="159" y="15"/>
                  </a:lnTo>
                  <a:lnTo>
                    <a:pt x="156" y="15"/>
                  </a:lnTo>
                  <a:close/>
                  <a:moveTo>
                    <a:pt x="159" y="15"/>
                  </a:moveTo>
                  <a:lnTo>
                    <a:pt x="159" y="15"/>
                  </a:lnTo>
                  <a:lnTo>
                    <a:pt x="159" y="17"/>
                  </a:lnTo>
                  <a:lnTo>
                    <a:pt x="156" y="17"/>
                  </a:lnTo>
                  <a:lnTo>
                    <a:pt x="156" y="15"/>
                  </a:lnTo>
                  <a:lnTo>
                    <a:pt x="159" y="15"/>
                  </a:lnTo>
                  <a:close/>
                  <a:moveTo>
                    <a:pt x="159" y="17"/>
                  </a:moveTo>
                  <a:lnTo>
                    <a:pt x="156" y="17"/>
                  </a:lnTo>
                  <a:lnTo>
                    <a:pt x="156" y="17"/>
                  </a:lnTo>
                  <a:lnTo>
                    <a:pt x="159" y="17"/>
                  </a:lnTo>
                  <a:close/>
                  <a:moveTo>
                    <a:pt x="156" y="17"/>
                  </a:moveTo>
                  <a:lnTo>
                    <a:pt x="159" y="17"/>
                  </a:lnTo>
                  <a:lnTo>
                    <a:pt x="187" y="17"/>
                  </a:lnTo>
                  <a:lnTo>
                    <a:pt x="187" y="17"/>
                  </a:lnTo>
                  <a:lnTo>
                    <a:pt x="159" y="17"/>
                  </a:lnTo>
                  <a:lnTo>
                    <a:pt x="156" y="17"/>
                  </a:lnTo>
                  <a:close/>
                  <a:moveTo>
                    <a:pt x="187" y="17"/>
                  </a:moveTo>
                  <a:lnTo>
                    <a:pt x="187" y="17"/>
                  </a:lnTo>
                  <a:lnTo>
                    <a:pt x="187" y="17"/>
                  </a:lnTo>
                  <a:lnTo>
                    <a:pt x="187" y="17"/>
                  </a:lnTo>
                  <a:close/>
                  <a:moveTo>
                    <a:pt x="187" y="17"/>
                  </a:moveTo>
                  <a:lnTo>
                    <a:pt x="187" y="17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17"/>
                  </a:lnTo>
                  <a:lnTo>
                    <a:pt x="187" y="17"/>
                  </a:lnTo>
                  <a:close/>
                  <a:moveTo>
                    <a:pt x="187" y="24"/>
                  </a:move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close/>
                  <a:moveTo>
                    <a:pt x="187" y="24"/>
                  </a:moveTo>
                  <a:lnTo>
                    <a:pt x="187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87" y="24"/>
                  </a:lnTo>
                  <a:lnTo>
                    <a:pt x="187" y="24"/>
                  </a:lnTo>
                  <a:close/>
                  <a:moveTo>
                    <a:pt x="173" y="24"/>
                  </a:move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close/>
                  <a:moveTo>
                    <a:pt x="173" y="24"/>
                  </a:move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5" y="24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6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close/>
                  <a:moveTo>
                    <a:pt x="173" y="26"/>
                  </a:moveTo>
                  <a:lnTo>
                    <a:pt x="173" y="26"/>
                  </a:lnTo>
                  <a:lnTo>
                    <a:pt x="173" y="26"/>
                  </a:lnTo>
                  <a:close/>
                  <a:moveTo>
                    <a:pt x="173" y="26"/>
                  </a:moveTo>
                  <a:lnTo>
                    <a:pt x="175" y="24"/>
                  </a:lnTo>
                  <a:lnTo>
                    <a:pt x="178" y="26"/>
                  </a:lnTo>
                  <a:lnTo>
                    <a:pt x="175" y="29"/>
                  </a:lnTo>
                  <a:lnTo>
                    <a:pt x="173" y="26"/>
                  </a:lnTo>
                  <a:lnTo>
                    <a:pt x="173" y="26"/>
                  </a:lnTo>
                  <a:close/>
                  <a:moveTo>
                    <a:pt x="175" y="29"/>
                  </a:move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close/>
                  <a:moveTo>
                    <a:pt x="175" y="29"/>
                  </a:move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close/>
                  <a:moveTo>
                    <a:pt x="178" y="31"/>
                  </a:move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8" y="31"/>
                  </a:lnTo>
                  <a:close/>
                  <a:moveTo>
                    <a:pt x="178" y="34"/>
                  </a:move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close/>
                  <a:moveTo>
                    <a:pt x="178" y="36"/>
                  </a:moveTo>
                  <a:lnTo>
                    <a:pt x="178" y="36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close/>
                  <a:moveTo>
                    <a:pt x="175" y="38"/>
                  </a:moveTo>
                  <a:lnTo>
                    <a:pt x="175" y="38"/>
                  </a:lnTo>
                  <a:lnTo>
                    <a:pt x="175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71" y="34"/>
                  </a:lnTo>
                  <a:lnTo>
                    <a:pt x="171" y="34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close/>
                  <a:moveTo>
                    <a:pt x="168" y="34"/>
                  </a:move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1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close/>
                  <a:moveTo>
                    <a:pt x="164" y="26"/>
                  </a:moveTo>
                  <a:lnTo>
                    <a:pt x="164" y="26"/>
                  </a:lnTo>
                  <a:lnTo>
                    <a:pt x="164" y="26"/>
                  </a:lnTo>
                  <a:lnTo>
                    <a:pt x="164" y="26"/>
                  </a:lnTo>
                  <a:close/>
                  <a:moveTo>
                    <a:pt x="164" y="26"/>
                  </a:moveTo>
                  <a:lnTo>
                    <a:pt x="164" y="26"/>
                  </a:lnTo>
                  <a:lnTo>
                    <a:pt x="164" y="24"/>
                  </a:lnTo>
                  <a:lnTo>
                    <a:pt x="164" y="24"/>
                  </a:lnTo>
                  <a:lnTo>
                    <a:pt x="166" y="26"/>
                  </a:lnTo>
                  <a:lnTo>
                    <a:pt x="164" y="26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4"/>
                  </a:moveTo>
                  <a:lnTo>
                    <a:pt x="164" y="24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4"/>
                  </a:lnTo>
                  <a:lnTo>
                    <a:pt x="164" y="24"/>
                  </a:lnTo>
                  <a:close/>
                  <a:moveTo>
                    <a:pt x="164" y="22"/>
                  </a:move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close/>
                  <a:moveTo>
                    <a:pt x="164" y="22"/>
                  </a:moveTo>
                  <a:lnTo>
                    <a:pt x="164" y="24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4" y="22"/>
                  </a:lnTo>
                  <a:lnTo>
                    <a:pt x="164" y="22"/>
                  </a:lnTo>
                  <a:close/>
                  <a:moveTo>
                    <a:pt x="161" y="24"/>
                  </a:moveTo>
                  <a:lnTo>
                    <a:pt x="161" y="24"/>
                  </a:lnTo>
                  <a:lnTo>
                    <a:pt x="161" y="24"/>
                  </a:lnTo>
                  <a:lnTo>
                    <a:pt x="161" y="24"/>
                  </a:lnTo>
                  <a:close/>
                  <a:moveTo>
                    <a:pt x="161" y="24"/>
                  </a:moveTo>
                  <a:lnTo>
                    <a:pt x="161" y="24"/>
                  </a:lnTo>
                  <a:lnTo>
                    <a:pt x="161" y="26"/>
                  </a:lnTo>
                  <a:lnTo>
                    <a:pt x="161" y="26"/>
                  </a:lnTo>
                  <a:lnTo>
                    <a:pt x="161" y="24"/>
                  </a:lnTo>
                  <a:lnTo>
                    <a:pt x="161" y="24"/>
                  </a:lnTo>
                  <a:close/>
                  <a:moveTo>
                    <a:pt x="161" y="26"/>
                  </a:moveTo>
                  <a:lnTo>
                    <a:pt x="161" y="26"/>
                  </a:lnTo>
                  <a:lnTo>
                    <a:pt x="161" y="26"/>
                  </a:lnTo>
                  <a:lnTo>
                    <a:pt x="161" y="26"/>
                  </a:lnTo>
                  <a:close/>
                  <a:moveTo>
                    <a:pt x="161" y="26"/>
                  </a:moveTo>
                  <a:lnTo>
                    <a:pt x="161" y="26"/>
                  </a:lnTo>
                  <a:lnTo>
                    <a:pt x="164" y="29"/>
                  </a:lnTo>
                  <a:lnTo>
                    <a:pt x="161" y="29"/>
                  </a:lnTo>
                  <a:lnTo>
                    <a:pt x="161" y="26"/>
                  </a:lnTo>
                  <a:lnTo>
                    <a:pt x="161" y="26"/>
                  </a:lnTo>
                  <a:close/>
                  <a:moveTo>
                    <a:pt x="161" y="29"/>
                  </a:moveTo>
                  <a:lnTo>
                    <a:pt x="161" y="29"/>
                  </a:lnTo>
                  <a:lnTo>
                    <a:pt x="161" y="29"/>
                  </a:lnTo>
                  <a:lnTo>
                    <a:pt x="161" y="29"/>
                  </a:lnTo>
                  <a:close/>
                  <a:moveTo>
                    <a:pt x="161" y="29"/>
                  </a:move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29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61" y="29"/>
                  </a:lnTo>
                  <a:close/>
                  <a:moveTo>
                    <a:pt x="166" y="36"/>
                  </a:move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close/>
                  <a:moveTo>
                    <a:pt x="166" y="36"/>
                  </a:move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3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41"/>
                  </a:lnTo>
                  <a:lnTo>
                    <a:pt x="171" y="38"/>
                  </a:lnTo>
                  <a:lnTo>
                    <a:pt x="171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8" y="38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close/>
                  <a:moveTo>
                    <a:pt x="175" y="41"/>
                  </a:move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1"/>
                  </a:lnTo>
                  <a:close/>
                  <a:moveTo>
                    <a:pt x="178" y="41"/>
                  </a:move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close/>
                  <a:moveTo>
                    <a:pt x="178" y="41"/>
                  </a:move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lnTo>
                    <a:pt x="178" y="41"/>
                  </a:lnTo>
                  <a:close/>
                  <a:moveTo>
                    <a:pt x="180" y="36"/>
                  </a:move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close/>
                  <a:moveTo>
                    <a:pt x="182" y="36"/>
                  </a:move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close/>
                  <a:moveTo>
                    <a:pt x="182" y="34"/>
                  </a:move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0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close/>
                  <a:moveTo>
                    <a:pt x="182" y="34"/>
                  </a:move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close/>
                  <a:moveTo>
                    <a:pt x="182" y="34"/>
                  </a:moveTo>
                  <a:lnTo>
                    <a:pt x="180" y="34"/>
                  </a:lnTo>
                  <a:lnTo>
                    <a:pt x="180" y="31"/>
                  </a:lnTo>
                  <a:lnTo>
                    <a:pt x="182" y="31"/>
                  </a:lnTo>
                  <a:lnTo>
                    <a:pt x="182" y="34"/>
                  </a:lnTo>
                  <a:lnTo>
                    <a:pt x="182" y="34"/>
                  </a:lnTo>
                  <a:close/>
                  <a:moveTo>
                    <a:pt x="182" y="31"/>
                  </a:moveTo>
                  <a:lnTo>
                    <a:pt x="182" y="31"/>
                  </a:lnTo>
                  <a:lnTo>
                    <a:pt x="182" y="31"/>
                  </a:lnTo>
                  <a:lnTo>
                    <a:pt x="182" y="31"/>
                  </a:lnTo>
                  <a:close/>
                  <a:moveTo>
                    <a:pt x="182" y="31"/>
                  </a:moveTo>
                  <a:lnTo>
                    <a:pt x="180" y="31"/>
                  </a:lnTo>
                  <a:lnTo>
                    <a:pt x="180" y="31"/>
                  </a:lnTo>
                  <a:lnTo>
                    <a:pt x="180" y="29"/>
                  </a:lnTo>
                  <a:lnTo>
                    <a:pt x="182" y="31"/>
                  </a:lnTo>
                  <a:lnTo>
                    <a:pt x="182" y="31"/>
                  </a:lnTo>
                  <a:close/>
                  <a:moveTo>
                    <a:pt x="180" y="29"/>
                  </a:moveTo>
                  <a:lnTo>
                    <a:pt x="180" y="29"/>
                  </a:lnTo>
                  <a:lnTo>
                    <a:pt x="180" y="29"/>
                  </a:lnTo>
                  <a:lnTo>
                    <a:pt x="180" y="29"/>
                  </a:lnTo>
                  <a:close/>
                  <a:moveTo>
                    <a:pt x="180" y="29"/>
                  </a:moveTo>
                  <a:lnTo>
                    <a:pt x="180" y="31"/>
                  </a:lnTo>
                  <a:lnTo>
                    <a:pt x="178" y="29"/>
                  </a:lnTo>
                  <a:lnTo>
                    <a:pt x="180" y="26"/>
                  </a:lnTo>
                  <a:lnTo>
                    <a:pt x="180" y="29"/>
                  </a:lnTo>
                  <a:lnTo>
                    <a:pt x="180" y="29"/>
                  </a:lnTo>
                  <a:close/>
                  <a:moveTo>
                    <a:pt x="180" y="26"/>
                  </a:move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78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80" y="26"/>
                  </a:lnTo>
                  <a:close/>
                  <a:moveTo>
                    <a:pt x="178" y="26"/>
                  </a:moveTo>
                  <a:lnTo>
                    <a:pt x="175" y="26"/>
                  </a:lnTo>
                  <a:lnTo>
                    <a:pt x="178" y="26"/>
                  </a:lnTo>
                  <a:lnTo>
                    <a:pt x="178" y="26"/>
                  </a:lnTo>
                  <a:close/>
                  <a:moveTo>
                    <a:pt x="178" y="26"/>
                  </a:moveTo>
                  <a:lnTo>
                    <a:pt x="178" y="26"/>
                  </a:lnTo>
                  <a:lnTo>
                    <a:pt x="187" y="26"/>
                  </a:lnTo>
                  <a:lnTo>
                    <a:pt x="187" y="26"/>
                  </a:lnTo>
                  <a:lnTo>
                    <a:pt x="178" y="26"/>
                  </a:lnTo>
                  <a:lnTo>
                    <a:pt x="178" y="26"/>
                  </a:lnTo>
                  <a:close/>
                  <a:moveTo>
                    <a:pt x="187" y="26"/>
                  </a:moveTo>
                  <a:lnTo>
                    <a:pt x="187" y="26"/>
                  </a:lnTo>
                  <a:lnTo>
                    <a:pt x="187" y="26"/>
                  </a:lnTo>
                  <a:lnTo>
                    <a:pt x="187" y="26"/>
                  </a:lnTo>
                  <a:close/>
                  <a:moveTo>
                    <a:pt x="187" y="26"/>
                  </a:moveTo>
                  <a:lnTo>
                    <a:pt x="187" y="26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26"/>
                  </a:lnTo>
                  <a:lnTo>
                    <a:pt x="187" y="26"/>
                  </a:lnTo>
                  <a:close/>
                  <a:moveTo>
                    <a:pt x="187" y="45"/>
                  </a:moveTo>
                  <a:lnTo>
                    <a:pt x="187" y="45"/>
                  </a:lnTo>
                  <a:lnTo>
                    <a:pt x="187" y="43"/>
                  </a:lnTo>
                  <a:lnTo>
                    <a:pt x="187" y="45"/>
                  </a:lnTo>
                  <a:close/>
                  <a:moveTo>
                    <a:pt x="187" y="43"/>
                  </a:moveTo>
                  <a:lnTo>
                    <a:pt x="187" y="43"/>
                  </a:lnTo>
                  <a:lnTo>
                    <a:pt x="192" y="43"/>
                  </a:lnTo>
                  <a:lnTo>
                    <a:pt x="192" y="45"/>
                  </a:lnTo>
                  <a:lnTo>
                    <a:pt x="187" y="45"/>
                  </a:lnTo>
                  <a:lnTo>
                    <a:pt x="187" y="43"/>
                  </a:lnTo>
                  <a:close/>
                  <a:moveTo>
                    <a:pt x="192" y="43"/>
                  </a:moveTo>
                  <a:lnTo>
                    <a:pt x="192" y="45"/>
                  </a:lnTo>
                  <a:lnTo>
                    <a:pt x="192" y="45"/>
                  </a:lnTo>
                  <a:lnTo>
                    <a:pt x="192" y="43"/>
                  </a:lnTo>
                  <a:close/>
                  <a:moveTo>
                    <a:pt x="192" y="45"/>
                  </a:moveTo>
                  <a:lnTo>
                    <a:pt x="190" y="43"/>
                  </a:lnTo>
                  <a:lnTo>
                    <a:pt x="190" y="17"/>
                  </a:lnTo>
                  <a:lnTo>
                    <a:pt x="192" y="17"/>
                  </a:lnTo>
                  <a:lnTo>
                    <a:pt x="192" y="43"/>
                  </a:lnTo>
                  <a:lnTo>
                    <a:pt x="192" y="45"/>
                  </a:lnTo>
                  <a:close/>
                  <a:moveTo>
                    <a:pt x="190" y="17"/>
                  </a:moveTo>
                  <a:lnTo>
                    <a:pt x="190" y="17"/>
                  </a:ln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4" y="17"/>
                  </a:lnTo>
                  <a:lnTo>
                    <a:pt x="194" y="17"/>
                  </a:ln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4" y="17"/>
                  </a:moveTo>
                  <a:lnTo>
                    <a:pt x="194" y="17"/>
                  </a:lnTo>
                  <a:lnTo>
                    <a:pt x="197" y="17"/>
                  </a:lnTo>
                  <a:lnTo>
                    <a:pt x="197" y="17"/>
                  </a:lnTo>
                  <a:lnTo>
                    <a:pt x="194" y="17"/>
                  </a:lnTo>
                  <a:lnTo>
                    <a:pt x="194" y="17"/>
                  </a:lnTo>
                  <a:close/>
                  <a:moveTo>
                    <a:pt x="197" y="17"/>
                  </a:moveTo>
                  <a:lnTo>
                    <a:pt x="197" y="17"/>
                  </a:lnTo>
                  <a:lnTo>
                    <a:pt x="204" y="17"/>
                  </a:lnTo>
                  <a:lnTo>
                    <a:pt x="204" y="17"/>
                  </a:lnTo>
                  <a:lnTo>
                    <a:pt x="197" y="17"/>
                  </a:lnTo>
                  <a:lnTo>
                    <a:pt x="197" y="17"/>
                  </a:lnTo>
                  <a:close/>
                  <a:moveTo>
                    <a:pt x="204" y="17"/>
                  </a:moveTo>
                  <a:lnTo>
                    <a:pt x="204" y="17"/>
                  </a:lnTo>
                  <a:lnTo>
                    <a:pt x="204" y="17"/>
                  </a:lnTo>
                  <a:lnTo>
                    <a:pt x="204" y="17"/>
                  </a:lnTo>
                  <a:close/>
                  <a:moveTo>
                    <a:pt x="204" y="17"/>
                  </a:moveTo>
                  <a:lnTo>
                    <a:pt x="204" y="17"/>
                  </a:lnTo>
                  <a:lnTo>
                    <a:pt x="206" y="19"/>
                  </a:lnTo>
                  <a:lnTo>
                    <a:pt x="204" y="19"/>
                  </a:lnTo>
                  <a:lnTo>
                    <a:pt x="204" y="17"/>
                  </a:lnTo>
                  <a:lnTo>
                    <a:pt x="204" y="17"/>
                  </a:lnTo>
                  <a:close/>
                  <a:moveTo>
                    <a:pt x="206" y="19"/>
                  </a:move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close/>
                  <a:moveTo>
                    <a:pt x="204" y="19"/>
                  </a:move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lnTo>
                    <a:pt x="204" y="19"/>
                  </a:lnTo>
                  <a:close/>
                  <a:moveTo>
                    <a:pt x="206" y="22"/>
                  </a:moveTo>
                  <a:lnTo>
                    <a:pt x="206" y="22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6" y="22"/>
                  </a:lnTo>
                  <a:close/>
                  <a:moveTo>
                    <a:pt x="206" y="26"/>
                  </a:moveTo>
                  <a:lnTo>
                    <a:pt x="206" y="26"/>
                  </a:lnTo>
                  <a:lnTo>
                    <a:pt x="206" y="26"/>
                  </a:lnTo>
                  <a:close/>
                  <a:moveTo>
                    <a:pt x="204" y="26"/>
                  </a:move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6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lnTo>
                    <a:pt x="204" y="26"/>
                  </a:lnTo>
                  <a:close/>
                  <a:moveTo>
                    <a:pt x="201" y="29"/>
                  </a:moveTo>
                  <a:lnTo>
                    <a:pt x="201" y="29"/>
                  </a:lnTo>
                  <a:lnTo>
                    <a:pt x="201" y="29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9"/>
                  </a:lnTo>
                  <a:close/>
                  <a:moveTo>
                    <a:pt x="201" y="26"/>
                  </a:move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lnTo>
                    <a:pt x="201" y="26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201" y="26"/>
                  </a:lnTo>
                  <a:lnTo>
                    <a:pt x="199" y="29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close/>
                  <a:moveTo>
                    <a:pt x="199" y="29"/>
                  </a:move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9"/>
                  </a:lnTo>
                  <a:close/>
                  <a:moveTo>
                    <a:pt x="199" y="26"/>
                  </a:move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close/>
                  <a:moveTo>
                    <a:pt x="199" y="26"/>
                  </a:move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1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4" y="34"/>
                  </a:lnTo>
                  <a:lnTo>
                    <a:pt x="204" y="34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199" y="34"/>
                  </a:lnTo>
                  <a:lnTo>
                    <a:pt x="199" y="34"/>
                  </a:lnTo>
                  <a:lnTo>
                    <a:pt x="199" y="34"/>
                  </a:lnTo>
                  <a:lnTo>
                    <a:pt x="199" y="34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31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6"/>
                  </a:lnTo>
                  <a:lnTo>
                    <a:pt x="199" y="26"/>
                  </a:lnTo>
                  <a:lnTo>
                    <a:pt x="199" y="26"/>
                  </a:lnTo>
                  <a:close/>
                  <a:moveTo>
                    <a:pt x="201" y="36"/>
                  </a:moveTo>
                  <a:lnTo>
                    <a:pt x="204" y="34"/>
                  </a:lnTo>
                  <a:lnTo>
                    <a:pt x="204" y="34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6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lnTo>
                    <a:pt x="204" y="38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4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201" y="36"/>
                  </a:lnTo>
                  <a:close/>
                  <a:moveTo>
                    <a:pt x="211" y="38"/>
                  </a:move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3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8" y="36"/>
                  </a:lnTo>
                  <a:lnTo>
                    <a:pt x="218" y="34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close/>
                  <a:moveTo>
                    <a:pt x="218" y="34"/>
                  </a:moveTo>
                  <a:lnTo>
                    <a:pt x="218" y="34"/>
                  </a:lnTo>
                  <a:lnTo>
                    <a:pt x="218" y="36"/>
                  </a:lnTo>
                  <a:lnTo>
                    <a:pt x="218" y="34"/>
                  </a:lnTo>
                  <a:close/>
                  <a:moveTo>
                    <a:pt x="218" y="34"/>
                  </a:moveTo>
                  <a:lnTo>
                    <a:pt x="218" y="36"/>
                  </a:lnTo>
                  <a:lnTo>
                    <a:pt x="218" y="43"/>
                  </a:lnTo>
                  <a:lnTo>
                    <a:pt x="218" y="43"/>
                  </a:lnTo>
                  <a:lnTo>
                    <a:pt x="218" y="36"/>
                  </a:lnTo>
                  <a:lnTo>
                    <a:pt x="218" y="34"/>
                  </a:lnTo>
                  <a:close/>
                  <a:moveTo>
                    <a:pt x="218" y="45"/>
                  </a:moveTo>
                  <a:lnTo>
                    <a:pt x="218" y="45"/>
                  </a:lnTo>
                  <a:lnTo>
                    <a:pt x="218" y="43"/>
                  </a:lnTo>
                  <a:lnTo>
                    <a:pt x="218" y="45"/>
                  </a:lnTo>
                  <a:close/>
                  <a:moveTo>
                    <a:pt x="218" y="43"/>
                  </a:moveTo>
                  <a:lnTo>
                    <a:pt x="218" y="43"/>
                  </a:lnTo>
                  <a:lnTo>
                    <a:pt x="220" y="43"/>
                  </a:lnTo>
                  <a:lnTo>
                    <a:pt x="220" y="45"/>
                  </a:lnTo>
                  <a:lnTo>
                    <a:pt x="218" y="45"/>
                  </a:lnTo>
                  <a:lnTo>
                    <a:pt x="218" y="43"/>
                  </a:lnTo>
                  <a:close/>
                  <a:moveTo>
                    <a:pt x="220" y="43"/>
                  </a:moveTo>
                  <a:lnTo>
                    <a:pt x="220" y="45"/>
                  </a:lnTo>
                  <a:lnTo>
                    <a:pt x="220" y="45"/>
                  </a:lnTo>
                  <a:lnTo>
                    <a:pt x="220" y="43"/>
                  </a:lnTo>
                  <a:close/>
                  <a:moveTo>
                    <a:pt x="220" y="45"/>
                  </a:moveTo>
                  <a:lnTo>
                    <a:pt x="220" y="43"/>
                  </a:lnTo>
                  <a:lnTo>
                    <a:pt x="220" y="17"/>
                  </a:lnTo>
                  <a:lnTo>
                    <a:pt x="220" y="17"/>
                  </a:lnTo>
                  <a:lnTo>
                    <a:pt x="220" y="43"/>
                  </a:lnTo>
                  <a:lnTo>
                    <a:pt x="220" y="45"/>
                  </a:lnTo>
                  <a:close/>
                  <a:moveTo>
                    <a:pt x="220" y="17"/>
                  </a:moveTo>
                  <a:lnTo>
                    <a:pt x="220" y="17"/>
                  </a:lnTo>
                  <a:lnTo>
                    <a:pt x="220" y="17"/>
                  </a:lnTo>
                  <a:lnTo>
                    <a:pt x="220" y="17"/>
                  </a:lnTo>
                  <a:close/>
                  <a:moveTo>
                    <a:pt x="220" y="17"/>
                  </a:moveTo>
                  <a:lnTo>
                    <a:pt x="220" y="17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20" y="17"/>
                  </a:lnTo>
                  <a:lnTo>
                    <a:pt x="220" y="17"/>
                  </a:lnTo>
                  <a:close/>
                  <a:moveTo>
                    <a:pt x="225" y="17"/>
                  </a:moveTo>
                  <a:lnTo>
                    <a:pt x="225" y="17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25" y="17"/>
                  </a:lnTo>
                  <a:close/>
                  <a:moveTo>
                    <a:pt x="225" y="17"/>
                  </a:moveTo>
                  <a:lnTo>
                    <a:pt x="225" y="17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225" y="17"/>
                  </a:lnTo>
                  <a:lnTo>
                    <a:pt x="225" y="17"/>
                  </a:lnTo>
                  <a:close/>
                  <a:moveTo>
                    <a:pt x="246" y="17"/>
                  </a:moveTo>
                  <a:lnTo>
                    <a:pt x="246" y="17"/>
                  </a:lnTo>
                  <a:lnTo>
                    <a:pt x="246" y="17"/>
                  </a:lnTo>
                  <a:lnTo>
                    <a:pt x="246" y="17"/>
                  </a:lnTo>
                  <a:close/>
                  <a:moveTo>
                    <a:pt x="246" y="17"/>
                  </a:moveTo>
                  <a:lnTo>
                    <a:pt x="246" y="17"/>
                  </a:lnTo>
                  <a:lnTo>
                    <a:pt x="246" y="22"/>
                  </a:lnTo>
                  <a:lnTo>
                    <a:pt x="246" y="22"/>
                  </a:lnTo>
                  <a:lnTo>
                    <a:pt x="246" y="17"/>
                  </a:lnTo>
                  <a:lnTo>
                    <a:pt x="246" y="17"/>
                  </a:lnTo>
                  <a:close/>
                  <a:moveTo>
                    <a:pt x="246" y="22"/>
                  </a:moveTo>
                  <a:lnTo>
                    <a:pt x="246" y="24"/>
                  </a:lnTo>
                  <a:lnTo>
                    <a:pt x="246" y="24"/>
                  </a:lnTo>
                  <a:lnTo>
                    <a:pt x="246" y="22"/>
                  </a:lnTo>
                  <a:close/>
                  <a:moveTo>
                    <a:pt x="246" y="22"/>
                  </a:moveTo>
                  <a:lnTo>
                    <a:pt x="246" y="24"/>
                  </a:lnTo>
                  <a:lnTo>
                    <a:pt x="232" y="24"/>
                  </a:lnTo>
                  <a:lnTo>
                    <a:pt x="232" y="22"/>
                  </a:lnTo>
                  <a:lnTo>
                    <a:pt x="246" y="22"/>
                  </a:lnTo>
                  <a:lnTo>
                    <a:pt x="246" y="22"/>
                  </a:lnTo>
                  <a:close/>
                  <a:moveTo>
                    <a:pt x="232" y="22"/>
                  </a:move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close/>
                  <a:moveTo>
                    <a:pt x="230" y="22"/>
                  </a:move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2"/>
                  </a:lnTo>
                  <a:lnTo>
                    <a:pt x="230" y="22"/>
                  </a:lnTo>
                  <a:lnTo>
                    <a:pt x="230" y="22"/>
                  </a:lnTo>
                  <a:close/>
                  <a:moveTo>
                    <a:pt x="230" y="24"/>
                  </a:move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close/>
                  <a:moveTo>
                    <a:pt x="230" y="24"/>
                  </a:move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6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27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lnTo>
                    <a:pt x="230" y="24"/>
                  </a:lnTo>
                  <a:close/>
                  <a:moveTo>
                    <a:pt x="227" y="29"/>
                  </a:move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close/>
                  <a:moveTo>
                    <a:pt x="227" y="34"/>
                  </a:move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4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close/>
                  <a:moveTo>
                    <a:pt x="230" y="36"/>
                  </a:move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close/>
                  <a:moveTo>
                    <a:pt x="230" y="36"/>
                  </a:moveTo>
                  <a:lnTo>
                    <a:pt x="230" y="36"/>
                  </a:lnTo>
                  <a:lnTo>
                    <a:pt x="232" y="38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6"/>
                  </a:lnTo>
                  <a:close/>
                  <a:moveTo>
                    <a:pt x="230" y="38"/>
                  </a:moveTo>
                  <a:lnTo>
                    <a:pt x="230" y="38"/>
                  </a:lnTo>
                  <a:lnTo>
                    <a:pt x="230" y="38"/>
                  </a:lnTo>
                  <a:lnTo>
                    <a:pt x="230" y="38"/>
                  </a:lnTo>
                  <a:close/>
                  <a:moveTo>
                    <a:pt x="230" y="38"/>
                  </a:moveTo>
                  <a:lnTo>
                    <a:pt x="232" y="38"/>
                  </a:lnTo>
                  <a:lnTo>
                    <a:pt x="232" y="38"/>
                  </a:lnTo>
                  <a:lnTo>
                    <a:pt x="232" y="41"/>
                  </a:lnTo>
                  <a:lnTo>
                    <a:pt x="230" y="38"/>
                  </a:lnTo>
                  <a:lnTo>
                    <a:pt x="230" y="38"/>
                  </a:lnTo>
                  <a:close/>
                  <a:moveTo>
                    <a:pt x="232" y="41"/>
                  </a:moveTo>
                  <a:lnTo>
                    <a:pt x="232" y="41"/>
                  </a:lnTo>
                  <a:lnTo>
                    <a:pt x="232" y="41"/>
                  </a:lnTo>
                  <a:lnTo>
                    <a:pt x="232" y="41"/>
                  </a:lnTo>
                  <a:close/>
                  <a:moveTo>
                    <a:pt x="232" y="41"/>
                  </a:moveTo>
                  <a:lnTo>
                    <a:pt x="232" y="38"/>
                  </a:lnTo>
                  <a:lnTo>
                    <a:pt x="235" y="41"/>
                  </a:lnTo>
                  <a:lnTo>
                    <a:pt x="235" y="43"/>
                  </a:lnTo>
                  <a:lnTo>
                    <a:pt x="232" y="41"/>
                  </a:lnTo>
                  <a:lnTo>
                    <a:pt x="232" y="41"/>
                  </a:lnTo>
                  <a:close/>
                  <a:moveTo>
                    <a:pt x="235" y="43"/>
                  </a:moveTo>
                  <a:lnTo>
                    <a:pt x="235" y="43"/>
                  </a:lnTo>
                  <a:lnTo>
                    <a:pt x="235" y="43"/>
                  </a:lnTo>
                  <a:close/>
                  <a:moveTo>
                    <a:pt x="235" y="43"/>
                  </a:moveTo>
                  <a:lnTo>
                    <a:pt x="235" y="41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5" y="43"/>
                  </a:lnTo>
                  <a:lnTo>
                    <a:pt x="235" y="43"/>
                  </a:lnTo>
                  <a:close/>
                  <a:moveTo>
                    <a:pt x="237" y="43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close/>
                  <a:moveTo>
                    <a:pt x="237" y="43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close/>
                  <a:moveTo>
                    <a:pt x="237" y="45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close/>
                  <a:moveTo>
                    <a:pt x="237" y="45"/>
                  </a:moveTo>
                  <a:lnTo>
                    <a:pt x="237" y="45"/>
                  </a:lnTo>
                  <a:lnTo>
                    <a:pt x="237" y="45"/>
                  </a:lnTo>
                  <a:lnTo>
                    <a:pt x="237" y="45"/>
                  </a:lnTo>
                  <a:close/>
                  <a:moveTo>
                    <a:pt x="237" y="45"/>
                  </a:moveTo>
                  <a:lnTo>
                    <a:pt x="237" y="43"/>
                  </a:lnTo>
                  <a:lnTo>
                    <a:pt x="239" y="41"/>
                  </a:lnTo>
                  <a:lnTo>
                    <a:pt x="239" y="43"/>
                  </a:lnTo>
                  <a:lnTo>
                    <a:pt x="237" y="45"/>
                  </a:lnTo>
                  <a:lnTo>
                    <a:pt x="237" y="45"/>
                  </a:lnTo>
                  <a:close/>
                  <a:moveTo>
                    <a:pt x="239" y="41"/>
                  </a:moveTo>
                  <a:lnTo>
                    <a:pt x="242" y="41"/>
                  </a:lnTo>
                  <a:lnTo>
                    <a:pt x="239" y="43"/>
                  </a:lnTo>
                  <a:lnTo>
                    <a:pt x="239" y="41"/>
                  </a:lnTo>
                  <a:close/>
                  <a:moveTo>
                    <a:pt x="239" y="43"/>
                  </a:moveTo>
                  <a:lnTo>
                    <a:pt x="239" y="41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9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3"/>
                  </a:lnTo>
                  <a:close/>
                  <a:moveTo>
                    <a:pt x="239" y="41"/>
                  </a:move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close/>
                  <a:moveTo>
                    <a:pt x="239" y="41"/>
                  </a:moveTo>
                  <a:lnTo>
                    <a:pt x="237" y="43"/>
                  </a:lnTo>
                  <a:lnTo>
                    <a:pt x="237" y="43"/>
                  </a:lnTo>
                  <a:lnTo>
                    <a:pt x="237" y="43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41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2" y="38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5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38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7" y="41"/>
                  </a:lnTo>
                  <a:lnTo>
                    <a:pt x="239" y="41"/>
                  </a:lnTo>
                  <a:lnTo>
                    <a:pt x="239" y="41"/>
                  </a:lnTo>
                  <a:lnTo>
                    <a:pt x="239" y="41"/>
                  </a:lnTo>
                  <a:close/>
                  <a:moveTo>
                    <a:pt x="235" y="36"/>
                  </a:move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0" y="34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lnTo>
                    <a:pt x="235" y="36"/>
                  </a:lnTo>
                  <a:close/>
                  <a:moveTo>
                    <a:pt x="230" y="29"/>
                  </a:move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close/>
                  <a:moveTo>
                    <a:pt x="230" y="29"/>
                  </a:moveTo>
                  <a:lnTo>
                    <a:pt x="230" y="29"/>
                  </a:lnTo>
                  <a:lnTo>
                    <a:pt x="230" y="26"/>
                  </a:lnTo>
                  <a:lnTo>
                    <a:pt x="232" y="26"/>
                  </a:lnTo>
                  <a:lnTo>
                    <a:pt x="232" y="29"/>
                  </a:lnTo>
                  <a:lnTo>
                    <a:pt x="230" y="29"/>
                  </a:lnTo>
                  <a:close/>
                  <a:moveTo>
                    <a:pt x="230" y="26"/>
                  </a:move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close/>
                  <a:moveTo>
                    <a:pt x="232" y="26"/>
                  </a:move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5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6"/>
                  </a:lnTo>
                  <a:lnTo>
                    <a:pt x="232" y="29"/>
                  </a:lnTo>
                  <a:lnTo>
                    <a:pt x="232" y="26"/>
                  </a:lnTo>
                  <a:close/>
                  <a:moveTo>
                    <a:pt x="235" y="26"/>
                  </a:move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close/>
                  <a:moveTo>
                    <a:pt x="235" y="26"/>
                  </a:move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2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35" y="26"/>
                  </a:lnTo>
                  <a:close/>
                  <a:moveTo>
                    <a:pt x="235" y="24"/>
                  </a:moveTo>
                  <a:lnTo>
                    <a:pt x="235" y="24"/>
                  </a:lnTo>
                  <a:lnTo>
                    <a:pt x="246" y="24"/>
                  </a:lnTo>
                  <a:lnTo>
                    <a:pt x="246" y="26"/>
                  </a:lnTo>
                  <a:lnTo>
                    <a:pt x="235" y="26"/>
                  </a:lnTo>
                  <a:lnTo>
                    <a:pt x="235" y="24"/>
                  </a:lnTo>
                  <a:close/>
                  <a:moveTo>
                    <a:pt x="246" y="24"/>
                  </a:moveTo>
                  <a:lnTo>
                    <a:pt x="246" y="24"/>
                  </a:lnTo>
                  <a:lnTo>
                    <a:pt x="246" y="24"/>
                  </a:lnTo>
                  <a:lnTo>
                    <a:pt x="246" y="24"/>
                  </a:lnTo>
                  <a:close/>
                  <a:moveTo>
                    <a:pt x="246" y="24"/>
                  </a:moveTo>
                  <a:lnTo>
                    <a:pt x="246" y="24"/>
                  </a:lnTo>
                  <a:lnTo>
                    <a:pt x="246" y="43"/>
                  </a:lnTo>
                  <a:lnTo>
                    <a:pt x="246" y="43"/>
                  </a:lnTo>
                  <a:lnTo>
                    <a:pt x="246" y="24"/>
                  </a:lnTo>
                  <a:lnTo>
                    <a:pt x="246" y="24"/>
                  </a:lnTo>
                  <a:close/>
                  <a:moveTo>
                    <a:pt x="246" y="45"/>
                  </a:moveTo>
                  <a:lnTo>
                    <a:pt x="246" y="45"/>
                  </a:lnTo>
                  <a:lnTo>
                    <a:pt x="246" y="43"/>
                  </a:lnTo>
                  <a:lnTo>
                    <a:pt x="246" y="45"/>
                  </a:lnTo>
                  <a:close/>
                  <a:moveTo>
                    <a:pt x="246" y="43"/>
                  </a:moveTo>
                  <a:lnTo>
                    <a:pt x="246" y="43"/>
                  </a:lnTo>
                  <a:lnTo>
                    <a:pt x="249" y="43"/>
                  </a:lnTo>
                  <a:lnTo>
                    <a:pt x="249" y="45"/>
                  </a:lnTo>
                  <a:lnTo>
                    <a:pt x="246" y="45"/>
                  </a:lnTo>
                  <a:lnTo>
                    <a:pt x="246" y="43"/>
                  </a:lnTo>
                  <a:close/>
                  <a:moveTo>
                    <a:pt x="249" y="43"/>
                  </a:moveTo>
                  <a:lnTo>
                    <a:pt x="249" y="45"/>
                  </a:lnTo>
                  <a:lnTo>
                    <a:pt x="249" y="45"/>
                  </a:lnTo>
                  <a:lnTo>
                    <a:pt x="249" y="43"/>
                  </a:lnTo>
                  <a:close/>
                  <a:moveTo>
                    <a:pt x="249" y="45"/>
                  </a:moveTo>
                  <a:lnTo>
                    <a:pt x="249" y="43"/>
                  </a:lnTo>
                  <a:lnTo>
                    <a:pt x="249" y="17"/>
                  </a:lnTo>
                  <a:lnTo>
                    <a:pt x="249" y="17"/>
                  </a:lnTo>
                  <a:lnTo>
                    <a:pt x="249" y="43"/>
                  </a:lnTo>
                  <a:lnTo>
                    <a:pt x="249" y="45"/>
                  </a:lnTo>
                  <a:close/>
                  <a:moveTo>
                    <a:pt x="249" y="17"/>
                  </a:moveTo>
                  <a:lnTo>
                    <a:pt x="249" y="17"/>
                  </a:lnTo>
                  <a:lnTo>
                    <a:pt x="249" y="17"/>
                  </a:lnTo>
                  <a:lnTo>
                    <a:pt x="249" y="17"/>
                  </a:lnTo>
                  <a:close/>
                  <a:moveTo>
                    <a:pt x="249" y="17"/>
                  </a:moveTo>
                  <a:lnTo>
                    <a:pt x="249" y="17"/>
                  </a:lnTo>
                  <a:lnTo>
                    <a:pt x="254" y="17"/>
                  </a:lnTo>
                  <a:lnTo>
                    <a:pt x="254" y="17"/>
                  </a:lnTo>
                  <a:lnTo>
                    <a:pt x="249" y="17"/>
                  </a:lnTo>
                  <a:lnTo>
                    <a:pt x="249" y="17"/>
                  </a:lnTo>
                  <a:close/>
                  <a:moveTo>
                    <a:pt x="256" y="17"/>
                  </a:moveTo>
                  <a:lnTo>
                    <a:pt x="256" y="17"/>
                  </a:lnTo>
                  <a:lnTo>
                    <a:pt x="254" y="17"/>
                  </a:lnTo>
                  <a:lnTo>
                    <a:pt x="256" y="17"/>
                  </a:lnTo>
                  <a:close/>
                  <a:moveTo>
                    <a:pt x="254" y="17"/>
                  </a:moveTo>
                  <a:lnTo>
                    <a:pt x="254" y="17"/>
                  </a:lnTo>
                  <a:lnTo>
                    <a:pt x="254" y="15"/>
                  </a:lnTo>
                  <a:lnTo>
                    <a:pt x="256" y="15"/>
                  </a:lnTo>
                  <a:lnTo>
                    <a:pt x="256" y="17"/>
                  </a:lnTo>
                  <a:lnTo>
                    <a:pt x="254" y="17"/>
                  </a:lnTo>
                  <a:close/>
                  <a:moveTo>
                    <a:pt x="254" y="15"/>
                  </a:moveTo>
                  <a:lnTo>
                    <a:pt x="256" y="15"/>
                  </a:lnTo>
                  <a:lnTo>
                    <a:pt x="256" y="15"/>
                  </a:lnTo>
                  <a:lnTo>
                    <a:pt x="254" y="15"/>
                  </a:lnTo>
                  <a:close/>
                  <a:moveTo>
                    <a:pt x="256" y="15"/>
                  </a:moveTo>
                  <a:lnTo>
                    <a:pt x="254" y="15"/>
                  </a:lnTo>
                  <a:lnTo>
                    <a:pt x="249" y="15"/>
                  </a:lnTo>
                  <a:lnTo>
                    <a:pt x="249" y="15"/>
                  </a:lnTo>
                  <a:lnTo>
                    <a:pt x="254" y="15"/>
                  </a:lnTo>
                  <a:lnTo>
                    <a:pt x="256" y="15"/>
                  </a:lnTo>
                  <a:close/>
                  <a:moveTo>
                    <a:pt x="249" y="15"/>
                  </a:moveTo>
                  <a:lnTo>
                    <a:pt x="249" y="15"/>
                  </a:lnTo>
                  <a:lnTo>
                    <a:pt x="249" y="15"/>
                  </a:lnTo>
                  <a:lnTo>
                    <a:pt x="249" y="15"/>
                  </a:lnTo>
                  <a:close/>
                  <a:moveTo>
                    <a:pt x="249" y="15"/>
                  </a:moveTo>
                  <a:lnTo>
                    <a:pt x="249" y="15"/>
                  </a:lnTo>
                  <a:lnTo>
                    <a:pt x="237" y="0"/>
                  </a:lnTo>
                  <a:lnTo>
                    <a:pt x="237" y="0"/>
                  </a:lnTo>
                  <a:lnTo>
                    <a:pt x="249" y="15"/>
                  </a:lnTo>
                  <a:lnTo>
                    <a:pt x="249" y="15"/>
                  </a:lnTo>
                  <a:close/>
                  <a:moveTo>
                    <a:pt x="237" y="0"/>
                  </a:moveTo>
                  <a:lnTo>
                    <a:pt x="237" y="0"/>
                  </a:lnTo>
                  <a:lnTo>
                    <a:pt x="237" y="0"/>
                  </a:lnTo>
                  <a:lnTo>
                    <a:pt x="237" y="0"/>
                  </a:lnTo>
                  <a:close/>
                  <a:moveTo>
                    <a:pt x="237" y="0"/>
                  </a:moveTo>
                  <a:lnTo>
                    <a:pt x="237" y="0"/>
                  </a:lnTo>
                  <a:lnTo>
                    <a:pt x="235" y="3"/>
                  </a:lnTo>
                  <a:lnTo>
                    <a:pt x="235" y="3"/>
                  </a:lnTo>
                  <a:lnTo>
                    <a:pt x="237" y="0"/>
                  </a:lnTo>
                  <a:lnTo>
                    <a:pt x="237" y="0"/>
                  </a:lnTo>
                  <a:close/>
                  <a:moveTo>
                    <a:pt x="235" y="3"/>
                  </a:moveTo>
                  <a:lnTo>
                    <a:pt x="235" y="3"/>
                  </a:lnTo>
                  <a:lnTo>
                    <a:pt x="235" y="3"/>
                  </a:lnTo>
                  <a:lnTo>
                    <a:pt x="235" y="3"/>
                  </a:lnTo>
                  <a:close/>
                  <a:moveTo>
                    <a:pt x="235" y="3"/>
                  </a:moveTo>
                  <a:lnTo>
                    <a:pt x="235" y="3"/>
                  </a:lnTo>
                  <a:lnTo>
                    <a:pt x="246" y="15"/>
                  </a:lnTo>
                  <a:lnTo>
                    <a:pt x="246" y="15"/>
                  </a:lnTo>
                  <a:lnTo>
                    <a:pt x="235" y="3"/>
                  </a:lnTo>
                  <a:lnTo>
                    <a:pt x="235" y="3"/>
                  </a:lnTo>
                  <a:close/>
                  <a:moveTo>
                    <a:pt x="31" y="17"/>
                  </a:move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close/>
                  <a:moveTo>
                    <a:pt x="31" y="17"/>
                  </a:moveTo>
                  <a:lnTo>
                    <a:pt x="31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1" y="17"/>
                  </a:lnTo>
                  <a:lnTo>
                    <a:pt x="31" y="17"/>
                  </a:lnTo>
                  <a:close/>
                  <a:moveTo>
                    <a:pt x="36" y="17"/>
                  </a:move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36" y="17"/>
                  </a:moveTo>
                  <a:lnTo>
                    <a:pt x="36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52" y="17"/>
                  </a:move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52" y="17"/>
                  </a:moveTo>
                  <a:lnTo>
                    <a:pt x="52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2" y="17"/>
                  </a:lnTo>
                  <a:lnTo>
                    <a:pt x="52" y="17"/>
                  </a:lnTo>
                  <a:close/>
                  <a:moveTo>
                    <a:pt x="59" y="17"/>
                  </a:moveTo>
                  <a:lnTo>
                    <a:pt x="62" y="17"/>
                  </a:lnTo>
                  <a:lnTo>
                    <a:pt x="62" y="17"/>
                  </a:lnTo>
                  <a:lnTo>
                    <a:pt x="59" y="17"/>
                  </a:lnTo>
                  <a:close/>
                  <a:moveTo>
                    <a:pt x="59" y="17"/>
                  </a:moveTo>
                  <a:lnTo>
                    <a:pt x="62" y="17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59" y="17"/>
                  </a:lnTo>
                  <a:lnTo>
                    <a:pt x="59" y="17"/>
                  </a:lnTo>
                  <a:close/>
                  <a:moveTo>
                    <a:pt x="62" y="19"/>
                  </a:move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close/>
                  <a:moveTo>
                    <a:pt x="62" y="19"/>
                  </a:move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close/>
                  <a:moveTo>
                    <a:pt x="62" y="22"/>
                  </a:moveTo>
                  <a:lnTo>
                    <a:pt x="64" y="22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2"/>
                  </a:lnTo>
                  <a:close/>
                  <a:moveTo>
                    <a:pt x="62" y="26"/>
                  </a:moveTo>
                  <a:lnTo>
                    <a:pt x="62" y="26"/>
                  </a:lnTo>
                  <a:lnTo>
                    <a:pt x="62" y="26"/>
                  </a:lnTo>
                  <a:close/>
                  <a:moveTo>
                    <a:pt x="62" y="26"/>
                  </a:move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close/>
                  <a:moveTo>
                    <a:pt x="59" y="29"/>
                  </a:moveTo>
                  <a:lnTo>
                    <a:pt x="59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9" y="26"/>
                  </a:lnTo>
                  <a:lnTo>
                    <a:pt x="59" y="29"/>
                  </a:lnTo>
                  <a:close/>
                  <a:moveTo>
                    <a:pt x="57" y="26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9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close/>
                  <a:moveTo>
                    <a:pt x="57" y="29"/>
                  </a:moveTo>
                  <a:lnTo>
                    <a:pt x="57" y="29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9"/>
                  </a:lnTo>
                  <a:close/>
                  <a:moveTo>
                    <a:pt x="55" y="26"/>
                  </a:moveTo>
                  <a:lnTo>
                    <a:pt x="55" y="26"/>
                  </a:lnTo>
                  <a:lnTo>
                    <a:pt x="57" y="26"/>
                  </a:lnTo>
                  <a:lnTo>
                    <a:pt x="55" y="26"/>
                  </a:lnTo>
                  <a:close/>
                  <a:moveTo>
                    <a:pt x="57" y="26"/>
                  </a:moveTo>
                  <a:lnTo>
                    <a:pt x="57" y="29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7" y="26"/>
                  </a:lnTo>
                  <a:close/>
                  <a:moveTo>
                    <a:pt x="59" y="36"/>
                  </a:move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close/>
                  <a:moveTo>
                    <a:pt x="66" y="38"/>
                  </a:moveTo>
                  <a:lnTo>
                    <a:pt x="66" y="36"/>
                  </a:lnTo>
                  <a:lnTo>
                    <a:pt x="66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4"/>
                  </a:lnTo>
                  <a:lnTo>
                    <a:pt x="76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6" y="38"/>
                  </a:lnTo>
                  <a:lnTo>
                    <a:pt x="66" y="38"/>
                  </a:lnTo>
                  <a:close/>
                  <a:moveTo>
                    <a:pt x="73" y="34"/>
                  </a:moveTo>
                  <a:lnTo>
                    <a:pt x="76" y="34"/>
                  </a:lnTo>
                  <a:lnTo>
                    <a:pt x="76" y="36"/>
                  </a:lnTo>
                  <a:lnTo>
                    <a:pt x="73" y="34"/>
                  </a:lnTo>
                  <a:close/>
                  <a:moveTo>
                    <a:pt x="73" y="34"/>
                  </a:moveTo>
                  <a:lnTo>
                    <a:pt x="76" y="36"/>
                  </a:lnTo>
                  <a:lnTo>
                    <a:pt x="76" y="43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4"/>
                  </a:lnTo>
                  <a:close/>
                  <a:moveTo>
                    <a:pt x="73" y="45"/>
                  </a:moveTo>
                  <a:lnTo>
                    <a:pt x="73" y="45"/>
                  </a:lnTo>
                  <a:lnTo>
                    <a:pt x="73" y="43"/>
                  </a:lnTo>
                  <a:lnTo>
                    <a:pt x="73" y="45"/>
                  </a:lnTo>
                  <a:close/>
                  <a:moveTo>
                    <a:pt x="73" y="43"/>
                  </a:moveTo>
                  <a:lnTo>
                    <a:pt x="73" y="43"/>
                  </a:lnTo>
                  <a:lnTo>
                    <a:pt x="78" y="43"/>
                  </a:lnTo>
                  <a:lnTo>
                    <a:pt x="78" y="45"/>
                  </a:lnTo>
                  <a:lnTo>
                    <a:pt x="73" y="45"/>
                  </a:lnTo>
                  <a:lnTo>
                    <a:pt x="73" y="43"/>
                  </a:lnTo>
                  <a:close/>
                  <a:moveTo>
                    <a:pt x="78" y="43"/>
                  </a:moveTo>
                  <a:lnTo>
                    <a:pt x="78" y="45"/>
                  </a:lnTo>
                  <a:lnTo>
                    <a:pt x="78" y="45"/>
                  </a:lnTo>
                  <a:lnTo>
                    <a:pt x="78" y="43"/>
                  </a:lnTo>
                  <a:close/>
                  <a:moveTo>
                    <a:pt x="78" y="45"/>
                  </a:moveTo>
                  <a:lnTo>
                    <a:pt x="76" y="43"/>
                  </a:lnTo>
                  <a:lnTo>
                    <a:pt x="76" y="17"/>
                  </a:lnTo>
                  <a:lnTo>
                    <a:pt x="78" y="17"/>
                  </a:lnTo>
                  <a:lnTo>
                    <a:pt x="78" y="43"/>
                  </a:lnTo>
                  <a:lnTo>
                    <a:pt x="78" y="45"/>
                  </a:lnTo>
                  <a:close/>
                  <a:moveTo>
                    <a:pt x="76" y="17"/>
                  </a:moveTo>
                  <a:lnTo>
                    <a:pt x="76" y="17"/>
                  </a:lnTo>
                  <a:lnTo>
                    <a:pt x="78" y="17"/>
                  </a:lnTo>
                  <a:lnTo>
                    <a:pt x="76" y="17"/>
                  </a:lnTo>
                  <a:close/>
                  <a:moveTo>
                    <a:pt x="76" y="17"/>
                  </a:moveTo>
                  <a:lnTo>
                    <a:pt x="78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78" y="17"/>
                  </a:lnTo>
                  <a:lnTo>
                    <a:pt x="76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81" y="17"/>
                  </a:lnTo>
                  <a:lnTo>
                    <a:pt x="81" y="17"/>
                  </a:lnTo>
                  <a:close/>
                  <a:moveTo>
                    <a:pt x="90" y="17"/>
                  </a:moveTo>
                  <a:lnTo>
                    <a:pt x="90" y="17"/>
                  </a:lnTo>
                  <a:lnTo>
                    <a:pt x="90" y="17"/>
                  </a:lnTo>
                  <a:lnTo>
                    <a:pt x="90" y="17"/>
                  </a:lnTo>
                  <a:close/>
                  <a:moveTo>
                    <a:pt x="90" y="17"/>
                  </a:moveTo>
                  <a:lnTo>
                    <a:pt x="90" y="17"/>
                  </a:lnTo>
                  <a:lnTo>
                    <a:pt x="90" y="26"/>
                  </a:lnTo>
                  <a:lnTo>
                    <a:pt x="88" y="26"/>
                  </a:lnTo>
                  <a:lnTo>
                    <a:pt x="88" y="17"/>
                  </a:lnTo>
                  <a:lnTo>
                    <a:pt x="90" y="17"/>
                  </a:lnTo>
                  <a:close/>
                  <a:moveTo>
                    <a:pt x="90" y="26"/>
                  </a:moveTo>
                  <a:lnTo>
                    <a:pt x="90" y="29"/>
                  </a:lnTo>
                  <a:lnTo>
                    <a:pt x="90" y="29"/>
                  </a:lnTo>
                  <a:lnTo>
                    <a:pt x="90" y="26"/>
                  </a:lnTo>
                  <a:close/>
                  <a:moveTo>
                    <a:pt x="90" y="26"/>
                  </a:moveTo>
                  <a:lnTo>
                    <a:pt x="90" y="29"/>
                  </a:lnTo>
                  <a:lnTo>
                    <a:pt x="88" y="29"/>
                  </a:lnTo>
                  <a:lnTo>
                    <a:pt x="88" y="26"/>
                  </a:lnTo>
                  <a:lnTo>
                    <a:pt x="90" y="26"/>
                  </a:lnTo>
                  <a:lnTo>
                    <a:pt x="90" y="26"/>
                  </a:lnTo>
                  <a:close/>
                  <a:moveTo>
                    <a:pt x="85" y="26"/>
                  </a:moveTo>
                  <a:lnTo>
                    <a:pt x="85" y="26"/>
                  </a:lnTo>
                  <a:lnTo>
                    <a:pt x="88" y="26"/>
                  </a:lnTo>
                  <a:lnTo>
                    <a:pt x="85" y="26"/>
                  </a:lnTo>
                  <a:close/>
                  <a:moveTo>
                    <a:pt x="88" y="26"/>
                  </a:moveTo>
                  <a:lnTo>
                    <a:pt x="88" y="29"/>
                  </a:lnTo>
                  <a:lnTo>
                    <a:pt x="85" y="29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8" y="26"/>
                  </a:lnTo>
                  <a:close/>
                  <a:moveTo>
                    <a:pt x="85" y="26"/>
                  </a:move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6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6"/>
                  </a:move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6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close/>
                  <a:moveTo>
                    <a:pt x="85" y="29"/>
                  </a:moveTo>
                  <a:lnTo>
                    <a:pt x="85" y="29"/>
                  </a:lnTo>
                  <a:lnTo>
                    <a:pt x="85" y="26"/>
                  </a:lnTo>
                  <a:lnTo>
                    <a:pt x="85" y="29"/>
                  </a:lnTo>
                  <a:close/>
                  <a:moveTo>
                    <a:pt x="85" y="26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6"/>
                  </a:lnTo>
                  <a:close/>
                  <a:moveTo>
                    <a:pt x="85" y="29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close/>
                  <a:moveTo>
                    <a:pt x="85" y="29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close/>
                  <a:moveTo>
                    <a:pt x="85" y="31"/>
                  </a:move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close/>
                  <a:moveTo>
                    <a:pt x="85" y="31"/>
                  </a:move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5" y="34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close/>
                  <a:moveTo>
                    <a:pt x="88" y="34"/>
                  </a:move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close/>
                  <a:moveTo>
                    <a:pt x="88" y="34"/>
                  </a:moveTo>
                  <a:lnTo>
                    <a:pt x="88" y="34"/>
                  </a:lnTo>
                  <a:lnTo>
                    <a:pt x="88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close/>
                  <a:moveTo>
                    <a:pt x="90" y="36"/>
                  </a:move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close/>
                  <a:moveTo>
                    <a:pt x="90" y="36"/>
                  </a:moveTo>
                  <a:lnTo>
                    <a:pt x="90" y="34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90" y="36"/>
                  </a:lnTo>
                  <a:close/>
                  <a:moveTo>
                    <a:pt x="92" y="36"/>
                  </a:move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close/>
                  <a:moveTo>
                    <a:pt x="92" y="36"/>
                  </a:moveTo>
                  <a:lnTo>
                    <a:pt x="90" y="34"/>
                  </a:lnTo>
                  <a:lnTo>
                    <a:pt x="92" y="34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close/>
                  <a:moveTo>
                    <a:pt x="92" y="34"/>
                  </a:moveTo>
                  <a:lnTo>
                    <a:pt x="92" y="36"/>
                  </a:lnTo>
                  <a:lnTo>
                    <a:pt x="92" y="36"/>
                  </a:lnTo>
                  <a:lnTo>
                    <a:pt x="92" y="34"/>
                  </a:lnTo>
                  <a:close/>
                  <a:moveTo>
                    <a:pt x="92" y="36"/>
                  </a:move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6"/>
                  </a:lnTo>
                  <a:close/>
                  <a:moveTo>
                    <a:pt x="92" y="34"/>
                  </a:move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close/>
                  <a:moveTo>
                    <a:pt x="92" y="34"/>
                  </a:moveTo>
                  <a:lnTo>
                    <a:pt x="92" y="34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34"/>
                  </a:lnTo>
                  <a:lnTo>
                    <a:pt x="92" y="34"/>
                  </a:lnTo>
                  <a:close/>
                  <a:moveTo>
                    <a:pt x="92" y="29"/>
                  </a:move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close/>
                  <a:moveTo>
                    <a:pt x="92" y="29"/>
                  </a:moveTo>
                  <a:lnTo>
                    <a:pt x="92" y="29"/>
                  </a:lnTo>
                  <a:lnTo>
                    <a:pt x="102" y="29"/>
                  </a:lnTo>
                  <a:lnTo>
                    <a:pt x="102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102" y="29"/>
                  </a:moveTo>
                  <a:lnTo>
                    <a:pt x="104" y="29"/>
                  </a:lnTo>
                  <a:lnTo>
                    <a:pt x="104" y="29"/>
                  </a:lnTo>
                  <a:lnTo>
                    <a:pt x="102" y="29"/>
                  </a:lnTo>
                  <a:close/>
                  <a:moveTo>
                    <a:pt x="102" y="29"/>
                  </a:moveTo>
                  <a:lnTo>
                    <a:pt x="104" y="29"/>
                  </a:lnTo>
                  <a:lnTo>
                    <a:pt x="104" y="43"/>
                  </a:lnTo>
                  <a:lnTo>
                    <a:pt x="102" y="43"/>
                  </a:lnTo>
                  <a:lnTo>
                    <a:pt x="102" y="29"/>
                  </a:lnTo>
                  <a:lnTo>
                    <a:pt x="102" y="29"/>
                  </a:lnTo>
                  <a:close/>
                  <a:moveTo>
                    <a:pt x="102" y="45"/>
                  </a:moveTo>
                  <a:lnTo>
                    <a:pt x="102" y="45"/>
                  </a:lnTo>
                  <a:lnTo>
                    <a:pt x="102" y="43"/>
                  </a:lnTo>
                  <a:lnTo>
                    <a:pt x="102" y="45"/>
                  </a:lnTo>
                  <a:close/>
                  <a:moveTo>
                    <a:pt x="102" y="43"/>
                  </a:moveTo>
                  <a:lnTo>
                    <a:pt x="102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2" y="45"/>
                  </a:lnTo>
                  <a:lnTo>
                    <a:pt x="102" y="43"/>
                  </a:lnTo>
                  <a:close/>
                  <a:moveTo>
                    <a:pt x="107" y="43"/>
                  </a:moveTo>
                  <a:lnTo>
                    <a:pt x="107" y="45"/>
                  </a:lnTo>
                  <a:lnTo>
                    <a:pt x="107" y="45"/>
                  </a:lnTo>
                  <a:lnTo>
                    <a:pt x="107" y="43"/>
                  </a:lnTo>
                  <a:close/>
                  <a:moveTo>
                    <a:pt x="107" y="45"/>
                  </a:moveTo>
                  <a:lnTo>
                    <a:pt x="104" y="43"/>
                  </a:lnTo>
                  <a:lnTo>
                    <a:pt x="104" y="17"/>
                  </a:lnTo>
                  <a:lnTo>
                    <a:pt x="107" y="17"/>
                  </a:lnTo>
                  <a:lnTo>
                    <a:pt x="107" y="43"/>
                  </a:lnTo>
                  <a:lnTo>
                    <a:pt x="107" y="45"/>
                  </a:lnTo>
                  <a:close/>
                  <a:moveTo>
                    <a:pt x="104" y="17"/>
                  </a:moveTo>
                  <a:lnTo>
                    <a:pt x="104" y="17"/>
                  </a:lnTo>
                  <a:lnTo>
                    <a:pt x="107" y="17"/>
                  </a:lnTo>
                  <a:lnTo>
                    <a:pt x="104" y="17"/>
                  </a:lnTo>
                  <a:close/>
                  <a:moveTo>
                    <a:pt x="104" y="17"/>
                  </a:moveTo>
                  <a:lnTo>
                    <a:pt x="107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7" y="17"/>
                  </a:lnTo>
                  <a:lnTo>
                    <a:pt x="104" y="17"/>
                  </a:lnTo>
                  <a:close/>
                  <a:moveTo>
                    <a:pt x="109" y="17"/>
                  </a:moveTo>
                  <a:lnTo>
                    <a:pt x="109" y="17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09" y="17"/>
                  </a:lnTo>
                  <a:lnTo>
                    <a:pt x="109" y="17"/>
                  </a:lnTo>
                  <a:close/>
                  <a:moveTo>
                    <a:pt x="111" y="17"/>
                  </a:moveTo>
                  <a:lnTo>
                    <a:pt x="111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11" y="17"/>
                  </a:lnTo>
                  <a:lnTo>
                    <a:pt x="111" y="17"/>
                  </a:lnTo>
                  <a:close/>
                  <a:moveTo>
                    <a:pt x="128" y="17"/>
                  </a:move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close/>
                  <a:moveTo>
                    <a:pt x="128" y="17"/>
                  </a:moveTo>
                  <a:lnTo>
                    <a:pt x="128" y="17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17"/>
                  </a:lnTo>
                  <a:lnTo>
                    <a:pt x="128" y="17"/>
                  </a:lnTo>
                  <a:close/>
                  <a:moveTo>
                    <a:pt x="128" y="31"/>
                  </a:move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close/>
                  <a:moveTo>
                    <a:pt x="128" y="31"/>
                  </a:move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close/>
                  <a:moveTo>
                    <a:pt x="126" y="34"/>
                  </a:move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close/>
                  <a:moveTo>
                    <a:pt x="126" y="34"/>
                  </a:moveTo>
                  <a:lnTo>
                    <a:pt x="126" y="36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6" y="34"/>
                  </a:lnTo>
                  <a:close/>
                  <a:moveTo>
                    <a:pt x="123" y="34"/>
                  </a:move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close/>
                  <a:moveTo>
                    <a:pt x="123" y="34"/>
                  </a:moveTo>
                  <a:lnTo>
                    <a:pt x="123" y="36"/>
                  </a:lnTo>
                  <a:lnTo>
                    <a:pt x="123" y="36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close/>
                  <a:moveTo>
                    <a:pt x="123" y="36"/>
                  </a:move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close/>
                  <a:moveTo>
                    <a:pt x="123" y="36"/>
                  </a:moveTo>
                  <a:lnTo>
                    <a:pt x="123" y="36"/>
                  </a:lnTo>
                  <a:lnTo>
                    <a:pt x="121" y="36"/>
                  </a:lnTo>
                  <a:lnTo>
                    <a:pt x="121" y="34"/>
                  </a:lnTo>
                  <a:lnTo>
                    <a:pt x="123" y="34"/>
                  </a:lnTo>
                  <a:lnTo>
                    <a:pt x="123" y="36"/>
                  </a:lnTo>
                  <a:close/>
                  <a:moveTo>
                    <a:pt x="121" y="34"/>
                  </a:move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close/>
                  <a:moveTo>
                    <a:pt x="118" y="36"/>
                  </a:move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close/>
                  <a:moveTo>
                    <a:pt x="121" y="34"/>
                  </a:move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close/>
                  <a:moveTo>
                    <a:pt x="116" y="29"/>
                  </a:move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close/>
                  <a:moveTo>
                    <a:pt x="116" y="26"/>
                  </a:move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close/>
                  <a:moveTo>
                    <a:pt x="118" y="26"/>
                  </a:move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8" y="26"/>
                  </a:lnTo>
                  <a:close/>
                  <a:moveTo>
                    <a:pt x="118" y="24"/>
                  </a:move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close/>
                  <a:moveTo>
                    <a:pt x="118" y="24"/>
                  </a:move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close/>
                  <a:moveTo>
                    <a:pt x="121" y="24"/>
                  </a:move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close/>
                  <a:moveTo>
                    <a:pt x="121" y="24"/>
                  </a:moveTo>
                  <a:lnTo>
                    <a:pt x="121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1" y="24"/>
                  </a:lnTo>
                  <a:lnTo>
                    <a:pt x="121" y="24"/>
                  </a:lnTo>
                  <a:close/>
                  <a:moveTo>
                    <a:pt x="123" y="24"/>
                  </a:move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close/>
                  <a:moveTo>
                    <a:pt x="123" y="24"/>
                  </a:moveTo>
                  <a:lnTo>
                    <a:pt x="123" y="24"/>
                  </a:lnTo>
                  <a:lnTo>
                    <a:pt x="126" y="24"/>
                  </a:lnTo>
                  <a:lnTo>
                    <a:pt x="126" y="24"/>
                  </a:lnTo>
                  <a:lnTo>
                    <a:pt x="123" y="24"/>
                  </a:lnTo>
                  <a:lnTo>
                    <a:pt x="123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3" y="24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4"/>
                  </a:lnTo>
                  <a:close/>
                  <a:moveTo>
                    <a:pt x="126" y="24"/>
                  </a:moveTo>
                  <a:lnTo>
                    <a:pt x="126" y="26"/>
                  </a:lnTo>
                  <a:lnTo>
                    <a:pt x="126" y="26"/>
                  </a:lnTo>
                  <a:lnTo>
                    <a:pt x="126" y="24"/>
                  </a:lnTo>
                  <a:close/>
                  <a:moveTo>
                    <a:pt x="126" y="26"/>
                  </a:moveTo>
                  <a:lnTo>
                    <a:pt x="126" y="26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4"/>
                  </a:lnTo>
                  <a:lnTo>
                    <a:pt x="126" y="26"/>
                  </a:lnTo>
                  <a:close/>
                  <a:moveTo>
                    <a:pt x="126" y="22"/>
                  </a:move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close/>
                  <a:moveTo>
                    <a:pt x="126" y="22"/>
                  </a:move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6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3" y="22"/>
                  </a:moveTo>
                  <a:lnTo>
                    <a:pt x="123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3" y="22"/>
                  </a:lnTo>
                  <a:lnTo>
                    <a:pt x="123" y="22"/>
                  </a:lnTo>
                  <a:close/>
                  <a:moveTo>
                    <a:pt x="121" y="22"/>
                  </a:move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close/>
                  <a:moveTo>
                    <a:pt x="116" y="24"/>
                  </a:move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6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6" y="24"/>
                  </a:lnTo>
                  <a:close/>
                  <a:moveTo>
                    <a:pt x="114" y="29"/>
                  </a:move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close/>
                  <a:moveTo>
                    <a:pt x="114" y="31"/>
                  </a:move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close/>
                  <a:moveTo>
                    <a:pt x="114" y="34"/>
                  </a:move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close/>
                  <a:moveTo>
                    <a:pt x="114" y="34"/>
                  </a:move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close/>
                  <a:moveTo>
                    <a:pt x="116" y="36"/>
                  </a:move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3" y="36"/>
                  </a:lnTo>
                  <a:lnTo>
                    <a:pt x="123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close/>
                  <a:moveTo>
                    <a:pt x="123" y="38"/>
                  </a:move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3" y="38"/>
                  </a:moveTo>
                  <a:lnTo>
                    <a:pt x="121" y="36"/>
                  </a:lnTo>
                  <a:lnTo>
                    <a:pt x="123" y="36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3" y="38"/>
                  </a:moveTo>
                  <a:lnTo>
                    <a:pt x="123" y="38"/>
                  </a:ln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3" y="38"/>
                  </a:moveTo>
                  <a:lnTo>
                    <a:pt x="123" y="36"/>
                  </a:lnTo>
                  <a:lnTo>
                    <a:pt x="126" y="36"/>
                  </a:lnTo>
                  <a:lnTo>
                    <a:pt x="126" y="38"/>
                  </a:lnTo>
                  <a:lnTo>
                    <a:pt x="123" y="38"/>
                  </a:lnTo>
                  <a:lnTo>
                    <a:pt x="123" y="38"/>
                  </a:lnTo>
                  <a:close/>
                  <a:moveTo>
                    <a:pt x="126" y="38"/>
                  </a:move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close/>
                  <a:moveTo>
                    <a:pt x="126" y="38"/>
                  </a:moveTo>
                  <a:lnTo>
                    <a:pt x="126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26" y="38"/>
                  </a:lnTo>
                  <a:lnTo>
                    <a:pt x="126" y="38"/>
                  </a:lnTo>
                  <a:close/>
                  <a:moveTo>
                    <a:pt x="128" y="36"/>
                  </a:move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close/>
                  <a:moveTo>
                    <a:pt x="128" y="36"/>
                  </a:moveTo>
                  <a:lnTo>
                    <a:pt x="126" y="36"/>
                  </a:lnTo>
                  <a:lnTo>
                    <a:pt x="128" y="34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close/>
                  <a:moveTo>
                    <a:pt x="128" y="34"/>
                  </a:moveTo>
                  <a:lnTo>
                    <a:pt x="128" y="34"/>
                  </a:lnTo>
                  <a:lnTo>
                    <a:pt x="128" y="36"/>
                  </a:lnTo>
                  <a:lnTo>
                    <a:pt x="128" y="34"/>
                  </a:lnTo>
                  <a:close/>
                  <a:moveTo>
                    <a:pt x="128" y="34"/>
                  </a:moveTo>
                  <a:lnTo>
                    <a:pt x="128" y="36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36"/>
                  </a:lnTo>
                  <a:lnTo>
                    <a:pt x="128" y="34"/>
                  </a:lnTo>
                  <a:close/>
                  <a:moveTo>
                    <a:pt x="128" y="45"/>
                  </a:moveTo>
                  <a:lnTo>
                    <a:pt x="128" y="45"/>
                  </a:lnTo>
                  <a:lnTo>
                    <a:pt x="128" y="43"/>
                  </a:lnTo>
                  <a:lnTo>
                    <a:pt x="128" y="45"/>
                  </a:lnTo>
                  <a:close/>
                  <a:moveTo>
                    <a:pt x="128" y="43"/>
                  </a:moveTo>
                  <a:lnTo>
                    <a:pt x="128" y="43"/>
                  </a:lnTo>
                  <a:lnTo>
                    <a:pt x="130" y="43"/>
                  </a:lnTo>
                  <a:lnTo>
                    <a:pt x="130" y="45"/>
                  </a:lnTo>
                  <a:lnTo>
                    <a:pt x="128" y="45"/>
                  </a:lnTo>
                  <a:lnTo>
                    <a:pt x="128" y="43"/>
                  </a:lnTo>
                  <a:close/>
                  <a:moveTo>
                    <a:pt x="133" y="43"/>
                  </a:moveTo>
                  <a:lnTo>
                    <a:pt x="133" y="45"/>
                  </a:lnTo>
                  <a:lnTo>
                    <a:pt x="130" y="45"/>
                  </a:lnTo>
                  <a:lnTo>
                    <a:pt x="133" y="43"/>
                  </a:lnTo>
                  <a:close/>
                  <a:moveTo>
                    <a:pt x="130" y="45"/>
                  </a:moveTo>
                  <a:lnTo>
                    <a:pt x="130" y="43"/>
                  </a:lnTo>
                  <a:lnTo>
                    <a:pt x="130" y="17"/>
                  </a:lnTo>
                  <a:lnTo>
                    <a:pt x="133" y="17"/>
                  </a:lnTo>
                  <a:lnTo>
                    <a:pt x="133" y="43"/>
                  </a:lnTo>
                  <a:lnTo>
                    <a:pt x="130" y="45"/>
                  </a:lnTo>
                  <a:close/>
                  <a:moveTo>
                    <a:pt x="130" y="17"/>
                  </a:move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close/>
                  <a:moveTo>
                    <a:pt x="130" y="17"/>
                  </a:moveTo>
                  <a:lnTo>
                    <a:pt x="130" y="17"/>
                  </a:lnTo>
                  <a:lnTo>
                    <a:pt x="137" y="17"/>
                  </a:lnTo>
                  <a:lnTo>
                    <a:pt x="137" y="17"/>
                  </a:lnTo>
                  <a:lnTo>
                    <a:pt x="130" y="17"/>
                  </a:lnTo>
                  <a:lnTo>
                    <a:pt x="130" y="17"/>
                  </a:lnTo>
                  <a:close/>
                  <a:moveTo>
                    <a:pt x="137" y="17"/>
                  </a:moveTo>
                  <a:lnTo>
                    <a:pt x="137" y="17"/>
                  </a:lnTo>
                  <a:lnTo>
                    <a:pt x="137" y="17"/>
                  </a:lnTo>
                  <a:lnTo>
                    <a:pt x="137" y="17"/>
                  </a:lnTo>
                  <a:close/>
                  <a:moveTo>
                    <a:pt x="137" y="17"/>
                  </a:moveTo>
                  <a:lnTo>
                    <a:pt x="135" y="17"/>
                  </a:lnTo>
                  <a:lnTo>
                    <a:pt x="135" y="15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7" y="17"/>
                  </a:lnTo>
                  <a:close/>
                  <a:moveTo>
                    <a:pt x="137" y="15"/>
                  </a:moveTo>
                  <a:lnTo>
                    <a:pt x="137" y="15"/>
                  </a:lnTo>
                  <a:lnTo>
                    <a:pt x="137" y="15"/>
                  </a:lnTo>
                  <a:lnTo>
                    <a:pt x="137" y="15"/>
                  </a:lnTo>
                  <a:close/>
                  <a:moveTo>
                    <a:pt x="137" y="15"/>
                  </a:moveTo>
                  <a:lnTo>
                    <a:pt x="137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37" y="15"/>
                  </a:lnTo>
                  <a:lnTo>
                    <a:pt x="137" y="15"/>
                  </a:lnTo>
                  <a:close/>
                  <a:moveTo>
                    <a:pt x="111" y="15"/>
                  </a:moveTo>
                  <a:lnTo>
                    <a:pt x="111" y="15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11" y="15"/>
                  </a:lnTo>
                  <a:lnTo>
                    <a:pt x="111" y="15"/>
                  </a:lnTo>
                  <a:close/>
                  <a:moveTo>
                    <a:pt x="109" y="15"/>
                  </a:moveTo>
                  <a:lnTo>
                    <a:pt x="109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9" y="15"/>
                  </a:lnTo>
                  <a:lnTo>
                    <a:pt x="109" y="15"/>
                  </a:lnTo>
                  <a:close/>
                  <a:moveTo>
                    <a:pt x="104" y="15"/>
                  </a:move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close/>
                  <a:moveTo>
                    <a:pt x="104" y="15"/>
                  </a:moveTo>
                  <a:lnTo>
                    <a:pt x="104" y="15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04" y="15"/>
                  </a:lnTo>
                  <a:lnTo>
                    <a:pt x="104" y="15"/>
                  </a:lnTo>
                  <a:close/>
                  <a:moveTo>
                    <a:pt x="92" y="0"/>
                  </a:move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close/>
                  <a:moveTo>
                    <a:pt x="92" y="0"/>
                  </a:moveTo>
                  <a:lnTo>
                    <a:pt x="92" y="0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2" y="0"/>
                  </a:lnTo>
                  <a:lnTo>
                    <a:pt x="92" y="0"/>
                  </a:lnTo>
                  <a:close/>
                  <a:moveTo>
                    <a:pt x="90" y="3"/>
                  </a:move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close/>
                  <a:moveTo>
                    <a:pt x="90" y="3"/>
                  </a:moveTo>
                  <a:lnTo>
                    <a:pt x="90" y="3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90" y="3"/>
                  </a:lnTo>
                  <a:lnTo>
                    <a:pt x="90" y="3"/>
                  </a:lnTo>
                  <a:close/>
                  <a:moveTo>
                    <a:pt x="102" y="15"/>
                  </a:moveTo>
                  <a:lnTo>
                    <a:pt x="104" y="15"/>
                  </a:lnTo>
                  <a:lnTo>
                    <a:pt x="102" y="15"/>
                  </a:lnTo>
                  <a:lnTo>
                    <a:pt x="102" y="15"/>
                  </a:lnTo>
                  <a:close/>
                  <a:moveTo>
                    <a:pt x="102" y="15"/>
                  </a:moveTo>
                  <a:lnTo>
                    <a:pt x="102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102" y="15"/>
                  </a:lnTo>
                  <a:lnTo>
                    <a:pt x="102" y="15"/>
                  </a:lnTo>
                  <a:close/>
                  <a:moveTo>
                    <a:pt x="81" y="15"/>
                  </a:move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close/>
                  <a:moveTo>
                    <a:pt x="81" y="15"/>
                  </a:moveTo>
                  <a:lnTo>
                    <a:pt x="81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81" y="15"/>
                  </a:lnTo>
                  <a:lnTo>
                    <a:pt x="81" y="15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52" y="15"/>
                  </a:lnTo>
                  <a:lnTo>
                    <a:pt x="52" y="15"/>
                  </a:lnTo>
                  <a:close/>
                  <a:moveTo>
                    <a:pt x="36" y="15"/>
                  </a:move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close/>
                  <a:moveTo>
                    <a:pt x="36" y="15"/>
                  </a:moveTo>
                  <a:lnTo>
                    <a:pt x="36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36" y="15"/>
                  </a:lnTo>
                  <a:lnTo>
                    <a:pt x="36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0" y="15"/>
                  </a:moveTo>
                  <a:lnTo>
                    <a:pt x="2" y="15"/>
                  </a:ln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4" y="17"/>
                  </a:moveTo>
                  <a:lnTo>
                    <a:pt x="14" y="17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4" y="24"/>
                  </a:moveTo>
                  <a:lnTo>
                    <a:pt x="14" y="24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4"/>
                  </a:lnTo>
                  <a:lnTo>
                    <a:pt x="14" y="24"/>
                  </a:lnTo>
                  <a:close/>
                  <a:moveTo>
                    <a:pt x="14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6"/>
                  </a:move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6"/>
                  </a:moveTo>
                  <a:lnTo>
                    <a:pt x="14" y="26"/>
                  </a:lnTo>
                  <a:lnTo>
                    <a:pt x="14" y="29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9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close/>
                  <a:moveTo>
                    <a:pt x="14" y="26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close/>
                  <a:moveTo>
                    <a:pt x="14" y="29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9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close/>
                  <a:moveTo>
                    <a:pt x="10" y="26"/>
                  </a:moveTo>
                  <a:lnTo>
                    <a:pt x="7" y="26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10" y="26"/>
                  </a:lnTo>
                  <a:close/>
                  <a:moveTo>
                    <a:pt x="7" y="22"/>
                  </a:moveTo>
                  <a:lnTo>
                    <a:pt x="7" y="22"/>
                  </a:lnTo>
                  <a:lnTo>
                    <a:pt x="7" y="24"/>
                  </a:lnTo>
                  <a:lnTo>
                    <a:pt x="7" y="22"/>
                  </a:lnTo>
                  <a:close/>
                  <a:moveTo>
                    <a:pt x="7" y="24"/>
                  </a:moveTo>
                  <a:lnTo>
                    <a:pt x="7" y="24"/>
                  </a:lnTo>
                  <a:lnTo>
                    <a:pt x="5" y="26"/>
                  </a:lnTo>
                  <a:lnTo>
                    <a:pt x="5" y="24"/>
                  </a:lnTo>
                  <a:lnTo>
                    <a:pt x="7" y="22"/>
                  </a:lnTo>
                  <a:lnTo>
                    <a:pt x="7" y="24"/>
                  </a:lnTo>
                  <a:close/>
                  <a:moveTo>
                    <a:pt x="5" y="24"/>
                  </a:moveTo>
                  <a:lnTo>
                    <a:pt x="2" y="24"/>
                  </a:lnTo>
                  <a:lnTo>
                    <a:pt x="5" y="24"/>
                  </a:lnTo>
                  <a:lnTo>
                    <a:pt x="5" y="24"/>
                  </a:lnTo>
                  <a:close/>
                  <a:moveTo>
                    <a:pt x="5" y="24"/>
                  </a:moveTo>
                  <a:lnTo>
                    <a:pt x="5" y="24"/>
                  </a:lnTo>
                  <a:lnTo>
                    <a:pt x="7" y="26"/>
                  </a:lnTo>
                  <a:lnTo>
                    <a:pt x="5" y="26"/>
                  </a:lnTo>
                  <a:lnTo>
                    <a:pt x="5" y="24"/>
                  </a:lnTo>
                  <a:lnTo>
                    <a:pt x="5" y="24"/>
                  </a:lnTo>
                  <a:close/>
                  <a:moveTo>
                    <a:pt x="5" y="26"/>
                  </a:move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5" y="26"/>
                  </a:moveTo>
                  <a:lnTo>
                    <a:pt x="7" y="26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7" y="29"/>
                  </a:move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close/>
                  <a:moveTo>
                    <a:pt x="7" y="29"/>
                  </a:moveTo>
                  <a:lnTo>
                    <a:pt x="7" y="29"/>
                  </a:lnTo>
                  <a:lnTo>
                    <a:pt x="10" y="31"/>
                  </a:lnTo>
                  <a:lnTo>
                    <a:pt x="7" y="31"/>
                  </a:lnTo>
                  <a:lnTo>
                    <a:pt x="7" y="29"/>
                  </a:lnTo>
                  <a:close/>
                  <a:moveTo>
                    <a:pt x="7" y="31"/>
                  </a:move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7" y="31"/>
                  </a:moveTo>
                  <a:lnTo>
                    <a:pt x="10" y="31"/>
                  </a:lnTo>
                  <a:lnTo>
                    <a:pt x="17" y="41"/>
                  </a:lnTo>
                  <a:lnTo>
                    <a:pt x="14" y="41"/>
                  </a:ln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14" y="41"/>
                  </a:move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7" y="43"/>
                  </a:lnTo>
                  <a:lnTo>
                    <a:pt x="19" y="41"/>
                  </a:lnTo>
                  <a:lnTo>
                    <a:pt x="21" y="43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21" y="41"/>
                  </a:moveTo>
                  <a:lnTo>
                    <a:pt x="21" y="43"/>
                  </a:lnTo>
                  <a:lnTo>
                    <a:pt x="21" y="43"/>
                  </a:lnTo>
                  <a:lnTo>
                    <a:pt x="21" y="41"/>
                  </a:lnTo>
                  <a:close/>
                  <a:moveTo>
                    <a:pt x="21" y="43"/>
                  </a:moveTo>
                  <a:lnTo>
                    <a:pt x="19" y="43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1" y="41"/>
                  </a:lnTo>
                  <a:lnTo>
                    <a:pt x="21" y="43"/>
                  </a:lnTo>
                  <a:close/>
                  <a:moveTo>
                    <a:pt x="19" y="41"/>
                  </a:move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close/>
                  <a:moveTo>
                    <a:pt x="19" y="41"/>
                  </a:moveTo>
                  <a:lnTo>
                    <a:pt x="19" y="41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9" y="41"/>
                  </a:lnTo>
                  <a:lnTo>
                    <a:pt x="19" y="41"/>
                  </a:lnTo>
                  <a:close/>
                  <a:moveTo>
                    <a:pt x="17" y="38"/>
                  </a:move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close/>
                  <a:moveTo>
                    <a:pt x="17" y="38"/>
                  </a:moveTo>
                  <a:lnTo>
                    <a:pt x="17" y="38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7" y="38"/>
                  </a:lnTo>
                  <a:lnTo>
                    <a:pt x="17" y="38"/>
                  </a:lnTo>
                  <a:close/>
                  <a:moveTo>
                    <a:pt x="14" y="36"/>
                  </a:move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close/>
                  <a:moveTo>
                    <a:pt x="14" y="36"/>
                  </a:moveTo>
                  <a:lnTo>
                    <a:pt x="14" y="36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7" y="36"/>
                  </a:lnTo>
                  <a:lnTo>
                    <a:pt x="14" y="36"/>
                  </a:lnTo>
                  <a:close/>
                  <a:moveTo>
                    <a:pt x="12" y="31"/>
                  </a:moveTo>
                  <a:lnTo>
                    <a:pt x="10" y="29"/>
                  </a:lnTo>
                  <a:lnTo>
                    <a:pt x="12" y="29"/>
                  </a:lnTo>
                  <a:lnTo>
                    <a:pt x="12" y="31"/>
                  </a:lnTo>
                  <a:close/>
                  <a:moveTo>
                    <a:pt x="12" y="31"/>
                  </a:moveTo>
                  <a:lnTo>
                    <a:pt x="12" y="31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close/>
                  <a:moveTo>
                    <a:pt x="12" y="29"/>
                  </a:moveTo>
                  <a:lnTo>
                    <a:pt x="12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9"/>
                  </a:lnTo>
                  <a:close/>
                  <a:moveTo>
                    <a:pt x="12" y="31"/>
                  </a:move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close/>
                  <a:moveTo>
                    <a:pt x="12" y="31"/>
                  </a:moveTo>
                  <a:lnTo>
                    <a:pt x="12" y="31"/>
                  </a:lnTo>
                  <a:lnTo>
                    <a:pt x="14" y="29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2" y="31"/>
                  </a:lnTo>
                  <a:close/>
                  <a:moveTo>
                    <a:pt x="14" y="31"/>
                  </a:move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4" y="31"/>
                  </a:moveTo>
                  <a:lnTo>
                    <a:pt x="14" y="29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4" y="31"/>
                  </a:move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4" y="31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14" y="31"/>
                  </a:lnTo>
                  <a:lnTo>
                    <a:pt x="14" y="31"/>
                  </a:lnTo>
                  <a:close/>
                  <a:moveTo>
                    <a:pt x="17" y="31"/>
                  </a:move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close/>
                  <a:moveTo>
                    <a:pt x="17" y="31"/>
                  </a:move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close/>
                  <a:moveTo>
                    <a:pt x="19" y="29"/>
                  </a:move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close/>
                  <a:moveTo>
                    <a:pt x="19" y="29"/>
                  </a:moveTo>
                  <a:lnTo>
                    <a:pt x="17" y="29"/>
                  </a:lnTo>
                  <a:lnTo>
                    <a:pt x="17" y="26"/>
                  </a:lnTo>
                  <a:lnTo>
                    <a:pt x="19" y="26"/>
                  </a:lnTo>
                  <a:lnTo>
                    <a:pt x="19" y="29"/>
                  </a:lnTo>
                  <a:close/>
                  <a:moveTo>
                    <a:pt x="19" y="26"/>
                  </a:move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19" y="26"/>
                  </a:moveTo>
                  <a:lnTo>
                    <a:pt x="17" y="26"/>
                  </a:lnTo>
                  <a:lnTo>
                    <a:pt x="17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17" y="26"/>
                  </a:moveTo>
                  <a:lnTo>
                    <a:pt x="17" y="26"/>
                  </a:lnTo>
                  <a:lnTo>
                    <a:pt x="17" y="17"/>
                  </a:lnTo>
                  <a:lnTo>
                    <a:pt x="19" y="17"/>
                  </a:lnTo>
                  <a:lnTo>
                    <a:pt x="19" y="26"/>
                  </a:lnTo>
                  <a:lnTo>
                    <a:pt x="17" y="26"/>
                  </a:lnTo>
                  <a:close/>
                  <a:moveTo>
                    <a:pt x="17" y="17"/>
                  </a:move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close/>
                  <a:moveTo>
                    <a:pt x="17" y="17"/>
                  </a:moveTo>
                  <a:lnTo>
                    <a:pt x="1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17" y="17"/>
                  </a:lnTo>
                  <a:lnTo>
                    <a:pt x="17" y="17"/>
                  </a:lnTo>
                  <a:close/>
                  <a:moveTo>
                    <a:pt x="28" y="17"/>
                  </a:move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close/>
                  <a:moveTo>
                    <a:pt x="28" y="17"/>
                  </a:moveTo>
                  <a:lnTo>
                    <a:pt x="28" y="1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17"/>
                  </a:lnTo>
                  <a:lnTo>
                    <a:pt x="28" y="17"/>
                  </a:lnTo>
                  <a:close/>
                  <a:moveTo>
                    <a:pt x="28" y="26"/>
                  </a:move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close/>
                  <a:moveTo>
                    <a:pt x="28" y="26"/>
                  </a:moveTo>
                  <a:lnTo>
                    <a:pt x="28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28" y="26"/>
                  </a:lnTo>
                  <a:lnTo>
                    <a:pt x="28" y="26"/>
                  </a:lnTo>
                  <a:close/>
                  <a:moveTo>
                    <a:pt x="19" y="26"/>
                  </a:moveTo>
                  <a:lnTo>
                    <a:pt x="17" y="26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19" y="26"/>
                  </a:moveTo>
                  <a:lnTo>
                    <a:pt x="19" y="26"/>
                  </a:lnTo>
                  <a:lnTo>
                    <a:pt x="21" y="29"/>
                  </a:lnTo>
                  <a:lnTo>
                    <a:pt x="19" y="29"/>
                  </a:lnTo>
                  <a:lnTo>
                    <a:pt x="19" y="26"/>
                  </a:lnTo>
                  <a:lnTo>
                    <a:pt x="19" y="26"/>
                  </a:lnTo>
                  <a:close/>
                  <a:moveTo>
                    <a:pt x="21" y="29"/>
                  </a:moveTo>
                  <a:lnTo>
                    <a:pt x="19" y="29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19" y="29"/>
                  </a:moveTo>
                  <a:lnTo>
                    <a:pt x="21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1" y="29"/>
                  </a:lnTo>
                  <a:lnTo>
                    <a:pt x="19" y="29"/>
                  </a:lnTo>
                  <a:close/>
                  <a:moveTo>
                    <a:pt x="28" y="29"/>
                  </a:move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close/>
                  <a:moveTo>
                    <a:pt x="28" y="29"/>
                  </a:moveTo>
                  <a:lnTo>
                    <a:pt x="28" y="2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29"/>
                  </a:lnTo>
                  <a:lnTo>
                    <a:pt x="28" y="29"/>
                  </a:lnTo>
                  <a:close/>
                  <a:moveTo>
                    <a:pt x="28" y="45"/>
                  </a:moveTo>
                  <a:lnTo>
                    <a:pt x="28" y="45"/>
                  </a:lnTo>
                  <a:lnTo>
                    <a:pt x="28" y="43"/>
                  </a:lnTo>
                  <a:lnTo>
                    <a:pt x="28" y="45"/>
                  </a:lnTo>
                  <a:close/>
                  <a:moveTo>
                    <a:pt x="28" y="43"/>
                  </a:moveTo>
                  <a:lnTo>
                    <a:pt x="28" y="43"/>
                  </a:lnTo>
                  <a:lnTo>
                    <a:pt x="31" y="43"/>
                  </a:lnTo>
                  <a:lnTo>
                    <a:pt x="31" y="45"/>
                  </a:lnTo>
                  <a:lnTo>
                    <a:pt x="28" y="45"/>
                  </a:lnTo>
                  <a:lnTo>
                    <a:pt x="28" y="43"/>
                  </a:lnTo>
                  <a:close/>
                  <a:moveTo>
                    <a:pt x="33" y="43"/>
                  </a:moveTo>
                  <a:lnTo>
                    <a:pt x="33" y="45"/>
                  </a:lnTo>
                  <a:lnTo>
                    <a:pt x="31" y="45"/>
                  </a:lnTo>
                  <a:lnTo>
                    <a:pt x="33" y="43"/>
                  </a:lnTo>
                  <a:close/>
                  <a:moveTo>
                    <a:pt x="31" y="45"/>
                  </a:moveTo>
                  <a:lnTo>
                    <a:pt x="31" y="43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3" y="43"/>
                  </a:lnTo>
                  <a:lnTo>
                    <a:pt x="31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41"/>
            <p:cNvSpPr>
              <a:spLocks noEditPoints="1"/>
            </p:cNvSpPr>
            <p:nvPr/>
          </p:nvSpPr>
          <p:spPr bwMode="auto">
            <a:xfrm>
              <a:off x="3300" y="2567"/>
              <a:ext cx="1080" cy="102"/>
            </a:xfrm>
            <a:custGeom>
              <a:avLst/>
              <a:gdLst>
                <a:gd name="T0" fmla="*/ 12 w 456"/>
                <a:gd name="T1" fmla="*/ 42 h 43"/>
                <a:gd name="T2" fmla="*/ 26 w 456"/>
                <a:gd name="T3" fmla="*/ 42 h 43"/>
                <a:gd name="T4" fmla="*/ 19 w 456"/>
                <a:gd name="T5" fmla="*/ 26 h 43"/>
                <a:gd name="T6" fmla="*/ 13 w 456"/>
                <a:gd name="T7" fmla="*/ 6 h 43"/>
                <a:gd name="T8" fmla="*/ 43 w 456"/>
                <a:gd name="T9" fmla="*/ 42 h 43"/>
                <a:gd name="T10" fmla="*/ 38 w 456"/>
                <a:gd name="T11" fmla="*/ 26 h 43"/>
                <a:gd name="T12" fmla="*/ 38 w 456"/>
                <a:gd name="T13" fmla="*/ 26 h 43"/>
                <a:gd name="T14" fmla="*/ 57 w 456"/>
                <a:gd name="T15" fmla="*/ 11 h 43"/>
                <a:gd name="T16" fmla="*/ 73 w 456"/>
                <a:gd name="T17" fmla="*/ 11 h 43"/>
                <a:gd name="T18" fmla="*/ 95 w 456"/>
                <a:gd name="T19" fmla="*/ 10 h 43"/>
                <a:gd name="T20" fmla="*/ 99 w 456"/>
                <a:gd name="T21" fmla="*/ 31 h 43"/>
                <a:gd name="T22" fmla="*/ 107 w 456"/>
                <a:gd name="T23" fmla="*/ 27 h 43"/>
                <a:gd name="T24" fmla="*/ 99 w 456"/>
                <a:gd name="T25" fmla="*/ 23 h 43"/>
                <a:gd name="T26" fmla="*/ 119 w 456"/>
                <a:gd name="T27" fmla="*/ 23 h 43"/>
                <a:gd name="T28" fmla="*/ 125 w 456"/>
                <a:gd name="T29" fmla="*/ 10 h 43"/>
                <a:gd name="T30" fmla="*/ 111 w 456"/>
                <a:gd name="T31" fmla="*/ 11 h 43"/>
                <a:gd name="T32" fmla="*/ 138 w 456"/>
                <a:gd name="T33" fmla="*/ 21 h 43"/>
                <a:gd name="T34" fmla="*/ 153 w 456"/>
                <a:gd name="T35" fmla="*/ 42 h 43"/>
                <a:gd name="T36" fmla="*/ 137 w 456"/>
                <a:gd name="T37" fmla="*/ 14 h 43"/>
                <a:gd name="T38" fmla="*/ 158 w 456"/>
                <a:gd name="T39" fmla="*/ 42 h 43"/>
                <a:gd name="T40" fmla="*/ 173 w 456"/>
                <a:gd name="T41" fmla="*/ 20 h 43"/>
                <a:gd name="T42" fmla="*/ 185 w 456"/>
                <a:gd name="T43" fmla="*/ 16 h 43"/>
                <a:gd name="T44" fmla="*/ 196 w 456"/>
                <a:gd name="T45" fmla="*/ 19 h 43"/>
                <a:gd name="T46" fmla="*/ 174 w 456"/>
                <a:gd name="T47" fmla="*/ 10 h 43"/>
                <a:gd name="T48" fmla="*/ 158 w 456"/>
                <a:gd name="T49" fmla="*/ 11 h 43"/>
                <a:gd name="T50" fmla="*/ 213 w 456"/>
                <a:gd name="T51" fmla="*/ 10 h 43"/>
                <a:gd name="T52" fmla="*/ 216 w 456"/>
                <a:gd name="T53" fmla="*/ 31 h 43"/>
                <a:gd name="T54" fmla="*/ 224 w 456"/>
                <a:gd name="T55" fmla="*/ 27 h 43"/>
                <a:gd name="T56" fmla="*/ 216 w 456"/>
                <a:gd name="T57" fmla="*/ 23 h 43"/>
                <a:gd name="T58" fmla="*/ 236 w 456"/>
                <a:gd name="T59" fmla="*/ 21 h 43"/>
                <a:gd name="T60" fmla="*/ 251 w 456"/>
                <a:gd name="T61" fmla="*/ 42 h 43"/>
                <a:gd name="T62" fmla="*/ 235 w 456"/>
                <a:gd name="T63" fmla="*/ 14 h 43"/>
                <a:gd name="T64" fmla="*/ 258 w 456"/>
                <a:gd name="T65" fmla="*/ 11 h 43"/>
                <a:gd name="T66" fmla="*/ 258 w 456"/>
                <a:gd name="T67" fmla="*/ 34 h 43"/>
                <a:gd name="T68" fmla="*/ 269 w 456"/>
                <a:gd name="T69" fmla="*/ 36 h 43"/>
                <a:gd name="T70" fmla="*/ 271 w 456"/>
                <a:gd name="T71" fmla="*/ 11 h 43"/>
                <a:gd name="T72" fmla="*/ 258 w 456"/>
                <a:gd name="T73" fmla="*/ 11 h 43"/>
                <a:gd name="T74" fmla="*/ 300 w 456"/>
                <a:gd name="T75" fmla="*/ 10 h 43"/>
                <a:gd name="T76" fmla="*/ 304 w 456"/>
                <a:gd name="T77" fmla="*/ 26 h 43"/>
                <a:gd name="T78" fmla="*/ 325 w 456"/>
                <a:gd name="T79" fmla="*/ 42 h 43"/>
                <a:gd name="T80" fmla="*/ 325 w 456"/>
                <a:gd name="T81" fmla="*/ 11 h 43"/>
                <a:gd name="T82" fmla="*/ 330 w 456"/>
                <a:gd name="T83" fmla="*/ 0 h 43"/>
                <a:gd name="T84" fmla="*/ 314 w 456"/>
                <a:gd name="T85" fmla="*/ 11 h 43"/>
                <a:gd name="T86" fmla="*/ 357 w 456"/>
                <a:gd name="T87" fmla="*/ 1 h 43"/>
                <a:gd name="T88" fmla="*/ 357 w 456"/>
                <a:gd name="T89" fmla="*/ 1 h 43"/>
                <a:gd name="T90" fmla="*/ 375 w 456"/>
                <a:gd name="T91" fmla="*/ 16 h 43"/>
                <a:gd name="T92" fmla="*/ 386 w 456"/>
                <a:gd name="T93" fmla="*/ 19 h 43"/>
                <a:gd name="T94" fmla="*/ 370 w 456"/>
                <a:gd name="T95" fmla="*/ 11 h 43"/>
                <a:gd name="T96" fmla="*/ 402 w 456"/>
                <a:gd name="T97" fmla="*/ 16 h 43"/>
                <a:gd name="T98" fmla="*/ 407 w 456"/>
                <a:gd name="T99" fmla="*/ 42 h 43"/>
                <a:gd name="T100" fmla="*/ 407 w 456"/>
                <a:gd name="T101" fmla="*/ 14 h 43"/>
                <a:gd name="T102" fmla="*/ 400 w 456"/>
                <a:gd name="T103" fmla="*/ 42 h 43"/>
                <a:gd name="T104" fmla="*/ 420 w 456"/>
                <a:gd name="T105" fmla="*/ 42 h 43"/>
                <a:gd name="T106" fmla="*/ 420 w 456"/>
                <a:gd name="T107" fmla="*/ 42 h 43"/>
                <a:gd name="T108" fmla="*/ 420 w 456"/>
                <a:gd name="T109" fmla="*/ 0 h 43"/>
                <a:gd name="T110" fmla="*/ 444 w 456"/>
                <a:gd name="T111" fmla="*/ 15 h 43"/>
                <a:gd name="T112" fmla="*/ 432 w 456"/>
                <a:gd name="T113" fmla="*/ 34 h 43"/>
                <a:gd name="T114" fmla="*/ 449 w 456"/>
                <a:gd name="T115" fmla="*/ 42 h 43"/>
                <a:gd name="T116" fmla="*/ 444 w 456"/>
                <a:gd name="T117" fmla="*/ 10 h 43"/>
                <a:gd name="T118" fmla="*/ 448 w 456"/>
                <a:gd name="T119" fmla="*/ 32 h 43"/>
                <a:gd name="T120" fmla="*/ 448 w 456"/>
                <a:gd name="T121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6" h="43">
                  <a:moveTo>
                    <a:pt x="26" y="13"/>
                  </a:moveTo>
                  <a:cubicBezTo>
                    <a:pt x="26" y="5"/>
                    <a:pt x="22" y="0"/>
                    <a:pt x="13" y="0"/>
                  </a:cubicBezTo>
                  <a:cubicBezTo>
                    <a:pt x="3" y="0"/>
                    <a:pt x="0" y="7"/>
                    <a:pt x="0" y="21"/>
                  </a:cubicBezTo>
                  <a:cubicBezTo>
                    <a:pt x="0" y="35"/>
                    <a:pt x="2" y="42"/>
                    <a:pt x="12" y="42"/>
                  </a:cubicBezTo>
                  <a:cubicBezTo>
                    <a:pt x="16" y="42"/>
                    <a:pt x="18" y="41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4"/>
                    <a:pt x="15" y="36"/>
                    <a:pt x="13" y="36"/>
                  </a:cubicBezTo>
                  <a:cubicBezTo>
                    <a:pt x="9" y="36"/>
                    <a:pt x="8" y="30"/>
                    <a:pt x="8" y="20"/>
                  </a:cubicBezTo>
                  <a:cubicBezTo>
                    <a:pt x="8" y="10"/>
                    <a:pt x="9" y="6"/>
                    <a:pt x="13" y="6"/>
                  </a:cubicBezTo>
                  <a:cubicBezTo>
                    <a:pt x="17" y="6"/>
                    <a:pt x="18" y="10"/>
                    <a:pt x="18" y="13"/>
                  </a:cubicBezTo>
                  <a:lnTo>
                    <a:pt x="26" y="13"/>
                  </a:lnTo>
                  <a:close/>
                  <a:moveTo>
                    <a:pt x="31" y="26"/>
                  </a:moveTo>
                  <a:cubicBezTo>
                    <a:pt x="31" y="37"/>
                    <a:pt x="33" y="43"/>
                    <a:pt x="43" y="42"/>
                  </a:cubicBezTo>
                  <a:cubicBezTo>
                    <a:pt x="52" y="42"/>
                    <a:pt x="55" y="37"/>
                    <a:pt x="55" y="26"/>
                  </a:cubicBezTo>
                  <a:cubicBezTo>
                    <a:pt x="55" y="16"/>
                    <a:pt x="52" y="10"/>
                    <a:pt x="43" y="10"/>
                  </a:cubicBezTo>
                  <a:cubicBezTo>
                    <a:pt x="34" y="10"/>
                    <a:pt x="31" y="16"/>
                    <a:pt x="31" y="26"/>
                  </a:cubicBezTo>
                  <a:moveTo>
                    <a:pt x="38" y="26"/>
                  </a:moveTo>
                  <a:cubicBezTo>
                    <a:pt x="38" y="20"/>
                    <a:pt x="39" y="15"/>
                    <a:pt x="43" y="15"/>
                  </a:cubicBezTo>
                  <a:cubicBezTo>
                    <a:pt x="46" y="15"/>
                    <a:pt x="47" y="19"/>
                    <a:pt x="47" y="26"/>
                  </a:cubicBezTo>
                  <a:cubicBezTo>
                    <a:pt x="47" y="34"/>
                    <a:pt x="46" y="37"/>
                    <a:pt x="43" y="37"/>
                  </a:cubicBezTo>
                  <a:cubicBezTo>
                    <a:pt x="39" y="37"/>
                    <a:pt x="38" y="33"/>
                    <a:pt x="38" y="26"/>
                  </a:cubicBezTo>
                  <a:moveTo>
                    <a:pt x="69" y="33"/>
                  </a:moveTo>
                  <a:cubicBezTo>
                    <a:pt x="69" y="33"/>
                    <a:pt x="69" y="33"/>
                    <a:pt x="69" y="33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73" y="11"/>
                    <a:pt x="73" y="11"/>
                    <a:pt x="73" y="11"/>
                  </a:cubicBezTo>
                  <a:lnTo>
                    <a:pt x="69" y="33"/>
                  </a:lnTo>
                  <a:close/>
                  <a:moveTo>
                    <a:pt x="107" y="27"/>
                  </a:moveTo>
                  <a:cubicBezTo>
                    <a:pt x="107" y="26"/>
                    <a:pt x="107" y="26"/>
                    <a:pt x="107" y="26"/>
                  </a:cubicBezTo>
                  <a:cubicBezTo>
                    <a:pt x="107" y="16"/>
                    <a:pt x="105" y="10"/>
                    <a:pt x="95" y="10"/>
                  </a:cubicBezTo>
                  <a:cubicBezTo>
                    <a:pt x="85" y="10"/>
                    <a:pt x="83" y="18"/>
                    <a:pt x="83" y="26"/>
                  </a:cubicBezTo>
                  <a:cubicBezTo>
                    <a:pt x="83" y="34"/>
                    <a:pt x="84" y="42"/>
                    <a:pt x="95" y="42"/>
                  </a:cubicBezTo>
                  <a:cubicBezTo>
                    <a:pt x="102" y="42"/>
                    <a:pt x="106" y="38"/>
                    <a:pt x="106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5"/>
                    <a:pt x="98" y="37"/>
                    <a:pt x="95" y="37"/>
                  </a:cubicBezTo>
                  <a:cubicBezTo>
                    <a:pt x="92" y="37"/>
                    <a:pt x="91" y="34"/>
                    <a:pt x="91" y="30"/>
                  </a:cubicBezTo>
                  <a:cubicBezTo>
                    <a:pt x="91" y="27"/>
                    <a:pt x="91" y="27"/>
                    <a:pt x="91" y="27"/>
                  </a:cubicBezTo>
                  <a:lnTo>
                    <a:pt x="107" y="27"/>
                  </a:lnTo>
                  <a:close/>
                  <a:moveTo>
                    <a:pt x="91" y="23"/>
                  </a:moveTo>
                  <a:cubicBezTo>
                    <a:pt x="91" y="22"/>
                    <a:pt x="91" y="22"/>
                    <a:pt x="91" y="22"/>
                  </a:cubicBezTo>
                  <a:cubicBezTo>
                    <a:pt x="91" y="19"/>
                    <a:pt x="92" y="15"/>
                    <a:pt x="95" y="15"/>
                  </a:cubicBezTo>
                  <a:cubicBezTo>
                    <a:pt x="98" y="15"/>
                    <a:pt x="99" y="18"/>
                    <a:pt x="99" y="23"/>
                  </a:cubicBezTo>
                  <a:lnTo>
                    <a:pt x="91" y="23"/>
                  </a:lnTo>
                  <a:close/>
                  <a:moveTo>
                    <a:pt x="111" y="42"/>
                  </a:moveTo>
                  <a:cubicBezTo>
                    <a:pt x="119" y="42"/>
                    <a:pt x="119" y="42"/>
                    <a:pt x="119" y="42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9" y="19"/>
                    <a:pt x="122" y="18"/>
                    <a:pt x="124" y="18"/>
                  </a:cubicBezTo>
                  <a:cubicBezTo>
                    <a:pt x="125" y="18"/>
                    <a:pt x="126" y="18"/>
                    <a:pt x="127" y="18"/>
                  </a:cubicBezTo>
                  <a:cubicBezTo>
                    <a:pt x="127" y="10"/>
                    <a:pt x="127" y="10"/>
                    <a:pt x="127" y="10"/>
                  </a:cubicBezTo>
                  <a:cubicBezTo>
                    <a:pt x="126" y="10"/>
                    <a:pt x="126" y="10"/>
                    <a:pt x="125" y="10"/>
                  </a:cubicBezTo>
                  <a:cubicBezTo>
                    <a:pt x="122" y="10"/>
                    <a:pt x="120" y="12"/>
                    <a:pt x="118" y="15"/>
                  </a:cubicBezTo>
                  <a:cubicBezTo>
                    <a:pt x="118" y="15"/>
                    <a:pt x="118" y="15"/>
                    <a:pt x="118" y="15"/>
                  </a:cubicBezTo>
                  <a:cubicBezTo>
                    <a:pt x="118" y="11"/>
                    <a:pt x="118" y="11"/>
                    <a:pt x="118" y="11"/>
                  </a:cubicBezTo>
                  <a:cubicBezTo>
                    <a:pt x="111" y="11"/>
                    <a:pt x="111" y="11"/>
                    <a:pt x="111" y="11"/>
                  </a:cubicBezTo>
                  <a:lnTo>
                    <a:pt x="111" y="42"/>
                  </a:lnTo>
                  <a:close/>
                  <a:moveTo>
                    <a:pt x="130" y="42"/>
                  </a:moveTo>
                  <a:cubicBezTo>
                    <a:pt x="138" y="42"/>
                    <a:pt x="138" y="42"/>
                    <a:pt x="138" y="42"/>
                  </a:cubicBezTo>
                  <a:cubicBezTo>
                    <a:pt x="138" y="21"/>
                    <a:pt x="138" y="21"/>
                    <a:pt x="138" y="21"/>
                  </a:cubicBezTo>
                  <a:cubicBezTo>
                    <a:pt x="138" y="18"/>
                    <a:pt x="139" y="16"/>
                    <a:pt x="142" y="16"/>
                  </a:cubicBezTo>
                  <a:cubicBezTo>
                    <a:pt x="144" y="16"/>
                    <a:pt x="145" y="17"/>
                    <a:pt x="145" y="20"/>
                  </a:cubicBezTo>
                  <a:cubicBezTo>
                    <a:pt x="145" y="42"/>
                    <a:pt x="145" y="42"/>
                    <a:pt x="145" y="42"/>
                  </a:cubicBezTo>
                  <a:cubicBezTo>
                    <a:pt x="153" y="42"/>
                    <a:pt x="153" y="42"/>
                    <a:pt x="153" y="42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3" y="13"/>
                    <a:pt x="150" y="10"/>
                    <a:pt x="145" y="10"/>
                  </a:cubicBezTo>
                  <a:cubicBezTo>
                    <a:pt x="142" y="10"/>
                    <a:pt x="139" y="11"/>
                    <a:pt x="137" y="14"/>
                  </a:cubicBezTo>
                  <a:cubicBezTo>
                    <a:pt x="137" y="14"/>
                    <a:pt x="137" y="14"/>
                    <a:pt x="137" y="14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0" y="11"/>
                    <a:pt x="130" y="11"/>
                    <a:pt x="130" y="11"/>
                  </a:cubicBezTo>
                  <a:lnTo>
                    <a:pt x="130" y="42"/>
                  </a:lnTo>
                  <a:close/>
                  <a:moveTo>
                    <a:pt x="158" y="42"/>
                  </a:moveTo>
                  <a:cubicBezTo>
                    <a:pt x="166" y="42"/>
                    <a:pt x="166" y="42"/>
                    <a:pt x="166" y="42"/>
                  </a:cubicBezTo>
                  <a:cubicBezTo>
                    <a:pt x="166" y="21"/>
                    <a:pt x="166" y="21"/>
                    <a:pt x="166" y="21"/>
                  </a:cubicBezTo>
                  <a:cubicBezTo>
                    <a:pt x="166" y="18"/>
                    <a:pt x="168" y="16"/>
                    <a:pt x="170" y="16"/>
                  </a:cubicBezTo>
                  <a:cubicBezTo>
                    <a:pt x="172" y="16"/>
                    <a:pt x="173" y="18"/>
                    <a:pt x="173" y="20"/>
                  </a:cubicBezTo>
                  <a:cubicBezTo>
                    <a:pt x="173" y="42"/>
                    <a:pt x="173" y="42"/>
                    <a:pt x="173" y="42"/>
                  </a:cubicBezTo>
                  <a:cubicBezTo>
                    <a:pt x="181" y="42"/>
                    <a:pt x="181" y="42"/>
                    <a:pt x="181" y="42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18"/>
                    <a:pt x="183" y="16"/>
                    <a:pt x="185" y="16"/>
                  </a:cubicBezTo>
                  <a:cubicBezTo>
                    <a:pt x="188" y="16"/>
                    <a:pt x="188" y="18"/>
                    <a:pt x="188" y="20"/>
                  </a:cubicBezTo>
                  <a:cubicBezTo>
                    <a:pt x="188" y="42"/>
                    <a:pt x="188" y="42"/>
                    <a:pt x="188" y="42"/>
                  </a:cubicBezTo>
                  <a:cubicBezTo>
                    <a:pt x="196" y="42"/>
                    <a:pt x="196" y="42"/>
                    <a:pt x="196" y="42"/>
                  </a:cubicBezTo>
                  <a:cubicBezTo>
                    <a:pt x="196" y="19"/>
                    <a:pt x="196" y="19"/>
                    <a:pt x="196" y="19"/>
                  </a:cubicBezTo>
                  <a:cubicBezTo>
                    <a:pt x="196" y="13"/>
                    <a:pt x="194" y="10"/>
                    <a:pt x="189" y="10"/>
                  </a:cubicBezTo>
                  <a:cubicBezTo>
                    <a:pt x="185" y="10"/>
                    <a:pt x="182" y="12"/>
                    <a:pt x="181" y="15"/>
                  </a:cubicBezTo>
                  <a:cubicBezTo>
                    <a:pt x="181" y="15"/>
                    <a:pt x="181" y="15"/>
                    <a:pt x="181" y="15"/>
                  </a:cubicBezTo>
                  <a:cubicBezTo>
                    <a:pt x="180" y="12"/>
                    <a:pt x="177" y="10"/>
                    <a:pt x="174" y="10"/>
                  </a:cubicBezTo>
                  <a:cubicBezTo>
                    <a:pt x="170" y="10"/>
                    <a:pt x="168" y="11"/>
                    <a:pt x="166" y="14"/>
                  </a:cubicBezTo>
                  <a:cubicBezTo>
                    <a:pt x="166" y="14"/>
                    <a:pt x="166" y="14"/>
                    <a:pt x="166" y="14"/>
                  </a:cubicBezTo>
                  <a:cubicBezTo>
                    <a:pt x="166" y="11"/>
                    <a:pt x="166" y="11"/>
                    <a:pt x="166" y="11"/>
                  </a:cubicBezTo>
                  <a:cubicBezTo>
                    <a:pt x="158" y="11"/>
                    <a:pt x="158" y="11"/>
                    <a:pt x="158" y="11"/>
                  </a:cubicBezTo>
                  <a:lnTo>
                    <a:pt x="158" y="42"/>
                  </a:lnTo>
                  <a:close/>
                  <a:moveTo>
                    <a:pt x="224" y="27"/>
                  </a:moveTo>
                  <a:cubicBezTo>
                    <a:pt x="224" y="26"/>
                    <a:pt x="224" y="26"/>
                    <a:pt x="224" y="26"/>
                  </a:cubicBezTo>
                  <a:cubicBezTo>
                    <a:pt x="224" y="16"/>
                    <a:pt x="222" y="10"/>
                    <a:pt x="213" y="10"/>
                  </a:cubicBezTo>
                  <a:cubicBezTo>
                    <a:pt x="202" y="10"/>
                    <a:pt x="200" y="18"/>
                    <a:pt x="200" y="26"/>
                  </a:cubicBezTo>
                  <a:cubicBezTo>
                    <a:pt x="200" y="34"/>
                    <a:pt x="201" y="42"/>
                    <a:pt x="212" y="42"/>
                  </a:cubicBezTo>
                  <a:cubicBezTo>
                    <a:pt x="220" y="42"/>
                    <a:pt x="223" y="38"/>
                    <a:pt x="223" y="31"/>
                  </a:cubicBezTo>
                  <a:cubicBezTo>
                    <a:pt x="216" y="31"/>
                    <a:pt x="216" y="31"/>
                    <a:pt x="216" y="31"/>
                  </a:cubicBezTo>
                  <a:cubicBezTo>
                    <a:pt x="216" y="35"/>
                    <a:pt x="215" y="37"/>
                    <a:pt x="212" y="37"/>
                  </a:cubicBezTo>
                  <a:cubicBezTo>
                    <a:pt x="209" y="37"/>
                    <a:pt x="208" y="34"/>
                    <a:pt x="208" y="30"/>
                  </a:cubicBezTo>
                  <a:cubicBezTo>
                    <a:pt x="208" y="27"/>
                    <a:pt x="208" y="27"/>
                    <a:pt x="208" y="27"/>
                  </a:cubicBezTo>
                  <a:lnTo>
                    <a:pt x="224" y="27"/>
                  </a:lnTo>
                  <a:close/>
                  <a:moveTo>
                    <a:pt x="208" y="23"/>
                  </a:moveTo>
                  <a:cubicBezTo>
                    <a:pt x="208" y="22"/>
                    <a:pt x="208" y="22"/>
                    <a:pt x="208" y="22"/>
                  </a:cubicBezTo>
                  <a:cubicBezTo>
                    <a:pt x="208" y="19"/>
                    <a:pt x="209" y="15"/>
                    <a:pt x="212" y="15"/>
                  </a:cubicBezTo>
                  <a:cubicBezTo>
                    <a:pt x="216" y="15"/>
                    <a:pt x="216" y="18"/>
                    <a:pt x="216" y="23"/>
                  </a:cubicBezTo>
                  <a:lnTo>
                    <a:pt x="208" y="23"/>
                  </a:lnTo>
                  <a:close/>
                  <a:moveTo>
                    <a:pt x="228" y="42"/>
                  </a:moveTo>
                  <a:cubicBezTo>
                    <a:pt x="236" y="42"/>
                    <a:pt x="236" y="42"/>
                    <a:pt x="236" y="42"/>
                  </a:cubicBezTo>
                  <a:cubicBezTo>
                    <a:pt x="236" y="21"/>
                    <a:pt x="236" y="21"/>
                    <a:pt x="236" y="21"/>
                  </a:cubicBezTo>
                  <a:cubicBezTo>
                    <a:pt x="236" y="18"/>
                    <a:pt x="237" y="16"/>
                    <a:pt x="240" y="16"/>
                  </a:cubicBezTo>
                  <a:cubicBezTo>
                    <a:pt x="242" y="16"/>
                    <a:pt x="243" y="17"/>
                    <a:pt x="243" y="20"/>
                  </a:cubicBezTo>
                  <a:cubicBezTo>
                    <a:pt x="243" y="42"/>
                    <a:pt x="243" y="42"/>
                    <a:pt x="243" y="4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51" y="19"/>
                    <a:pt x="251" y="19"/>
                    <a:pt x="251" y="19"/>
                  </a:cubicBezTo>
                  <a:cubicBezTo>
                    <a:pt x="251" y="13"/>
                    <a:pt x="248" y="10"/>
                    <a:pt x="243" y="10"/>
                  </a:cubicBezTo>
                  <a:cubicBezTo>
                    <a:pt x="240" y="10"/>
                    <a:pt x="237" y="11"/>
                    <a:pt x="236" y="14"/>
                  </a:cubicBezTo>
                  <a:cubicBezTo>
                    <a:pt x="235" y="14"/>
                    <a:pt x="235" y="14"/>
                    <a:pt x="235" y="14"/>
                  </a:cubicBezTo>
                  <a:cubicBezTo>
                    <a:pt x="235" y="11"/>
                    <a:pt x="235" y="11"/>
                    <a:pt x="235" y="11"/>
                  </a:cubicBezTo>
                  <a:cubicBezTo>
                    <a:pt x="228" y="11"/>
                    <a:pt x="228" y="11"/>
                    <a:pt x="228" y="11"/>
                  </a:cubicBezTo>
                  <a:lnTo>
                    <a:pt x="228" y="42"/>
                  </a:lnTo>
                  <a:close/>
                  <a:moveTo>
                    <a:pt x="258" y="11"/>
                  </a:moveTo>
                  <a:cubicBezTo>
                    <a:pt x="254" y="11"/>
                    <a:pt x="254" y="11"/>
                    <a:pt x="254" y="11"/>
                  </a:cubicBezTo>
                  <a:cubicBezTo>
                    <a:pt x="254" y="16"/>
                    <a:pt x="254" y="16"/>
                    <a:pt x="254" y="16"/>
                  </a:cubicBezTo>
                  <a:cubicBezTo>
                    <a:pt x="258" y="16"/>
                    <a:pt x="258" y="16"/>
                    <a:pt x="258" y="16"/>
                  </a:cubicBezTo>
                  <a:cubicBezTo>
                    <a:pt x="258" y="34"/>
                    <a:pt x="258" y="34"/>
                    <a:pt x="258" y="34"/>
                  </a:cubicBezTo>
                  <a:cubicBezTo>
                    <a:pt x="258" y="40"/>
                    <a:pt x="259" y="42"/>
                    <a:pt x="266" y="42"/>
                  </a:cubicBezTo>
                  <a:cubicBezTo>
                    <a:pt x="267" y="42"/>
                    <a:pt x="269" y="42"/>
                    <a:pt x="271" y="42"/>
                  </a:cubicBezTo>
                  <a:cubicBezTo>
                    <a:pt x="271" y="36"/>
                    <a:pt x="271" y="36"/>
                    <a:pt x="271" y="36"/>
                  </a:cubicBezTo>
                  <a:cubicBezTo>
                    <a:pt x="270" y="36"/>
                    <a:pt x="270" y="36"/>
                    <a:pt x="269" y="36"/>
                  </a:cubicBezTo>
                  <a:cubicBezTo>
                    <a:pt x="267" y="36"/>
                    <a:pt x="266" y="35"/>
                    <a:pt x="266" y="33"/>
                  </a:cubicBezTo>
                  <a:cubicBezTo>
                    <a:pt x="266" y="16"/>
                    <a:pt x="266" y="16"/>
                    <a:pt x="266" y="16"/>
                  </a:cubicBezTo>
                  <a:cubicBezTo>
                    <a:pt x="271" y="16"/>
                    <a:pt x="271" y="16"/>
                    <a:pt x="271" y="16"/>
                  </a:cubicBezTo>
                  <a:cubicBezTo>
                    <a:pt x="271" y="11"/>
                    <a:pt x="271" y="11"/>
                    <a:pt x="271" y="11"/>
                  </a:cubicBezTo>
                  <a:cubicBezTo>
                    <a:pt x="266" y="11"/>
                    <a:pt x="266" y="11"/>
                    <a:pt x="266" y="11"/>
                  </a:cubicBezTo>
                  <a:cubicBezTo>
                    <a:pt x="266" y="2"/>
                    <a:pt x="266" y="2"/>
                    <a:pt x="266" y="2"/>
                  </a:cubicBezTo>
                  <a:cubicBezTo>
                    <a:pt x="258" y="2"/>
                    <a:pt x="258" y="2"/>
                    <a:pt x="258" y="2"/>
                  </a:cubicBezTo>
                  <a:lnTo>
                    <a:pt x="258" y="11"/>
                  </a:lnTo>
                  <a:close/>
                  <a:moveTo>
                    <a:pt x="287" y="26"/>
                  </a:moveTo>
                  <a:cubicBezTo>
                    <a:pt x="287" y="37"/>
                    <a:pt x="290" y="43"/>
                    <a:pt x="300" y="42"/>
                  </a:cubicBezTo>
                  <a:cubicBezTo>
                    <a:pt x="309" y="42"/>
                    <a:pt x="312" y="37"/>
                    <a:pt x="312" y="26"/>
                  </a:cubicBezTo>
                  <a:cubicBezTo>
                    <a:pt x="312" y="16"/>
                    <a:pt x="309" y="10"/>
                    <a:pt x="300" y="10"/>
                  </a:cubicBezTo>
                  <a:cubicBezTo>
                    <a:pt x="291" y="10"/>
                    <a:pt x="287" y="16"/>
                    <a:pt x="287" y="26"/>
                  </a:cubicBezTo>
                  <a:moveTo>
                    <a:pt x="295" y="26"/>
                  </a:moveTo>
                  <a:cubicBezTo>
                    <a:pt x="295" y="20"/>
                    <a:pt x="296" y="15"/>
                    <a:pt x="300" y="15"/>
                  </a:cubicBezTo>
                  <a:cubicBezTo>
                    <a:pt x="303" y="15"/>
                    <a:pt x="304" y="19"/>
                    <a:pt x="304" y="26"/>
                  </a:cubicBezTo>
                  <a:cubicBezTo>
                    <a:pt x="304" y="34"/>
                    <a:pt x="303" y="37"/>
                    <a:pt x="300" y="37"/>
                  </a:cubicBezTo>
                  <a:cubicBezTo>
                    <a:pt x="296" y="37"/>
                    <a:pt x="295" y="33"/>
                    <a:pt x="295" y="26"/>
                  </a:cubicBezTo>
                  <a:moveTo>
                    <a:pt x="318" y="42"/>
                  </a:moveTo>
                  <a:cubicBezTo>
                    <a:pt x="325" y="42"/>
                    <a:pt x="325" y="42"/>
                    <a:pt x="325" y="42"/>
                  </a:cubicBezTo>
                  <a:cubicBezTo>
                    <a:pt x="325" y="16"/>
                    <a:pt x="325" y="16"/>
                    <a:pt x="325" y="16"/>
                  </a:cubicBezTo>
                  <a:cubicBezTo>
                    <a:pt x="330" y="16"/>
                    <a:pt x="330" y="16"/>
                    <a:pt x="330" y="16"/>
                  </a:cubicBezTo>
                  <a:cubicBezTo>
                    <a:pt x="330" y="11"/>
                    <a:pt x="330" y="11"/>
                    <a:pt x="330" y="11"/>
                  </a:cubicBezTo>
                  <a:cubicBezTo>
                    <a:pt x="325" y="11"/>
                    <a:pt x="325" y="11"/>
                    <a:pt x="325" y="11"/>
                  </a:cubicBezTo>
                  <a:cubicBezTo>
                    <a:pt x="325" y="8"/>
                    <a:pt x="325" y="8"/>
                    <a:pt x="325" y="8"/>
                  </a:cubicBezTo>
                  <a:cubicBezTo>
                    <a:pt x="325" y="6"/>
                    <a:pt x="326" y="6"/>
                    <a:pt x="328" y="6"/>
                  </a:cubicBezTo>
                  <a:cubicBezTo>
                    <a:pt x="329" y="6"/>
                    <a:pt x="330" y="6"/>
                    <a:pt x="330" y="6"/>
                  </a:cubicBezTo>
                  <a:cubicBezTo>
                    <a:pt x="330" y="0"/>
                    <a:pt x="330" y="0"/>
                    <a:pt x="330" y="0"/>
                  </a:cubicBezTo>
                  <a:cubicBezTo>
                    <a:pt x="329" y="0"/>
                    <a:pt x="327" y="0"/>
                    <a:pt x="326" y="0"/>
                  </a:cubicBezTo>
                  <a:cubicBezTo>
                    <a:pt x="321" y="0"/>
                    <a:pt x="318" y="2"/>
                    <a:pt x="318" y="7"/>
                  </a:cubicBezTo>
                  <a:cubicBezTo>
                    <a:pt x="318" y="11"/>
                    <a:pt x="318" y="11"/>
                    <a:pt x="318" y="11"/>
                  </a:cubicBezTo>
                  <a:cubicBezTo>
                    <a:pt x="314" y="11"/>
                    <a:pt x="314" y="11"/>
                    <a:pt x="314" y="11"/>
                  </a:cubicBezTo>
                  <a:cubicBezTo>
                    <a:pt x="314" y="16"/>
                    <a:pt x="314" y="16"/>
                    <a:pt x="314" y="16"/>
                  </a:cubicBezTo>
                  <a:cubicBezTo>
                    <a:pt x="318" y="16"/>
                    <a:pt x="318" y="16"/>
                    <a:pt x="318" y="16"/>
                  </a:cubicBezTo>
                  <a:lnTo>
                    <a:pt x="318" y="42"/>
                  </a:lnTo>
                  <a:close/>
                  <a:moveTo>
                    <a:pt x="357" y="1"/>
                  </a:moveTo>
                  <a:cubicBezTo>
                    <a:pt x="348" y="1"/>
                    <a:pt x="348" y="1"/>
                    <a:pt x="348" y="1"/>
                  </a:cubicBezTo>
                  <a:cubicBezTo>
                    <a:pt x="348" y="42"/>
                    <a:pt x="348" y="42"/>
                    <a:pt x="348" y="42"/>
                  </a:cubicBezTo>
                  <a:cubicBezTo>
                    <a:pt x="357" y="42"/>
                    <a:pt x="357" y="42"/>
                    <a:pt x="357" y="42"/>
                  </a:cubicBezTo>
                  <a:lnTo>
                    <a:pt x="357" y="1"/>
                  </a:lnTo>
                  <a:close/>
                  <a:moveTo>
                    <a:pt x="363" y="42"/>
                  </a:moveTo>
                  <a:cubicBezTo>
                    <a:pt x="370" y="42"/>
                    <a:pt x="370" y="42"/>
                    <a:pt x="370" y="42"/>
                  </a:cubicBezTo>
                  <a:cubicBezTo>
                    <a:pt x="370" y="21"/>
                    <a:pt x="370" y="21"/>
                    <a:pt x="370" y="21"/>
                  </a:cubicBezTo>
                  <a:cubicBezTo>
                    <a:pt x="370" y="18"/>
                    <a:pt x="372" y="16"/>
                    <a:pt x="375" y="16"/>
                  </a:cubicBezTo>
                  <a:cubicBezTo>
                    <a:pt x="377" y="16"/>
                    <a:pt x="378" y="17"/>
                    <a:pt x="378" y="20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86" y="42"/>
                    <a:pt x="386" y="42"/>
                    <a:pt x="386" y="42"/>
                  </a:cubicBezTo>
                  <a:cubicBezTo>
                    <a:pt x="386" y="19"/>
                    <a:pt x="386" y="19"/>
                    <a:pt x="386" y="19"/>
                  </a:cubicBezTo>
                  <a:cubicBezTo>
                    <a:pt x="386" y="13"/>
                    <a:pt x="383" y="10"/>
                    <a:pt x="378" y="10"/>
                  </a:cubicBezTo>
                  <a:cubicBezTo>
                    <a:pt x="375" y="10"/>
                    <a:pt x="372" y="11"/>
                    <a:pt x="370" y="14"/>
                  </a:cubicBezTo>
                  <a:cubicBezTo>
                    <a:pt x="370" y="14"/>
                    <a:pt x="370" y="14"/>
                    <a:pt x="370" y="14"/>
                  </a:cubicBezTo>
                  <a:cubicBezTo>
                    <a:pt x="370" y="11"/>
                    <a:pt x="370" y="11"/>
                    <a:pt x="370" y="11"/>
                  </a:cubicBezTo>
                  <a:cubicBezTo>
                    <a:pt x="363" y="11"/>
                    <a:pt x="363" y="11"/>
                    <a:pt x="363" y="11"/>
                  </a:cubicBezTo>
                  <a:lnTo>
                    <a:pt x="363" y="42"/>
                  </a:lnTo>
                  <a:close/>
                  <a:moveTo>
                    <a:pt x="398" y="26"/>
                  </a:moveTo>
                  <a:cubicBezTo>
                    <a:pt x="398" y="20"/>
                    <a:pt x="399" y="16"/>
                    <a:pt x="402" y="16"/>
                  </a:cubicBezTo>
                  <a:cubicBezTo>
                    <a:pt x="406" y="16"/>
                    <a:pt x="407" y="20"/>
                    <a:pt x="407" y="26"/>
                  </a:cubicBezTo>
                  <a:cubicBezTo>
                    <a:pt x="407" y="33"/>
                    <a:pt x="406" y="36"/>
                    <a:pt x="402" y="36"/>
                  </a:cubicBezTo>
                  <a:cubicBezTo>
                    <a:pt x="399" y="36"/>
                    <a:pt x="398" y="33"/>
                    <a:pt x="398" y="26"/>
                  </a:cubicBezTo>
                  <a:moveTo>
                    <a:pt x="407" y="42"/>
                  </a:moveTo>
                  <a:cubicBezTo>
                    <a:pt x="414" y="42"/>
                    <a:pt x="414" y="42"/>
                    <a:pt x="414" y="42"/>
                  </a:cubicBezTo>
                  <a:cubicBezTo>
                    <a:pt x="414" y="1"/>
                    <a:pt x="414" y="1"/>
                    <a:pt x="414" y="1"/>
                  </a:cubicBezTo>
                  <a:cubicBezTo>
                    <a:pt x="407" y="1"/>
                    <a:pt x="407" y="1"/>
                    <a:pt x="407" y="1"/>
                  </a:cubicBezTo>
                  <a:cubicBezTo>
                    <a:pt x="407" y="14"/>
                    <a:pt x="407" y="14"/>
                    <a:pt x="407" y="14"/>
                  </a:cubicBezTo>
                  <a:cubicBezTo>
                    <a:pt x="406" y="14"/>
                    <a:pt x="406" y="14"/>
                    <a:pt x="406" y="14"/>
                  </a:cubicBezTo>
                  <a:cubicBezTo>
                    <a:pt x="405" y="11"/>
                    <a:pt x="403" y="10"/>
                    <a:pt x="400" y="10"/>
                  </a:cubicBezTo>
                  <a:cubicBezTo>
                    <a:pt x="393" y="10"/>
                    <a:pt x="390" y="15"/>
                    <a:pt x="390" y="26"/>
                  </a:cubicBezTo>
                  <a:cubicBezTo>
                    <a:pt x="390" y="38"/>
                    <a:pt x="393" y="42"/>
                    <a:pt x="400" y="42"/>
                  </a:cubicBezTo>
                  <a:cubicBezTo>
                    <a:pt x="403" y="42"/>
                    <a:pt x="405" y="41"/>
                    <a:pt x="407" y="38"/>
                  </a:cubicBezTo>
                  <a:cubicBezTo>
                    <a:pt x="407" y="38"/>
                    <a:pt x="407" y="38"/>
                    <a:pt x="407" y="38"/>
                  </a:cubicBezTo>
                  <a:lnTo>
                    <a:pt x="407" y="42"/>
                  </a:lnTo>
                  <a:close/>
                  <a:moveTo>
                    <a:pt x="420" y="42"/>
                  </a:moveTo>
                  <a:cubicBezTo>
                    <a:pt x="428" y="42"/>
                    <a:pt x="428" y="42"/>
                    <a:pt x="428" y="42"/>
                  </a:cubicBezTo>
                  <a:cubicBezTo>
                    <a:pt x="428" y="11"/>
                    <a:pt x="428" y="11"/>
                    <a:pt x="428" y="11"/>
                  </a:cubicBezTo>
                  <a:cubicBezTo>
                    <a:pt x="420" y="11"/>
                    <a:pt x="420" y="11"/>
                    <a:pt x="420" y="11"/>
                  </a:cubicBezTo>
                  <a:lnTo>
                    <a:pt x="420" y="42"/>
                  </a:lnTo>
                  <a:close/>
                  <a:moveTo>
                    <a:pt x="420" y="7"/>
                  </a:moveTo>
                  <a:cubicBezTo>
                    <a:pt x="428" y="7"/>
                    <a:pt x="428" y="7"/>
                    <a:pt x="428" y="7"/>
                  </a:cubicBezTo>
                  <a:cubicBezTo>
                    <a:pt x="428" y="0"/>
                    <a:pt x="428" y="0"/>
                    <a:pt x="428" y="0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420" y="7"/>
                  </a:lnTo>
                  <a:close/>
                  <a:moveTo>
                    <a:pt x="440" y="20"/>
                  </a:moveTo>
                  <a:cubicBezTo>
                    <a:pt x="440" y="19"/>
                    <a:pt x="440" y="19"/>
                    <a:pt x="440" y="19"/>
                  </a:cubicBezTo>
                  <a:cubicBezTo>
                    <a:pt x="440" y="17"/>
                    <a:pt x="442" y="15"/>
                    <a:pt x="444" y="15"/>
                  </a:cubicBezTo>
                  <a:cubicBezTo>
                    <a:pt x="447" y="15"/>
                    <a:pt x="448" y="17"/>
                    <a:pt x="448" y="19"/>
                  </a:cubicBezTo>
                  <a:cubicBezTo>
                    <a:pt x="448" y="21"/>
                    <a:pt x="447" y="22"/>
                    <a:pt x="445" y="23"/>
                  </a:cubicBezTo>
                  <a:cubicBezTo>
                    <a:pt x="440" y="24"/>
                    <a:pt x="440" y="24"/>
                    <a:pt x="440" y="24"/>
                  </a:cubicBezTo>
                  <a:cubicBezTo>
                    <a:pt x="435" y="25"/>
                    <a:pt x="432" y="28"/>
                    <a:pt x="432" y="34"/>
                  </a:cubicBezTo>
                  <a:cubicBezTo>
                    <a:pt x="432" y="38"/>
                    <a:pt x="434" y="42"/>
                    <a:pt x="440" y="42"/>
                  </a:cubicBezTo>
                  <a:cubicBezTo>
                    <a:pt x="444" y="42"/>
                    <a:pt x="446" y="42"/>
                    <a:pt x="448" y="38"/>
                  </a:cubicBezTo>
                  <a:cubicBezTo>
                    <a:pt x="448" y="38"/>
                    <a:pt x="448" y="38"/>
                    <a:pt x="448" y="38"/>
                  </a:cubicBezTo>
                  <a:cubicBezTo>
                    <a:pt x="448" y="39"/>
                    <a:pt x="448" y="41"/>
                    <a:pt x="449" y="42"/>
                  </a:cubicBezTo>
                  <a:cubicBezTo>
                    <a:pt x="456" y="42"/>
                    <a:pt x="456" y="42"/>
                    <a:pt x="456" y="42"/>
                  </a:cubicBezTo>
                  <a:cubicBezTo>
                    <a:pt x="455" y="40"/>
                    <a:pt x="455" y="39"/>
                    <a:pt x="455" y="36"/>
                  </a:cubicBezTo>
                  <a:cubicBezTo>
                    <a:pt x="455" y="19"/>
                    <a:pt x="455" y="19"/>
                    <a:pt x="455" y="19"/>
                  </a:cubicBezTo>
                  <a:cubicBezTo>
                    <a:pt x="455" y="14"/>
                    <a:pt x="453" y="10"/>
                    <a:pt x="444" y="10"/>
                  </a:cubicBezTo>
                  <a:cubicBezTo>
                    <a:pt x="438" y="10"/>
                    <a:pt x="433" y="13"/>
                    <a:pt x="433" y="20"/>
                  </a:cubicBezTo>
                  <a:cubicBezTo>
                    <a:pt x="433" y="20"/>
                    <a:pt x="433" y="20"/>
                    <a:pt x="433" y="20"/>
                  </a:cubicBezTo>
                  <a:lnTo>
                    <a:pt x="440" y="20"/>
                  </a:lnTo>
                  <a:close/>
                  <a:moveTo>
                    <a:pt x="448" y="32"/>
                  </a:moveTo>
                  <a:cubicBezTo>
                    <a:pt x="448" y="36"/>
                    <a:pt x="445" y="37"/>
                    <a:pt x="443" y="37"/>
                  </a:cubicBezTo>
                  <a:cubicBezTo>
                    <a:pt x="441" y="37"/>
                    <a:pt x="440" y="35"/>
                    <a:pt x="440" y="33"/>
                  </a:cubicBezTo>
                  <a:cubicBezTo>
                    <a:pt x="440" y="30"/>
                    <a:pt x="441" y="28"/>
                    <a:pt x="444" y="28"/>
                  </a:cubicBezTo>
                  <a:cubicBezTo>
                    <a:pt x="445" y="28"/>
                    <a:pt x="447" y="27"/>
                    <a:pt x="448" y="26"/>
                  </a:cubicBezTo>
                  <a:lnTo>
                    <a:pt x="44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42"/>
            <p:cNvSpPr>
              <a:spLocks noEditPoints="1"/>
            </p:cNvSpPr>
            <p:nvPr/>
          </p:nvSpPr>
          <p:spPr bwMode="auto">
            <a:xfrm>
              <a:off x="3928" y="2358"/>
              <a:ext cx="1175" cy="126"/>
            </a:xfrm>
            <a:custGeom>
              <a:avLst/>
              <a:gdLst>
                <a:gd name="T0" fmla="*/ 19 w 496"/>
                <a:gd name="T1" fmla="*/ 24 h 53"/>
                <a:gd name="T2" fmla="*/ 9 w 496"/>
                <a:gd name="T3" fmla="*/ 53 h 53"/>
                <a:gd name="T4" fmla="*/ 30 w 496"/>
                <a:gd name="T5" fmla="*/ 52 h 53"/>
                <a:gd name="T6" fmla="*/ 1 w 496"/>
                <a:gd name="T7" fmla="*/ 25 h 53"/>
                <a:gd name="T8" fmla="*/ 13 w 496"/>
                <a:gd name="T9" fmla="*/ 47 h 53"/>
                <a:gd name="T10" fmla="*/ 19 w 496"/>
                <a:gd name="T11" fmla="*/ 41 h 53"/>
                <a:gd name="T12" fmla="*/ 51 w 496"/>
                <a:gd name="T13" fmla="*/ 20 h 53"/>
                <a:gd name="T14" fmla="*/ 65 w 496"/>
                <a:gd name="T15" fmla="*/ 24 h 53"/>
                <a:gd name="T16" fmla="*/ 45 w 496"/>
                <a:gd name="T17" fmla="*/ 14 h 53"/>
                <a:gd name="T18" fmla="*/ 85 w 496"/>
                <a:gd name="T19" fmla="*/ 20 h 53"/>
                <a:gd name="T20" fmla="*/ 91 w 496"/>
                <a:gd name="T21" fmla="*/ 52 h 53"/>
                <a:gd name="T22" fmla="*/ 90 w 496"/>
                <a:gd name="T23" fmla="*/ 17 h 53"/>
                <a:gd name="T24" fmla="*/ 82 w 496"/>
                <a:gd name="T25" fmla="*/ 53 h 53"/>
                <a:gd name="T26" fmla="*/ 125 w 496"/>
                <a:gd name="T27" fmla="*/ 1 h 53"/>
                <a:gd name="T28" fmla="*/ 158 w 496"/>
                <a:gd name="T29" fmla="*/ 1 h 53"/>
                <a:gd name="T30" fmla="*/ 136 w 496"/>
                <a:gd name="T31" fmla="*/ 37 h 53"/>
                <a:gd name="T32" fmla="*/ 174 w 496"/>
                <a:gd name="T33" fmla="*/ 52 h 53"/>
                <a:gd name="T34" fmla="*/ 184 w 496"/>
                <a:gd name="T35" fmla="*/ 13 h 53"/>
                <a:gd name="T36" fmla="*/ 173 w 496"/>
                <a:gd name="T37" fmla="*/ 14 h 53"/>
                <a:gd name="T38" fmla="*/ 203 w 496"/>
                <a:gd name="T39" fmla="*/ 20 h 53"/>
                <a:gd name="T40" fmla="*/ 188 w 496"/>
                <a:gd name="T41" fmla="*/ 52 h 53"/>
                <a:gd name="T42" fmla="*/ 206 w 496"/>
                <a:gd name="T43" fmla="*/ 53 h 53"/>
                <a:gd name="T44" fmla="*/ 198 w 496"/>
                <a:gd name="T45" fmla="*/ 17 h 53"/>
                <a:gd name="T46" fmla="*/ 232 w 496"/>
                <a:gd name="T47" fmla="*/ 26 h 53"/>
                <a:gd name="T48" fmla="*/ 237 w 496"/>
                <a:gd name="T49" fmla="*/ 29 h 53"/>
                <a:gd name="T50" fmla="*/ 241 w 496"/>
                <a:gd name="T51" fmla="*/ 48 h 53"/>
                <a:gd name="T52" fmla="*/ 251 w 496"/>
                <a:gd name="T53" fmla="*/ 45 h 53"/>
                <a:gd name="T54" fmla="*/ 223 w 496"/>
                <a:gd name="T55" fmla="*/ 26 h 53"/>
                <a:gd name="T56" fmla="*/ 232 w 496"/>
                <a:gd name="T57" fmla="*/ 41 h 53"/>
                <a:gd name="T58" fmla="*/ 258 w 496"/>
                <a:gd name="T59" fmla="*/ 52 h 53"/>
                <a:gd name="T60" fmla="*/ 277 w 496"/>
                <a:gd name="T61" fmla="*/ 26 h 53"/>
                <a:gd name="T62" fmla="*/ 277 w 496"/>
                <a:gd name="T63" fmla="*/ 13 h 53"/>
                <a:gd name="T64" fmla="*/ 258 w 496"/>
                <a:gd name="T65" fmla="*/ 14 h 53"/>
                <a:gd name="T66" fmla="*/ 322 w 496"/>
                <a:gd name="T67" fmla="*/ 42 h 53"/>
                <a:gd name="T68" fmla="*/ 335 w 496"/>
                <a:gd name="T69" fmla="*/ 1 h 53"/>
                <a:gd name="T70" fmla="*/ 329 w 496"/>
                <a:gd name="T71" fmla="*/ 10 h 53"/>
                <a:gd name="T72" fmla="*/ 354 w 496"/>
                <a:gd name="T73" fmla="*/ 52 h 53"/>
                <a:gd name="T74" fmla="*/ 370 w 496"/>
                <a:gd name="T75" fmla="*/ 14 h 53"/>
                <a:gd name="T76" fmla="*/ 370 w 496"/>
                <a:gd name="T77" fmla="*/ 8 h 53"/>
                <a:gd name="T78" fmla="*/ 354 w 496"/>
                <a:gd name="T79" fmla="*/ 14 h 53"/>
                <a:gd name="T80" fmla="*/ 354 w 496"/>
                <a:gd name="T81" fmla="*/ 52 h 53"/>
                <a:gd name="T82" fmla="*/ 391 w 496"/>
                <a:gd name="T83" fmla="*/ 21 h 53"/>
                <a:gd name="T84" fmla="*/ 389 w 496"/>
                <a:gd name="T85" fmla="*/ 8 h 53"/>
                <a:gd name="T86" fmla="*/ 375 w 496"/>
                <a:gd name="T87" fmla="*/ 10 h 53"/>
                <a:gd name="T88" fmla="*/ 375 w 496"/>
                <a:gd name="T89" fmla="*/ 21 h 53"/>
                <a:gd name="T90" fmla="*/ 408 w 496"/>
                <a:gd name="T91" fmla="*/ 20 h 53"/>
                <a:gd name="T92" fmla="*/ 393 w 496"/>
                <a:gd name="T93" fmla="*/ 42 h 53"/>
                <a:gd name="T94" fmla="*/ 413 w 496"/>
                <a:gd name="T95" fmla="*/ 52 h 53"/>
                <a:gd name="T96" fmla="*/ 408 w 496"/>
                <a:gd name="T97" fmla="*/ 13 h 53"/>
                <a:gd name="T98" fmla="*/ 412 w 496"/>
                <a:gd name="T99" fmla="*/ 41 h 53"/>
                <a:gd name="T100" fmla="*/ 412 w 496"/>
                <a:gd name="T101" fmla="*/ 33 h 53"/>
                <a:gd name="T102" fmla="*/ 439 w 496"/>
                <a:gd name="T103" fmla="*/ 14 h 53"/>
                <a:gd name="T104" fmla="*/ 439 w 496"/>
                <a:gd name="T105" fmla="*/ 9 h 53"/>
                <a:gd name="T106" fmla="*/ 446 w 496"/>
                <a:gd name="T107" fmla="*/ 52 h 53"/>
                <a:gd name="T108" fmla="*/ 466 w 496"/>
                <a:gd name="T109" fmla="*/ 22 h 53"/>
                <a:gd name="T110" fmla="*/ 455 w 496"/>
                <a:gd name="T111" fmla="*/ 19 h 53"/>
                <a:gd name="T112" fmla="*/ 468 w 496"/>
                <a:gd name="T113" fmla="*/ 40 h 53"/>
                <a:gd name="T114" fmla="*/ 488 w 496"/>
                <a:gd name="T115" fmla="*/ 30 h 53"/>
                <a:gd name="T116" fmla="*/ 486 w 496"/>
                <a:gd name="T117" fmla="*/ 25 h 53"/>
                <a:gd name="T118" fmla="*/ 468 w 496"/>
                <a:gd name="T119" fmla="*/ 24 h 53"/>
                <a:gd name="T120" fmla="*/ 482 w 496"/>
                <a:gd name="T121" fmla="*/ 4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6" h="53">
                  <a:moveTo>
                    <a:pt x="10" y="26"/>
                  </a:moveTo>
                  <a:cubicBezTo>
                    <a:pt x="10" y="25"/>
                    <a:pt x="10" y="25"/>
                    <a:pt x="10" y="25"/>
                  </a:cubicBezTo>
                  <a:cubicBezTo>
                    <a:pt x="10" y="22"/>
                    <a:pt x="11" y="20"/>
                    <a:pt x="14" y="20"/>
                  </a:cubicBezTo>
                  <a:cubicBezTo>
                    <a:pt x="18" y="20"/>
                    <a:pt x="19" y="21"/>
                    <a:pt x="19" y="24"/>
                  </a:cubicBezTo>
                  <a:cubicBezTo>
                    <a:pt x="19" y="27"/>
                    <a:pt x="18" y="28"/>
                    <a:pt x="15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3" y="32"/>
                    <a:pt x="0" y="35"/>
                    <a:pt x="0" y="42"/>
                  </a:cubicBezTo>
                  <a:cubicBezTo>
                    <a:pt x="0" y="47"/>
                    <a:pt x="2" y="53"/>
                    <a:pt x="9" y="53"/>
                  </a:cubicBezTo>
                  <a:cubicBezTo>
                    <a:pt x="14" y="53"/>
                    <a:pt x="17" y="52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50"/>
                    <a:pt x="20" y="51"/>
                    <a:pt x="2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29" y="50"/>
                    <a:pt x="28" y="48"/>
                    <a:pt x="28" y="4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18"/>
                    <a:pt x="26" y="13"/>
                    <a:pt x="15" y="13"/>
                  </a:cubicBezTo>
                  <a:cubicBezTo>
                    <a:pt x="7" y="13"/>
                    <a:pt x="1" y="16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lnTo>
                    <a:pt x="10" y="26"/>
                  </a:lnTo>
                  <a:close/>
                  <a:moveTo>
                    <a:pt x="19" y="41"/>
                  </a:moveTo>
                  <a:cubicBezTo>
                    <a:pt x="19" y="45"/>
                    <a:pt x="16" y="47"/>
                    <a:pt x="13" y="47"/>
                  </a:cubicBezTo>
                  <a:cubicBezTo>
                    <a:pt x="10" y="47"/>
                    <a:pt x="9" y="44"/>
                    <a:pt x="9" y="41"/>
                  </a:cubicBezTo>
                  <a:cubicBezTo>
                    <a:pt x="9" y="38"/>
                    <a:pt x="11" y="36"/>
                    <a:pt x="15" y="35"/>
                  </a:cubicBezTo>
                  <a:cubicBezTo>
                    <a:pt x="16" y="35"/>
                    <a:pt x="18" y="34"/>
                    <a:pt x="19" y="33"/>
                  </a:cubicBezTo>
                  <a:lnTo>
                    <a:pt x="19" y="41"/>
                  </a:lnTo>
                  <a:close/>
                  <a:moveTo>
                    <a:pt x="35" y="52"/>
                  </a:moveTo>
                  <a:cubicBezTo>
                    <a:pt x="45" y="52"/>
                    <a:pt x="45" y="52"/>
                    <a:pt x="45" y="52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3"/>
                    <a:pt x="47" y="20"/>
                    <a:pt x="51" y="20"/>
                  </a:cubicBezTo>
                  <a:cubicBezTo>
                    <a:pt x="53" y="20"/>
                    <a:pt x="55" y="22"/>
                    <a:pt x="55" y="26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65" y="52"/>
                    <a:pt x="65" y="52"/>
                    <a:pt x="65" y="52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16"/>
                    <a:pt x="61" y="13"/>
                    <a:pt x="55" y="13"/>
                  </a:cubicBezTo>
                  <a:cubicBezTo>
                    <a:pt x="51" y="13"/>
                    <a:pt x="47" y="15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35" y="14"/>
                    <a:pt x="35" y="14"/>
                    <a:pt x="35" y="14"/>
                  </a:cubicBezTo>
                  <a:lnTo>
                    <a:pt x="35" y="52"/>
                  </a:lnTo>
                  <a:close/>
                  <a:moveTo>
                    <a:pt x="80" y="33"/>
                  </a:moveTo>
                  <a:cubicBezTo>
                    <a:pt x="80" y="25"/>
                    <a:pt x="81" y="20"/>
                    <a:pt x="85" y="20"/>
                  </a:cubicBezTo>
                  <a:cubicBezTo>
                    <a:pt x="90" y="20"/>
                    <a:pt x="90" y="25"/>
                    <a:pt x="90" y="33"/>
                  </a:cubicBezTo>
                  <a:cubicBezTo>
                    <a:pt x="90" y="41"/>
                    <a:pt x="90" y="46"/>
                    <a:pt x="85" y="46"/>
                  </a:cubicBezTo>
                  <a:cubicBezTo>
                    <a:pt x="81" y="46"/>
                    <a:pt x="80" y="41"/>
                    <a:pt x="80" y="33"/>
                  </a:cubicBezTo>
                  <a:moveTo>
                    <a:pt x="91" y="52"/>
                  </a:moveTo>
                  <a:cubicBezTo>
                    <a:pt x="100" y="52"/>
                    <a:pt x="100" y="52"/>
                    <a:pt x="100" y="52"/>
                  </a:cubicBezTo>
                  <a:cubicBezTo>
                    <a:pt x="100" y="1"/>
                    <a:pt x="100" y="1"/>
                    <a:pt x="100" y="1"/>
                  </a:cubicBezTo>
                  <a:cubicBezTo>
                    <a:pt x="90" y="1"/>
                    <a:pt x="90" y="1"/>
                    <a:pt x="90" y="1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90" y="17"/>
                    <a:pt x="90" y="17"/>
                    <a:pt x="90" y="17"/>
                  </a:cubicBezTo>
                  <a:cubicBezTo>
                    <a:pt x="88" y="14"/>
                    <a:pt x="86" y="13"/>
                    <a:pt x="82" y="13"/>
                  </a:cubicBezTo>
                  <a:cubicBezTo>
                    <a:pt x="74" y="13"/>
                    <a:pt x="70" y="19"/>
                    <a:pt x="70" y="33"/>
                  </a:cubicBezTo>
                  <a:cubicBezTo>
                    <a:pt x="70" y="47"/>
                    <a:pt x="74" y="53"/>
                    <a:pt x="82" y="53"/>
                  </a:cubicBezTo>
                  <a:cubicBezTo>
                    <a:pt x="86" y="53"/>
                    <a:pt x="89" y="52"/>
                    <a:pt x="91" y="48"/>
                  </a:cubicBezTo>
                  <a:cubicBezTo>
                    <a:pt x="91" y="48"/>
                    <a:pt x="91" y="48"/>
                    <a:pt x="91" y="48"/>
                  </a:cubicBezTo>
                  <a:lnTo>
                    <a:pt x="91" y="52"/>
                  </a:lnTo>
                  <a:close/>
                  <a:moveTo>
                    <a:pt x="125" y="1"/>
                  </a:moveTo>
                  <a:cubicBezTo>
                    <a:pt x="125" y="37"/>
                    <a:pt x="125" y="37"/>
                    <a:pt x="125" y="37"/>
                  </a:cubicBezTo>
                  <a:cubicBezTo>
                    <a:pt x="125" y="51"/>
                    <a:pt x="133" y="53"/>
                    <a:pt x="142" y="53"/>
                  </a:cubicBezTo>
                  <a:cubicBezTo>
                    <a:pt x="150" y="53"/>
                    <a:pt x="158" y="50"/>
                    <a:pt x="158" y="37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48" y="1"/>
                    <a:pt x="148" y="1"/>
                    <a:pt x="148" y="1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48" y="42"/>
                    <a:pt x="146" y="46"/>
                    <a:pt x="142" y="46"/>
                  </a:cubicBezTo>
                  <a:cubicBezTo>
                    <a:pt x="137" y="46"/>
                    <a:pt x="136" y="42"/>
                    <a:pt x="136" y="37"/>
                  </a:cubicBezTo>
                  <a:cubicBezTo>
                    <a:pt x="136" y="1"/>
                    <a:pt x="136" y="1"/>
                    <a:pt x="136" y="1"/>
                  </a:cubicBezTo>
                  <a:lnTo>
                    <a:pt x="125" y="1"/>
                  </a:lnTo>
                  <a:close/>
                  <a:moveTo>
                    <a:pt x="164" y="52"/>
                  </a:moveTo>
                  <a:cubicBezTo>
                    <a:pt x="174" y="52"/>
                    <a:pt x="174" y="52"/>
                    <a:pt x="174" y="52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74" y="24"/>
                    <a:pt x="178" y="22"/>
                    <a:pt x="181" y="22"/>
                  </a:cubicBezTo>
                  <a:cubicBezTo>
                    <a:pt x="182" y="22"/>
                    <a:pt x="183" y="22"/>
                    <a:pt x="184" y="22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84" y="13"/>
                    <a:pt x="183" y="13"/>
                    <a:pt x="182" y="13"/>
                  </a:cubicBezTo>
                  <a:cubicBezTo>
                    <a:pt x="178" y="13"/>
                    <a:pt x="176" y="15"/>
                    <a:pt x="174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3" y="14"/>
                    <a:pt x="173" y="14"/>
                    <a:pt x="173" y="14"/>
                  </a:cubicBezTo>
                  <a:cubicBezTo>
                    <a:pt x="164" y="14"/>
                    <a:pt x="164" y="14"/>
                    <a:pt x="164" y="14"/>
                  </a:cubicBezTo>
                  <a:lnTo>
                    <a:pt x="164" y="52"/>
                  </a:lnTo>
                  <a:close/>
                  <a:moveTo>
                    <a:pt x="198" y="33"/>
                  </a:moveTo>
                  <a:cubicBezTo>
                    <a:pt x="198" y="25"/>
                    <a:pt x="199" y="20"/>
                    <a:pt x="203" y="20"/>
                  </a:cubicBezTo>
                  <a:cubicBezTo>
                    <a:pt x="207" y="20"/>
                    <a:pt x="208" y="25"/>
                    <a:pt x="208" y="33"/>
                  </a:cubicBezTo>
                  <a:cubicBezTo>
                    <a:pt x="208" y="41"/>
                    <a:pt x="207" y="46"/>
                    <a:pt x="203" y="46"/>
                  </a:cubicBezTo>
                  <a:cubicBezTo>
                    <a:pt x="199" y="46"/>
                    <a:pt x="198" y="41"/>
                    <a:pt x="198" y="33"/>
                  </a:cubicBezTo>
                  <a:moveTo>
                    <a:pt x="188" y="52"/>
                  </a:moveTo>
                  <a:cubicBezTo>
                    <a:pt x="197" y="52"/>
                    <a:pt x="197" y="52"/>
                    <a:pt x="197" y="52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197" y="48"/>
                    <a:pt x="197" y="48"/>
                    <a:pt x="197" y="48"/>
                  </a:cubicBezTo>
                  <a:cubicBezTo>
                    <a:pt x="200" y="52"/>
                    <a:pt x="202" y="53"/>
                    <a:pt x="206" y="53"/>
                  </a:cubicBezTo>
                  <a:cubicBezTo>
                    <a:pt x="214" y="53"/>
                    <a:pt x="218" y="47"/>
                    <a:pt x="218" y="33"/>
                  </a:cubicBezTo>
                  <a:cubicBezTo>
                    <a:pt x="218" y="19"/>
                    <a:pt x="214" y="13"/>
                    <a:pt x="206" y="13"/>
                  </a:cubicBezTo>
                  <a:cubicBezTo>
                    <a:pt x="202" y="13"/>
                    <a:pt x="200" y="14"/>
                    <a:pt x="198" y="17"/>
                  </a:cubicBezTo>
                  <a:cubicBezTo>
                    <a:pt x="198" y="17"/>
                    <a:pt x="198" y="17"/>
                    <a:pt x="198" y="17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88" y="1"/>
                    <a:pt x="188" y="1"/>
                    <a:pt x="188" y="1"/>
                  </a:cubicBezTo>
                  <a:lnTo>
                    <a:pt x="188" y="52"/>
                  </a:lnTo>
                  <a:close/>
                  <a:moveTo>
                    <a:pt x="232" y="26"/>
                  </a:moveTo>
                  <a:cubicBezTo>
                    <a:pt x="232" y="25"/>
                    <a:pt x="232" y="25"/>
                    <a:pt x="232" y="25"/>
                  </a:cubicBezTo>
                  <a:cubicBezTo>
                    <a:pt x="232" y="22"/>
                    <a:pt x="234" y="20"/>
                    <a:pt x="237" y="20"/>
                  </a:cubicBezTo>
                  <a:cubicBezTo>
                    <a:pt x="240" y="20"/>
                    <a:pt x="241" y="21"/>
                    <a:pt x="241" y="24"/>
                  </a:cubicBezTo>
                  <a:cubicBezTo>
                    <a:pt x="241" y="27"/>
                    <a:pt x="240" y="28"/>
                    <a:pt x="237" y="29"/>
                  </a:cubicBezTo>
                  <a:cubicBezTo>
                    <a:pt x="232" y="30"/>
                    <a:pt x="232" y="30"/>
                    <a:pt x="232" y="30"/>
                  </a:cubicBezTo>
                  <a:cubicBezTo>
                    <a:pt x="225" y="32"/>
                    <a:pt x="222" y="35"/>
                    <a:pt x="222" y="42"/>
                  </a:cubicBezTo>
                  <a:cubicBezTo>
                    <a:pt x="222" y="47"/>
                    <a:pt x="225" y="53"/>
                    <a:pt x="231" y="53"/>
                  </a:cubicBezTo>
                  <a:cubicBezTo>
                    <a:pt x="236" y="53"/>
                    <a:pt x="239" y="52"/>
                    <a:pt x="241" y="48"/>
                  </a:cubicBezTo>
                  <a:cubicBezTo>
                    <a:pt x="241" y="48"/>
                    <a:pt x="241" y="48"/>
                    <a:pt x="241" y="48"/>
                  </a:cubicBezTo>
                  <a:cubicBezTo>
                    <a:pt x="242" y="50"/>
                    <a:pt x="242" y="51"/>
                    <a:pt x="243" y="52"/>
                  </a:cubicBezTo>
                  <a:cubicBezTo>
                    <a:pt x="252" y="52"/>
                    <a:pt x="252" y="52"/>
                    <a:pt x="252" y="52"/>
                  </a:cubicBezTo>
                  <a:cubicBezTo>
                    <a:pt x="251" y="50"/>
                    <a:pt x="251" y="48"/>
                    <a:pt x="251" y="45"/>
                  </a:cubicBezTo>
                  <a:cubicBezTo>
                    <a:pt x="251" y="25"/>
                    <a:pt x="251" y="25"/>
                    <a:pt x="251" y="25"/>
                  </a:cubicBezTo>
                  <a:cubicBezTo>
                    <a:pt x="251" y="18"/>
                    <a:pt x="249" y="13"/>
                    <a:pt x="237" y="13"/>
                  </a:cubicBezTo>
                  <a:cubicBezTo>
                    <a:pt x="229" y="13"/>
                    <a:pt x="223" y="16"/>
                    <a:pt x="223" y="25"/>
                  </a:cubicBezTo>
                  <a:cubicBezTo>
                    <a:pt x="223" y="26"/>
                    <a:pt x="223" y="26"/>
                    <a:pt x="223" y="26"/>
                  </a:cubicBezTo>
                  <a:lnTo>
                    <a:pt x="232" y="26"/>
                  </a:lnTo>
                  <a:close/>
                  <a:moveTo>
                    <a:pt x="241" y="41"/>
                  </a:moveTo>
                  <a:cubicBezTo>
                    <a:pt x="241" y="45"/>
                    <a:pt x="238" y="47"/>
                    <a:pt x="235" y="47"/>
                  </a:cubicBezTo>
                  <a:cubicBezTo>
                    <a:pt x="233" y="47"/>
                    <a:pt x="232" y="44"/>
                    <a:pt x="232" y="41"/>
                  </a:cubicBezTo>
                  <a:cubicBezTo>
                    <a:pt x="232" y="38"/>
                    <a:pt x="233" y="36"/>
                    <a:pt x="237" y="35"/>
                  </a:cubicBezTo>
                  <a:cubicBezTo>
                    <a:pt x="238" y="35"/>
                    <a:pt x="240" y="34"/>
                    <a:pt x="241" y="33"/>
                  </a:cubicBezTo>
                  <a:lnTo>
                    <a:pt x="241" y="41"/>
                  </a:lnTo>
                  <a:close/>
                  <a:moveTo>
                    <a:pt x="258" y="52"/>
                  </a:moveTo>
                  <a:cubicBezTo>
                    <a:pt x="268" y="52"/>
                    <a:pt x="268" y="52"/>
                    <a:pt x="268" y="52"/>
                  </a:cubicBezTo>
                  <a:cubicBezTo>
                    <a:pt x="268" y="27"/>
                    <a:pt x="268" y="27"/>
                    <a:pt x="268" y="27"/>
                  </a:cubicBezTo>
                  <a:cubicBezTo>
                    <a:pt x="268" y="23"/>
                    <a:pt x="270" y="20"/>
                    <a:pt x="273" y="20"/>
                  </a:cubicBezTo>
                  <a:cubicBezTo>
                    <a:pt x="276" y="20"/>
                    <a:pt x="277" y="22"/>
                    <a:pt x="277" y="26"/>
                  </a:cubicBezTo>
                  <a:cubicBezTo>
                    <a:pt x="277" y="52"/>
                    <a:pt x="277" y="52"/>
                    <a:pt x="277" y="52"/>
                  </a:cubicBezTo>
                  <a:cubicBezTo>
                    <a:pt x="287" y="52"/>
                    <a:pt x="287" y="52"/>
                    <a:pt x="287" y="52"/>
                  </a:cubicBezTo>
                  <a:cubicBezTo>
                    <a:pt x="287" y="24"/>
                    <a:pt x="287" y="24"/>
                    <a:pt x="287" y="24"/>
                  </a:cubicBezTo>
                  <a:cubicBezTo>
                    <a:pt x="287" y="16"/>
                    <a:pt x="283" y="13"/>
                    <a:pt x="277" y="13"/>
                  </a:cubicBezTo>
                  <a:cubicBezTo>
                    <a:pt x="273" y="13"/>
                    <a:pt x="269" y="15"/>
                    <a:pt x="267" y="18"/>
                  </a:cubicBezTo>
                  <a:cubicBezTo>
                    <a:pt x="267" y="18"/>
                    <a:pt x="267" y="18"/>
                    <a:pt x="267" y="18"/>
                  </a:cubicBezTo>
                  <a:cubicBezTo>
                    <a:pt x="267" y="14"/>
                    <a:pt x="267" y="14"/>
                    <a:pt x="267" y="14"/>
                  </a:cubicBezTo>
                  <a:cubicBezTo>
                    <a:pt x="258" y="14"/>
                    <a:pt x="258" y="14"/>
                    <a:pt x="258" y="14"/>
                  </a:cubicBezTo>
                  <a:lnTo>
                    <a:pt x="258" y="52"/>
                  </a:lnTo>
                  <a:close/>
                  <a:moveTo>
                    <a:pt x="309" y="52"/>
                  </a:moveTo>
                  <a:cubicBezTo>
                    <a:pt x="320" y="52"/>
                    <a:pt x="320" y="52"/>
                    <a:pt x="320" y="52"/>
                  </a:cubicBezTo>
                  <a:cubicBezTo>
                    <a:pt x="322" y="42"/>
                    <a:pt x="322" y="42"/>
                    <a:pt x="322" y="42"/>
                  </a:cubicBezTo>
                  <a:cubicBezTo>
                    <a:pt x="336" y="42"/>
                    <a:pt x="336" y="42"/>
                    <a:pt x="336" y="42"/>
                  </a:cubicBezTo>
                  <a:cubicBezTo>
                    <a:pt x="338" y="52"/>
                    <a:pt x="338" y="52"/>
                    <a:pt x="338" y="52"/>
                  </a:cubicBezTo>
                  <a:cubicBezTo>
                    <a:pt x="349" y="52"/>
                    <a:pt x="349" y="52"/>
                    <a:pt x="349" y="52"/>
                  </a:cubicBezTo>
                  <a:cubicBezTo>
                    <a:pt x="335" y="1"/>
                    <a:pt x="335" y="1"/>
                    <a:pt x="335" y="1"/>
                  </a:cubicBezTo>
                  <a:cubicBezTo>
                    <a:pt x="323" y="1"/>
                    <a:pt x="323" y="1"/>
                    <a:pt x="323" y="1"/>
                  </a:cubicBezTo>
                  <a:lnTo>
                    <a:pt x="309" y="52"/>
                  </a:lnTo>
                  <a:close/>
                  <a:moveTo>
                    <a:pt x="329" y="10"/>
                  </a:moveTo>
                  <a:cubicBezTo>
                    <a:pt x="329" y="10"/>
                    <a:pt x="329" y="10"/>
                    <a:pt x="329" y="10"/>
                  </a:cubicBezTo>
                  <a:cubicBezTo>
                    <a:pt x="334" y="33"/>
                    <a:pt x="334" y="33"/>
                    <a:pt x="334" y="33"/>
                  </a:cubicBezTo>
                  <a:cubicBezTo>
                    <a:pt x="324" y="33"/>
                    <a:pt x="324" y="33"/>
                    <a:pt x="324" y="33"/>
                  </a:cubicBezTo>
                  <a:lnTo>
                    <a:pt x="329" y="10"/>
                  </a:lnTo>
                  <a:close/>
                  <a:moveTo>
                    <a:pt x="354" y="52"/>
                  </a:moveTo>
                  <a:cubicBezTo>
                    <a:pt x="364" y="52"/>
                    <a:pt x="364" y="52"/>
                    <a:pt x="364" y="52"/>
                  </a:cubicBezTo>
                  <a:cubicBezTo>
                    <a:pt x="364" y="21"/>
                    <a:pt x="364" y="21"/>
                    <a:pt x="364" y="21"/>
                  </a:cubicBezTo>
                  <a:cubicBezTo>
                    <a:pt x="370" y="21"/>
                    <a:pt x="370" y="21"/>
                    <a:pt x="370" y="21"/>
                  </a:cubicBezTo>
                  <a:cubicBezTo>
                    <a:pt x="370" y="14"/>
                    <a:pt x="370" y="14"/>
                    <a:pt x="370" y="14"/>
                  </a:cubicBezTo>
                  <a:cubicBezTo>
                    <a:pt x="364" y="14"/>
                    <a:pt x="364" y="14"/>
                    <a:pt x="364" y="14"/>
                  </a:cubicBezTo>
                  <a:cubicBezTo>
                    <a:pt x="364" y="11"/>
                    <a:pt x="364" y="11"/>
                    <a:pt x="364" y="11"/>
                  </a:cubicBezTo>
                  <a:cubicBezTo>
                    <a:pt x="364" y="8"/>
                    <a:pt x="365" y="8"/>
                    <a:pt x="368" y="8"/>
                  </a:cubicBezTo>
                  <a:cubicBezTo>
                    <a:pt x="368" y="8"/>
                    <a:pt x="369" y="8"/>
                    <a:pt x="370" y="8"/>
                  </a:cubicBezTo>
                  <a:cubicBezTo>
                    <a:pt x="370" y="1"/>
                    <a:pt x="370" y="1"/>
                    <a:pt x="370" y="1"/>
                  </a:cubicBezTo>
                  <a:cubicBezTo>
                    <a:pt x="368" y="0"/>
                    <a:pt x="366" y="0"/>
                    <a:pt x="364" y="0"/>
                  </a:cubicBezTo>
                  <a:cubicBezTo>
                    <a:pt x="358" y="0"/>
                    <a:pt x="354" y="3"/>
                    <a:pt x="354" y="10"/>
                  </a:cubicBezTo>
                  <a:cubicBezTo>
                    <a:pt x="354" y="14"/>
                    <a:pt x="354" y="14"/>
                    <a:pt x="354" y="14"/>
                  </a:cubicBezTo>
                  <a:cubicBezTo>
                    <a:pt x="349" y="14"/>
                    <a:pt x="349" y="14"/>
                    <a:pt x="349" y="14"/>
                  </a:cubicBezTo>
                  <a:cubicBezTo>
                    <a:pt x="349" y="21"/>
                    <a:pt x="349" y="21"/>
                    <a:pt x="349" y="21"/>
                  </a:cubicBezTo>
                  <a:cubicBezTo>
                    <a:pt x="354" y="21"/>
                    <a:pt x="354" y="21"/>
                    <a:pt x="354" y="21"/>
                  </a:cubicBezTo>
                  <a:lnTo>
                    <a:pt x="354" y="52"/>
                  </a:lnTo>
                  <a:close/>
                  <a:moveTo>
                    <a:pt x="375" y="52"/>
                  </a:moveTo>
                  <a:cubicBezTo>
                    <a:pt x="385" y="52"/>
                    <a:pt x="385" y="52"/>
                    <a:pt x="385" y="52"/>
                  </a:cubicBezTo>
                  <a:cubicBezTo>
                    <a:pt x="385" y="21"/>
                    <a:pt x="385" y="21"/>
                    <a:pt x="385" y="21"/>
                  </a:cubicBezTo>
                  <a:cubicBezTo>
                    <a:pt x="391" y="21"/>
                    <a:pt x="391" y="21"/>
                    <a:pt x="391" y="21"/>
                  </a:cubicBezTo>
                  <a:cubicBezTo>
                    <a:pt x="391" y="14"/>
                    <a:pt x="391" y="14"/>
                    <a:pt x="391" y="14"/>
                  </a:cubicBezTo>
                  <a:cubicBezTo>
                    <a:pt x="385" y="14"/>
                    <a:pt x="385" y="14"/>
                    <a:pt x="385" y="14"/>
                  </a:cubicBezTo>
                  <a:cubicBezTo>
                    <a:pt x="385" y="11"/>
                    <a:pt x="385" y="11"/>
                    <a:pt x="385" y="11"/>
                  </a:cubicBezTo>
                  <a:cubicBezTo>
                    <a:pt x="385" y="8"/>
                    <a:pt x="386" y="8"/>
                    <a:pt x="389" y="8"/>
                  </a:cubicBezTo>
                  <a:cubicBezTo>
                    <a:pt x="390" y="8"/>
                    <a:pt x="390" y="8"/>
                    <a:pt x="391" y="8"/>
                  </a:cubicBezTo>
                  <a:cubicBezTo>
                    <a:pt x="391" y="1"/>
                    <a:pt x="391" y="1"/>
                    <a:pt x="391" y="1"/>
                  </a:cubicBezTo>
                  <a:cubicBezTo>
                    <a:pt x="389" y="0"/>
                    <a:pt x="387" y="0"/>
                    <a:pt x="386" y="0"/>
                  </a:cubicBezTo>
                  <a:cubicBezTo>
                    <a:pt x="379" y="0"/>
                    <a:pt x="375" y="3"/>
                    <a:pt x="375" y="10"/>
                  </a:cubicBezTo>
                  <a:cubicBezTo>
                    <a:pt x="375" y="14"/>
                    <a:pt x="375" y="14"/>
                    <a:pt x="375" y="14"/>
                  </a:cubicBezTo>
                  <a:cubicBezTo>
                    <a:pt x="370" y="14"/>
                    <a:pt x="370" y="14"/>
                    <a:pt x="370" y="14"/>
                  </a:cubicBezTo>
                  <a:cubicBezTo>
                    <a:pt x="370" y="21"/>
                    <a:pt x="370" y="21"/>
                    <a:pt x="370" y="21"/>
                  </a:cubicBezTo>
                  <a:cubicBezTo>
                    <a:pt x="375" y="21"/>
                    <a:pt x="375" y="21"/>
                    <a:pt x="375" y="21"/>
                  </a:cubicBezTo>
                  <a:lnTo>
                    <a:pt x="375" y="52"/>
                  </a:lnTo>
                  <a:close/>
                  <a:moveTo>
                    <a:pt x="403" y="26"/>
                  </a:moveTo>
                  <a:cubicBezTo>
                    <a:pt x="403" y="25"/>
                    <a:pt x="403" y="25"/>
                    <a:pt x="403" y="25"/>
                  </a:cubicBezTo>
                  <a:cubicBezTo>
                    <a:pt x="403" y="22"/>
                    <a:pt x="405" y="20"/>
                    <a:pt x="408" y="20"/>
                  </a:cubicBezTo>
                  <a:cubicBezTo>
                    <a:pt x="411" y="20"/>
                    <a:pt x="412" y="21"/>
                    <a:pt x="412" y="24"/>
                  </a:cubicBezTo>
                  <a:cubicBezTo>
                    <a:pt x="412" y="27"/>
                    <a:pt x="411" y="28"/>
                    <a:pt x="408" y="29"/>
                  </a:cubicBezTo>
                  <a:cubicBezTo>
                    <a:pt x="403" y="30"/>
                    <a:pt x="403" y="30"/>
                    <a:pt x="403" y="30"/>
                  </a:cubicBezTo>
                  <a:cubicBezTo>
                    <a:pt x="396" y="32"/>
                    <a:pt x="393" y="35"/>
                    <a:pt x="393" y="42"/>
                  </a:cubicBezTo>
                  <a:cubicBezTo>
                    <a:pt x="393" y="47"/>
                    <a:pt x="395" y="53"/>
                    <a:pt x="402" y="53"/>
                  </a:cubicBezTo>
                  <a:cubicBezTo>
                    <a:pt x="407" y="53"/>
                    <a:pt x="410" y="52"/>
                    <a:pt x="412" y="48"/>
                  </a:cubicBezTo>
                  <a:cubicBezTo>
                    <a:pt x="412" y="48"/>
                    <a:pt x="412" y="48"/>
                    <a:pt x="412" y="48"/>
                  </a:cubicBezTo>
                  <a:cubicBezTo>
                    <a:pt x="412" y="50"/>
                    <a:pt x="413" y="51"/>
                    <a:pt x="413" y="52"/>
                  </a:cubicBezTo>
                  <a:cubicBezTo>
                    <a:pt x="423" y="52"/>
                    <a:pt x="423" y="52"/>
                    <a:pt x="423" y="52"/>
                  </a:cubicBezTo>
                  <a:cubicBezTo>
                    <a:pt x="422" y="50"/>
                    <a:pt x="422" y="48"/>
                    <a:pt x="422" y="45"/>
                  </a:cubicBezTo>
                  <a:cubicBezTo>
                    <a:pt x="422" y="25"/>
                    <a:pt x="422" y="25"/>
                    <a:pt x="422" y="25"/>
                  </a:cubicBezTo>
                  <a:cubicBezTo>
                    <a:pt x="422" y="18"/>
                    <a:pt x="419" y="13"/>
                    <a:pt x="408" y="13"/>
                  </a:cubicBezTo>
                  <a:cubicBezTo>
                    <a:pt x="400" y="13"/>
                    <a:pt x="394" y="16"/>
                    <a:pt x="394" y="25"/>
                  </a:cubicBezTo>
                  <a:cubicBezTo>
                    <a:pt x="394" y="26"/>
                    <a:pt x="394" y="26"/>
                    <a:pt x="394" y="26"/>
                  </a:cubicBezTo>
                  <a:lnTo>
                    <a:pt x="403" y="26"/>
                  </a:lnTo>
                  <a:close/>
                  <a:moveTo>
                    <a:pt x="412" y="41"/>
                  </a:moveTo>
                  <a:cubicBezTo>
                    <a:pt x="412" y="45"/>
                    <a:pt x="409" y="47"/>
                    <a:pt x="406" y="47"/>
                  </a:cubicBezTo>
                  <a:cubicBezTo>
                    <a:pt x="403" y="47"/>
                    <a:pt x="402" y="44"/>
                    <a:pt x="402" y="41"/>
                  </a:cubicBezTo>
                  <a:cubicBezTo>
                    <a:pt x="402" y="38"/>
                    <a:pt x="404" y="36"/>
                    <a:pt x="408" y="35"/>
                  </a:cubicBezTo>
                  <a:cubicBezTo>
                    <a:pt x="409" y="35"/>
                    <a:pt x="411" y="34"/>
                    <a:pt x="412" y="33"/>
                  </a:cubicBezTo>
                  <a:lnTo>
                    <a:pt x="412" y="41"/>
                  </a:lnTo>
                  <a:close/>
                  <a:moveTo>
                    <a:pt x="429" y="52"/>
                  </a:moveTo>
                  <a:cubicBezTo>
                    <a:pt x="439" y="52"/>
                    <a:pt x="439" y="52"/>
                    <a:pt x="439" y="52"/>
                  </a:cubicBezTo>
                  <a:cubicBezTo>
                    <a:pt x="439" y="14"/>
                    <a:pt x="439" y="14"/>
                    <a:pt x="439" y="14"/>
                  </a:cubicBezTo>
                  <a:cubicBezTo>
                    <a:pt x="429" y="14"/>
                    <a:pt x="429" y="14"/>
                    <a:pt x="429" y="14"/>
                  </a:cubicBezTo>
                  <a:lnTo>
                    <a:pt x="429" y="52"/>
                  </a:lnTo>
                  <a:close/>
                  <a:moveTo>
                    <a:pt x="429" y="9"/>
                  </a:moveTo>
                  <a:cubicBezTo>
                    <a:pt x="439" y="9"/>
                    <a:pt x="439" y="9"/>
                    <a:pt x="439" y="9"/>
                  </a:cubicBezTo>
                  <a:cubicBezTo>
                    <a:pt x="439" y="1"/>
                    <a:pt x="439" y="1"/>
                    <a:pt x="439" y="1"/>
                  </a:cubicBezTo>
                  <a:cubicBezTo>
                    <a:pt x="429" y="1"/>
                    <a:pt x="429" y="1"/>
                    <a:pt x="429" y="1"/>
                  </a:cubicBezTo>
                  <a:lnTo>
                    <a:pt x="429" y="9"/>
                  </a:lnTo>
                  <a:close/>
                  <a:moveTo>
                    <a:pt x="446" y="52"/>
                  </a:moveTo>
                  <a:cubicBezTo>
                    <a:pt x="456" y="52"/>
                    <a:pt x="456" y="52"/>
                    <a:pt x="456" y="52"/>
                  </a:cubicBezTo>
                  <a:cubicBezTo>
                    <a:pt x="456" y="29"/>
                    <a:pt x="456" y="29"/>
                    <a:pt x="456" y="29"/>
                  </a:cubicBezTo>
                  <a:cubicBezTo>
                    <a:pt x="456" y="24"/>
                    <a:pt x="459" y="22"/>
                    <a:pt x="463" y="22"/>
                  </a:cubicBezTo>
                  <a:cubicBezTo>
                    <a:pt x="464" y="22"/>
                    <a:pt x="465" y="22"/>
                    <a:pt x="466" y="22"/>
                  </a:cubicBezTo>
                  <a:cubicBezTo>
                    <a:pt x="466" y="13"/>
                    <a:pt x="466" y="13"/>
                    <a:pt x="466" y="13"/>
                  </a:cubicBezTo>
                  <a:cubicBezTo>
                    <a:pt x="465" y="13"/>
                    <a:pt x="465" y="13"/>
                    <a:pt x="464" y="13"/>
                  </a:cubicBezTo>
                  <a:cubicBezTo>
                    <a:pt x="460" y="13"/>
                    <a:pt x="457" y="15"/>
                    <a:pt x="455" y="19"/>
                  </a:cubicBezTo>
                  <a:cubicBezTo>
                    <a:pt x="455" y="19"/>
                    <a:pt x="455" y="19"/>
                    <a:pt x="455" y="19"/>
                  </a:cubicBezTo>
                  <a:cubicBezTo>
                    <a:pt x="455" y="14"/>
                    <a:pt x="455" y="14"/>
                    <a:pt x="455" y="14"/>
                  </a:cubicBezTo>
                  <a:cubicBezTo>
                    <a:pt x="446" y="14"/>
                    <a:pt x="446" y="14"/>
                    <a:pt x="446" y="14"/>
                  </a:cubicBezTo>
                  <a:lnTo>
                    <a:pt x="446" y="52"/>
                  </a:lnTo>
                  <a:close/>
                  <a:moveTo>
                    <a:pt x="468" y="40"/>
                  </a:moveTo>
                  <a:cubicBezTo>
                    <a:pt x="468" y="41"/>
                    <a:pt x="468" y="41"/>
                    <a:pt x="468" y="41"/>
                  </a:cubicBezTo>
                  <a:cubicBezTo>
                    <a:pt x="468" y="48"/>
                    <a:pt x="471" y="53"/>
                    <a:pt x="482" y="53"/>
                  </a:cubicBezTo>
                  <a:cubicBezTo>
                    <a:pt x="490" y="53"/>
                    <a:pt x="496" y="49"/>
                    <a:pt x="496" y="41"/>
                  </a:cubicBezTo>
                  <a:cubicBezTo>
                    <a:pt x="496" y="35"/>
                    <a:pt x="494" y="32"/>
                    <a:pt x="488" y="30"/>
                  </a:cubicBezTo>
                  <a:cubicBezTo>
                    <a:pt x="482" y="28"/>
                    <a:pt x="482" y="28"/>
                    <a:pt x="482" y="28"/>
                  </a:cubicBezTo>
                  <a:cubicBezTo>
                    <a:pt x="479" y="27"/>
                    <a:pt x="478" y="26"/>
                    <a:pt x="478" y="24"/>
                  </a:cubicBezTo>
                  <a:cubicBezTo>
                    <a:pt x="478" y="21"/>
                    <a:pt x="480" y="20"/>
                    <a:pt x="482" y="20"/>
                  </a:cubicBezTo>
                  <a:cubicBezTo>
                    <a:pt x="485" y="20"/>
                    <a:pt x="486" y="22"/>
                    <a:pt x="486" y="25"/>
                  </a:cubicBezTo>
                  <a:cubicBezTo>
                    <a:pt x="495" y="25"/>
                    <a:pt x="495" y="25"/>
                    <a:pt x="495" y="25"/>
                  </a:cubicBezTo>
                  <a:cubicBezTo>
                    <a:pt x="495" y="24"/>
                    <a:pt x="495" y="24"/>
                    <a:pt x="495" y="24"/>
                  </a:cubicBezTo>
                  <a:cubicBezTo>
                    <a:pt x="495" y="17"/>
                    <a:pt x="491" y="13"/>
                    <a:pt x="482" y="13"/>
                  </a:cubicBezTo>
                  <a:cubicBezTo>
                    <a:pt x="472" y="13"/>
                    <a:pt x="468" y="18"/>
                    <a:pt x="468" y="24"/>
                  </a:cubicBezTo>
                  <a:cubicBezTo>
                    <a:pt x="468" y="30"/>
                    <a:pt x="471" y="33"/>
                    <a:pt x="476" y="35"/>
                  </a:cubicBezTo>
                  <a:cubicBezTo>
                    <a:pt x="483" y="38"/>
                    <a:pt x="483" y="38"/>
                    <a:pt x="483" y="38"/>
                  </a:cubicBezTo>
                  <a:cubicBezTo>
                    <a:pt x="485" y="38"/>
                    <a:pt x="487" y="40"/>
                    <a:pt x="487" y="42"/>
                  </a:cubicBezTo>
                  <a:cubicBezTo>
                    <a:pt x="487" y="45"/>
                    <a:pt x="485" y="47"/>
                    <a:pt x="482" y="47"/>
                  </a:cubicBezTo>
                  <a:cubicBezTo>
                    <a:pt x="478" y="47"/>
                    <a:pt x="477" y="44"/>
                    <a:pt x="477" y="41"/>
                  </a:cubicBezTo>
                  <a:cubicBezTo>
                    <a:pt x="477" y="40"/>
                    <a:pt x="477" y="40"/>
                    <a:pt x="477" y="40"/>
                  </a:cubicBezTo>
                  <a:lnTo>
                    <a:pt x="46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43"/>
            <p:cNvSpPr>
              <a:spLocks noEditPoints="1"/>
            </p:cNvSpPr>
            <p:nvPr/>
          </p:nvSpPr>
          <p:spPr bwMode="auto">
            <a:xfrm>
              <a:off x="2577" y="2348"/>
              <a:ext cx="1294" cy="155"/>
            </a:xfrm>
            <a:custGeom>
              <a:avLst/>
              <a:gdLst>
                <a:gd name="T0" fmla="*/ 9 w 546"/>
                <a:gd name="T1" fmla="*/ 11 h 65"/>
                <a:gd name="T2" fmla="*/ 35 w 546"/>
                <a:gd name="T3" fmla="*/ 11 h 65"/>
                <a:gd name="T4" fmla="*/ 30 w 546"/>
                <a:gd name="T5" fmla="*/ 1 h 65"/>
                <a:gd name="T6" fmla="*/ 0 w 546"/>
                <a:gd name="T7" fmla="*/ 1 h 65"/>
                <a:gd name="T8" fmla="*/ 62 w 546"/>
                <a:gd name="T9" fmla="*/ 13 h 65"/>
                <a:gd name="T10" fmla="*/ 62 w 546"/>
                <a:gd name="T11" fmla="*/ 9 h 65"/>
                <a:gd name="T12" fmla="*/ 69 w 546"/>
                <a:gd name="T13" fmla="*/ 52 h 65"/>
                <a:gd name="T14" fmla="*/ 88 w 546"/>
                <a:gd name="T15" fmla="*/ 25 h 65"/>
                <a:gd name="T16" fmla="*/ 88 w 546"/>
                <a:gd name="T17" fmla="*/ 12 h 65"/>
                <a:gd name="T18" fmla="*/ 69 w 546"/>
                <a:gd name="T19" fmla="*/ 13 h 65"/>
                <a:gd name="T20" fmla="*/ 115 w 546"/>
                <a:gd name="T21" fmla="*/ 13 h 65"/>
                <a:gd name="T22" fmla="*/ 115 w 546"/>
                <a:gd name="T23" fmla="*/ 9 h 65"/>
                <a:gd name="T24" fmla="*/ 120 w 546"/>
                <a:gd name="T25" fmla="*/ 39 h 65"/>
                <a:gd name="T26" fmla="*/ 140 w 546"/>
                <a:gd name="T27" fmla="*/ 30 h 65"/>
                <a:gd name="T28" fmla="*/ 139 w 546"/>
                <a:gd name="T29" fmla="*/ 25 h 65"/>
                <a:gd name="T30" fmla="*/ 120 w 546"/>
                <a:gd name="T31" fmla="*/ 24 h 65"/>
                <a:gd name="T32" fmla="*/ 134 w 546"/>
                <a:gd name="T33" fmla="*/ 46 h 65"/>
                <a:gd name="T34" fmla="*/ 156 w 546"/>
                <a:gd name="T35" fmla="*/ 13 h 65"/>
                <a:gd name="T36" fmla="*/ 156 w 546"/>
                <a:gd name="T37" fmla="*/ 42 h 65"/>
                <a:gd name="T38" fmla="*/ 169 w 546"/>
                <a:gd name="T39" fmla="*/ 45 h 65"/>
                <a:gd name="T40" fmla="*/ 171 w 546"/>
                <a:gd name="T41" fmla="*/ 13 h 65"/>
                <a:gd name="T42" fmla="*/ 156 w 546"/>
                <a:gd name="T43" fmla="*/ 13 h 65"/>
                <a:gd name="T44" fmla="*/ 192 w 546"/>
                <a:gd name="T45" fmla="*/ 22 h 65"/>
                <a:gd name="T46" fmla="*/ 184 w 546"/>
                <a:gd name="T47" fmla="*/ 19 h 65"/>
                <a:gd name="T48" fmla="*/ 175 w 546"/>
                <a:gd name="T49" fmla="*/ 52 h 65"/>
                <a:gd name="T50" fmla="*/ 226 w 546"/>
                <a:gd name="T51" fmla="*/ 13 h 65"/>
                <a:gd name="T52" fmla="*/ 206 w 546"/>
                <a:gd name="T53" fmla="*/ 13 h 65"/>
                <a:gd name="T54" fmla="*/ 198 w 546"/>
                <a:gd name="T55" fmla="*/ 57 h 65"/>
                <a:gd name="T56" fmla="*/ 278 w 546"/>
                <a:gd name="T57" fmla="*/ 33 h 65"/>
                <a:gd name="T58" fmla="*/ 263 w 546"/>
                <a:gd name="T59" fmla="*/ 19 h 65"/>
                <a:gd name="T60" fmla="*/ 285 w 546"/>
                <a:gd name="T61" fmla="*/ 52 h 65"/>
                <a:gd name="T62" fmla="*/ 301 w 546"/>
                <a:gd name="T63" fmla="*/ 13 h 65"/>
                <a:gd name="T64" fmla="*/ 301 w 546"/>
                <a:gd name="T65" fmla="*/ 7 h 65"/>
                <a:gd name="T66" fmla="*/ 285 w 546"/>
                <a:gd name="T67" fmla="*/ 13 h 65"/>
                <a:gd name="T68" fmla="*/ 285 w 546"/>
                <a:gd name="T69" fmla="*/ 52 h 65"/>
                <a:gd name="T70" fmla="*/ 346 w 546"/>
                <a:gd name="T71" fmla="*/ 29 h 65"/>
                <a:gd name="T72" fmla="*/ 346 w 546"/>
                <a:gd name="T73" fmla="*/ 1 h 65"/>
                <a:gd name="T74" fmla="*/ 323 w 546"/>
                <a:gd name="T75" fmla="*/ 1 h 65"/>
                <a:gd name="T76" fmla="*/ 392 w 546"/>
                <a:gd name="T77" fmla="*/ 33 h 65"/>
                <a:gd name="T78" fmla="*/ 377 w 546"/>
                <a:gd name="T79" fmla="*/ 19 h 65"/>
                <a:gd name="T80" fmla="*/ 417 w 546"/>
                <a:gd name="T81" fmla="*/ 52 h 65"/>
                <a:gd name="T82" fmla="*/ 416 w 546"/>
                <a:gd name="T83" fmla="*/ 39 h 65"/>
                <a:gd name="T84" fmla="*/ 397 w 546"/>
                <a:gd name="T85" fmla="*/ 13 h 65"/>
                <a:gd name="T86" fmla="*/ 417 w 546"/>
                <a:gd name="T87" fmla="*/ 47 h 65"/>
                <a:gd name="T88" fmla="*/ 445 w 546"/>
                <a:gd name="T89" fmla="*/ 53 h 65"/>
                <a:gd name="T90" fmla="*/ 441 w 546"/>
                <a:gd name="T91" fmla="*/ 23 h 65"/>
                <a:gd name="T92" fmla="*/ 459 w 546"/>
                <a:gd name="T93" fmla="*/ 23 h 65"/>
                <a:gd name="T94" fmla="*/ 446 w 546"/>
                <a:gd name="T95" fmla="*/ 37 h 65"/>
                <a:gd name="T96" fmla="*/ 440 w 546"/>
                <a:gd name="T97" fmla="*/ 39 h 65"/>
                <a:gd name="T98" fmla="*/ 475 w 546"/>
                <a:gd name="T99" fmla="*/ 13 h 65"/>
                <a:gd name="T100" fmla="*/ 475 w 546"/>
                <a:gd name="T101" fmla="*/ 9 h 65"/>
                <a:gd name="T102" fmla="*/ 482 w 546"/>
                <a:gd name="T103" fmla="*/ 52 h 65"/>
                <a:gd name="T104" fmla="*/ 501 w 546"/>
                <a:gd name="T105" fmla="*/ 25 h 65"/>
                <a:gd name="T106" fmla="*/ 501 w 546"/>
                <a:gd name="T107" fmla="*/ 12 h 65"/>
                <a:gd name="T108" fmla="*/ 482 w 546"/>
                <a:gd name="T109" fmla="*/ 13 h 65"/>
                <a:gd name="T110" fmla="*/ 536 w 546"/>
                <a:gd name="T111" fmla="*/ 18 h 65"/>
                <a:gd name="T112" fmla="*/ 536 w 546"/>
                <a:gd name="T113" fmla="*/ 47 h 65"/>
                <a:gd name="T114" fmla="*/ 528 w 546"/>
                <a:gd name="T115" fmla="*/ 58 h 65"/>
                <a:gd name="T116" fmla="*/ 546 w 546"/>
                <a:gd name="T117" fmla="*/ 50 h 65"/>
                <a:gd name="T118" fmla="*/ 531 w 546"/>
                <a:gd name="T119" fmla="*/ 2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6" h="65">
                  <a:moveTo>
                    <a:pt x="0" y="52"/>
                  </a:moveTo>
                  <a:cubicBezTo>
                    <a:pt x="9" y="52"/>
                    <a:pt x="9" y="52"/>
                    <a:pt x="9" y="5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52"/>
                  </a:lnTo>
                  <a:close/>
                  <a:moveTo>
                    <a:pt x="52" y="52"/>
                  </a:moveTo>
                  <a:cubicBezTo>
                    <a:pt x="62" y="52"/>
                    <a:pt x="62" y="52"/>
                    <a:pt x="62" y="52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52" y="13"/>
                    <a:pt x="52" y="13"/>
                    <a:pt x="52" y="13"/>
                  </a:cubicBezTo>
                  <a:lnTo>
                    <a:pt x="52" y="52"/>
                  </a:lnTo>
                  <a:close/>
                  <a:moveTo>
                    <a:pt x="52" y="9"/>
                  </a:moveTo>
                  <a:cubicBezTo>
                    <a:pt x="62" y="9"/>
                    <a:pt x="62" y="9"/>
                    <a:pt x="62" y="9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52" y="9"/>
                  </a:lnTo>
                  <a:close/>
                  <a:moveTo>
                    <a:pt x="69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2"/>
                    <a:pt x="81" y="20"/>
                    <a:pt x="84" y="20"/>
                  </a:cubicBezTo>
                  <a:cubicBezTo>
                    <a:pt x="87" y="20"/>
                    <a:pt x="88" y="21"/>
                    <a:pt x="88" y="25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23"/>
                    <a:pt x="98" y="23"/>
                    <a:pt x="98" y="23"/>
                  </a:cubicBezTo>
                  <a:cubicBezTo>
                    <a:pt x="98" y="16"/>
                    <a:pt x="95" y="12"/>
                    <a:pt x="88" y="12"/>
                  </a:cubicBezTo>
                  <a:cubicBezTo>
                    <a:pt x="84" y="12"/>
                    <a:pt x="81" y="14"/>
                    <a:pt x="79" y="18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69" y="13"/>
                    <a:pt x="69" y="13"/>
                    <a:pt x="69" y="13"/>
                  </a:cubicBezTo>
                  <a:lnTo>
                    <a:pt x="69" y="52"/>
                  </a:lnTo>
                  <a:close/>
                  <a:moveTo>
                    <a:pt x="105" y="52"/>
                  </a:moveTo>
                  <a:cubicBezTo>
                    <a:pt x="115" y="52"/>
                    <a:pt x="115" y="52"/>
                    <a:pt x="115" y="52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05" y="13"/>
                    <a:pt x="105" y="13"/>
                    <a:pt x="105" y="13"/>
                  </a:cubicBezTo>
                  <a:lnTo>
                    <a:pt x="105" y="52"/>
                  </a:lnTo>
                  <a:close/>
                  <a:moveTo>
                    <a:pt x="105" y="9"/>
                  </a:moveTo>
                  <a:cubicBezTo>
                    <a:pt x="115" y="9"/>
                    <a:pt x="115" y="9"/>
                    <a:pt x="115" y="9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05" y="0"/>
                    <a:pt x="105" y="0"/>
                    <a:pt x="105" y="0"/>
                  </a:cubicBezTo>
                  <a:lnTo>
                    <a:pt x="105" y="9"/>
                  </a:lnTo>
                  <a:close/>
                  <a:moveTo>
                    <a:pt x="120" y="39"/>
                  </a:moveTo>
                  <a:cubicBezTo>
                    <a:pt x="120" y="41"/>
                    <a:pt x="120" y="41"/>
                    <a:pt x="120" y="41"/>
                  </a:cubicBezTo>
                  <a:cubicBezTo>
                    <a:pt x="120" y="48"/>
                    <a:pt x="123" y="53"/>
                    <a:pt x="134" y="53"/>
                  </a:cubicBezTo>
                  <a:cubicBezTo>
                    <a:pt x="143" y="53"/>
                    <a:pt x="149" y="49"/>
                    <a:pt x="149" y="41"/>
                  </a:cubicBezTo>
                  <a:cubicBezTo>
                    <a:pt x="149" y="35"/>
                    <a:pt x="146" y="32"/>
                    <a:pt x="140" y="30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1" y="27"/>
                    <a:pt x="130" y="25"/>
                    <a:pt x="130" y="23"/>
                  </a:cubicBezTo>
                  <a:cubicBezTo>
                    <a:pt x="130" y="21"/>
                    <a:pt x="132" y="19"/>
                    <a:pt x="135" y="19"/>
                  </a:cubicBezTo>
                  <a:cubicBezTo>
                    <a:pt x="138" y="19"/>
                    <a:pt x="139" y="21"/>
                    <a:pt x="139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48" y="23"/>
                    <a:pt x="148" y="23"/>
                    <a:pt x="148" y="23"/>
                  </a:cubicBezTo>
                  <a:cubicBezTo>
                    <a:pt x="148" y="16"/>
                    <a:pt x="144" y="12"/>
                    <a:pt x="135" y="12"/>
                  </a:cubicBezTo>
                  <a:cubicBezTo>
                    <a:pt x="124" y="12"/>
                    <a:pt x="120" y="18"/>
                    <a:pt x="120" y="24"/>
                  </a:cubicBezTo>
                  <a:cubicBezTo>
                    <a:pt x="120" y="29"/>
                    <a:pt x="123" y="33"/>
                    <a:pt x="129" y="35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8" y="38"/>
                    <a:pt x="139" y="39"/>
                    <a:pt x="139" y="41"/>
                  </a:cubicBezTo>
                  <a:cubicBezTo>
                    <a:pt x="139" y="45"/>
                    <a:pt x="137" y="46"/>
                    <a:pt x="134" y="46"/>
                  </a:cubicBezTo>
                  <a:cubicBezTo>
                    <a:pt x="131" y="46"/>
                    <a:pt x="129" y="44"/>
                    <a:pt x="129" y="40"/>
                  </a:cubicBezTo>
                  <a:cubicBezTo>
                    <a:pt x="129" y="39"/>
                    <a:pt x="129" y="39"/>
                    <a:pt x="129" y="39"/>
                  </a:cubicBezTo>
                  <a:lnTo>
                    <a:pt x="120" y="39"/>
                  </a:lnTo>
                  <a:close/>
                  <a:moveTo>
                    <a:pt x="156" y="13"/>
                  </a:moveTo>
                  <a:cubicBezTo>
                    <a:pt x="151" y="13"/>
                    <a:pt x="151" y="13"/>
                    <a:pt x="151" y="13"/>
                  </a:cubicBezTo>
                  <a:cubicBezTo>
                    <a:pt x="151" y="20"/>
                    <a:pt x="151" y="20"/>
                    <a:pt x="151" y="20"/>
                  </a:cubicBezTo>
                  <a:cubicBezTo>
                    <a:pt x="156" y="20"/>
                    <a:pt x="156" y="20"/>
                    <a:pt x="156" y="20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50"/>
                    <a:pt x="157" y="52"/>
                    <a:pt x="165" y="52"/>
                  </a:cubicBezTo>
                  <a:cubicBezTo>
                    <a:pt x="167" y="52"/>
                    <a:pt x="169" y="52"/>
                    <a:pt x="171" y="52"/>
                  </a:cubicBezTo>
                  <a:cubicBezTo>
                    <a:pt x="171" y="45"/>
                    <a:pt x="171" y="45"/>
                    <a:pt x="171" y="45"/>
                  </a:cubicBezTo>
                  <a:cubicBezTo>
                    <a:pt x="171" y="45"/>
                    <a:pt x="170" y="45"/>
                    <a:pt x="169" y="45"/>
                  </a:cubicBezTo>
                  <a:cubicBezTo>
                    <a:pt x="166" y="45"/>
                    <a:pt x="165" y="44"/>
                    <a:pt x="165" y="41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2"/>
                    <a:pt x="165" y="2"/>
                    <a:pt x="165" y="2"/>
                  </a:cubicBezTo>
                  <a:cubicBezTo>
                    <a:pt x="156" y="2"/>
                    <a:pt x="156" y="2"/>
                    <a:pt x="156" y="2"/>
                  </a:cubicBezTo>
                  <a:lnTo>
                    <a:pt x="156" y="13"/>
                  </a:lnTo>
                  <a:close/>
                  <a:moveTo>
                    <a:pt x="175" y="52"/>
                  </a:moveTo>
                  <a:cubicBezTo>
                    <a:pt x="184" y="52"/>
                    <a:pt x="184" y="52"/>
                    <a:pt x="184" y="52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4" y="24"/>
                    <a:pt x="188" y="22"/>
                    <a:pt x="192" y="22"/>
                  </a:cubicBezTo>
                  <a:cubicBezTo>
                    <a:pt x="193" y="22"/>
                    <a:pt x="194" y="22"/>
                    <a:pt x="195" y="22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2"/>
                    <a:pt x="194" y="12"/>
                    <a:pt x="193" y="12"/>
                  </a:cubicBezTo>
                  <a:cubicBezTo>
                    <a:pt x="189" y="12"/>
                    <a:pt x="186" y="15"/>
                    <a:pt x="184" y="19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4" y="13"/>
                    <a:pt x="184" y="13"/>
                    <a:pt x="184" y="13"/>
                  </a:cubicBezTo>
                  <a:cubicBezTo>
                    <a:pt x="175" y="13"/>
                    <a:pt x="175" y="13"/>
                    <a:pt x="175" y="13"/>
                  </a:cubicBezTo>
                  <a:lnTo>
                    <a:pt x="175" y="52"/>
                  </a:lnTo>
                  <a:close/>
                  <a:moveTo>
                    <a:pt x="198" y="64"/>
                  </a:moveTo>
                  <a:cubicBezTo>
                    <a:pt x="202" y="64"/>
                    <a:pt x="202" y="64"/>
                    <a:pt x="202" y="64"/>
                  </a:cubicBezTo>
                  <a:cubicBezTo>
                    <a:pt x="212" y="64"/>
                    <a:pt x="214" y="62"/>
                    <a:pt x="217" y="49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17" y="13"/>
                    <a:pt x="217" y="13"/>
                    <a:pt x="217" y="13"/>
                  </a:cubicBezTo>
                  <a:cubicBezTo>
                    <a:pt x="212" y="40"/>
                    <a:pt x="212" y="40"/>
                    <a:pt x="212" y="40"/>
                  </a:cubicBezTo>
                  <a:cubicBezTo>
                    <a:pt x="211" y="40"/>
                    <a:pt x="211" y="40"/>
                    <a:pt x="211" y="40"/>
                  </a:cubicBezTo>
                  <a:cubicBezTo>
                    <a:pt x="206" y="13"/>
                    <a:pt x="206" y="13"/>
                    <a:pt x="206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206" y="52"/>
                    <a:pt x="206" y="52"/>
                    <a:pt x="206" y="52"/>
                  </a:cubicBezTo>
                  <a:cubicBezTo>
                    <a:pt x="206" y="55"/>
                    <a:pt x="205" y="57"/>
                    <a:pt x="201" y="57"/>
                  </a:cubicBezTo>
                  <a:cubicBezTo>
                    <a:pt x="200" y="57"/>
                    <a:pt x="199" y="57"/>
                    <a:pt x="198" y="57"/>
                  </a:cubicBezTo>
                  <a:lnTo>
                    <a:pt x="198" y="64"/>
                  </a:lnTo>
                  <a:close/>
                  <a:moveTo>
                    <a:pt x="248" y="33"/>
                  </a:moveTo>
                  <a:cubicBezTo>
                    <a:pt x="248" y="46"/>
                    <a:pt x="251" y="53"/>
                    <a:pt x="263" y="53"/>
                  </a:cubicBezTo>
                  <a:cubicBezTo>
                    <a:pt x="274" y="53"/>
                    <a:pt x="278" y="46"/>
                    <a:pt x="278" y="33"/>
                  </a:cubicBezTo>
                  <a:cubicBezTo>
                    <a:pt x="278" y="19"/>
                    <a:pt x="275" y="12"/>
                    <a:pt x="263" y="12"/>
                  </a:cubicBezTo>
                  <a:cubicBezTo>
                    <a:pt x="251" y="12"/>
                    <a:pt x="248" y="19"/>
                    <a:pt x="248" y="33"/>
                  </a:cubicBezTo>
                  <a:moveTo>
                    <a:pt x="257" y="33"/>
                  </a:moveTo>
                  <a:cubicBezTo>
                    <a:pt x="257" y="25"/>
                    <a:pt x="258" y="19"/>
                    <a:pt x="263" y="19"/>
                  </a:cubicBezTo>
                  <a:cubicBezTo>
                    <a:pt x="267" y="19"/>
                    <a:pt x="268" y="23"/>
                    <a:pt x="268" y="33"/>
                  </a:cubicBezTo>
                  <a:cubicBezTo>
                    <a:pt x="268" y="42"/>
                    <a:pt x="267" y="46"/>
                    <a:pt x="263" y="46"/>
                  </a:cubicBezTo>
                  <a:cubicBezTo>
                    <a:pt x="258" y="46"/>
                    <a:pt x="257" y="40"/>
                    <a:pt x="257" y="33"/>
                  </a:cubicBezTo>
                  <a:moveTo>
                    <a:pt x="285" y="52"/>
                  </a:moveTo>
                  <a:cubicBezTo>
                    <a:pt x="295" y="52"/>
                    <a:pt x="295" y="52"/>
                    <a:pt x="295" y="52"/>
                  </a:cubicBezTo>
                  <a:cubicBezTo>
                    <a:pt x="295" y="20"/>
                    <a:pt x="295" y="20"/>
                    <a:pt x="295" y="20"/>
                  </a:cubicBezTo>
                  <a:cubicBezTo>
                    <a:pt x="301" y="20"/>
                    <a:pt x="301" y="20"/>
                    <a:pt x="301" y="20"/>
                  </a:cubicBezTo>
                  <a:cubicBezTo>
                    <a:pt x="301" y="13"/>
                    <a:pt x="301" y="13"/>
                    <a:pt x="301" y="13"/>
                  </a:cubicBezTo>
                  <a:cubicBezTo>
                    <a:pt x="295" y="13"/>
                    <a:pt x="295" y="13"/>
                    <a:pt x="295" y="13"/>
                  </a:cubicBezTo>
                  <a:cubicBezTo>
                    <a:pt x="295" y="10"/>
                    <a:pt x="295" y="10"/>
                    <a:pt x="295" y="10"/>
                  </a:cubicBezTo>
                  <a:cubicBezTo>
                    <a:pt x="295" y="8"/>
                    <a:pt x="296" y="7"/>
                    <a:pt x="299" y="7"/>
                  </a:cubicBezTo>
                  <a:cubicBezTo>
                    <a:pt x="300" y="7"/>
                    <a:pt x="300" y="7"/>
                    <a:pt x="301" y="7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299" y="0"/>
                    <a:pt x="297" y="0"/>
                    <a:pt x="296" y="0"/>
                  </a:cubicBezTo>
                  <a:cubicBezTo>
                    <a:pt x="289" y="0"/>
                    <a:pt x="285" y="2"/>
                    <a:pt x="285" y="9"/>
                  </a:cubicBezTo>
                  <a:cubicBezTo>
                    <a:pt x="285" y="13"/>
                    <a:pt x="285" y="13"/>
                    <a:pt x="285" y="13"/>
                  </a:cubicBezTo>
                  <a:cubicBezTo>
                    <a:pt x="280" y="13"/>
                    <a:pt x="280" y="13"/>
                    <a:pt x="280" y="13"/>
                  </a:cubicBezTo>
                  <a:cubicBezTo>
                    <a:pt x="280" y="20"/>
                    <a:pt x="280" y="20"/>
                    <a:pt x="280" y="20"/>
                  </a:cubicBezTo>
                  <a:cubicBezTo>
                    <a:pt x="285" y="20"/>
                    <a:pt x="285" y="20"/>
                    <a:pt x="285" y="20"/>
                  </a:cubicBezTo>
                  <a:lnTo>
                    <a:pt x="285" y="52"/>
                  </a:lnTo>
                  <a:close/>
                  <a:moveTo>
                    <a:pt x="323" y="52"/>
                  </a:moveTo>
                  <a:cubicBezTo>
                    <a:pt x="334" y="52"/>
                    <a:pt x="334" y="52"/>
                    <a:pt x="334" y="52"/>
                  </a:cubicBezTo>
                  <a:cubicBezTo>
                    <a:pt x="334" y="29"/>
                    <a:pt x="334" y="29"/>
                    <a:pt x="334" y="29"/>
                  </a:cubicBezTo>
                  <a:cubicBezTo>
                    <a:pt x="346" y="29"/>
                    <a:pt x="346" y="29"/>
                    <a:pt x="346" y="29"/>
                  </a:cubicBezTo>
                  <a:cubicBezTo>
                    <a:pt x="346" y="52"/>
                    <a:pt x="346" y="52"/>
                    <a:pt x="346" y="52"/>
                  </a:cubicBezTo>
                  <a:cubicBezTo>
                    <a:pt x="356" y="52"/>
                    <a:pt x="356" y="52"/>
                    <a:pt x="356" y="52"/>
                  </a:cubicBezTo>
                  <a:cubicBezTo>
                    <a:pt x="356" y="1"/>
                    <a:pt x="356" y="1"/>
                    <a:pt x="356" y="1"/>
                  </a:cubicBezTo>
                  <a:cubicBezTo>
                    <a:pt x="346" y="1"/>
                    <a:pt x="346" y="1"/>
                    <a:pt x="346" y="1"/>
                  </a:cubicBezTo>
                  <a:cubicBezTo>
                    <a:pt x="346" y="20"/>
                    <a:pt x="346" y="20"/>
                    <a:pt x="346" y="20"/>
                  </a:cubicBezTo>
                  <a:cubicBezTo>
                    <a:pt x="334" y="20"/>
                    <a:pt x="334" y="20"/>
                    <a:pt x="334" y="20"/>
                  </a:cubicBezTo>
                  <a:cubicBezTo>
                    <a:pt x="334" y="1"/>
                    <a:pt x="334" y="1"/>
                    <a:pt x="334" y="1"/>
                  </a:cubicBezTo>
                  <a:cubicBezTo>
                    <a:pt x="323" y="1"/>
                    <a:pt x="323" y="1"/>
                    <a:pt x="323" y="1"/>
                  </a:cubicBezTo>
                  <a:lnTo>
                    <a:pt x="323" y="52"/>
                  </a:lnTo>
                  <a:close/>
                  <a:moveTo>
                    <a:pt x="362" y="33"/>
                  </a:moveTo>
                  <a:cubicBezTo>
                    <a:pt x="362" y="46"/>
                    <a:pt x="365" y="53"/>
                    <a:pt x="377" y="53"/>
                  </a:cubicBezTo>
                  <a:cubicBezTo>
                    <a:pt x="388" y="53"/>
                    <a:pt x="392" y="46"/>
                    <a:pt x="392" y="33"/>
                  </a:cubicBezTo>
                  <a:cubicBezTo>
                    <a:pt x="392" y="19"/>
                    <a:pt x="388" y="12"/>
                    <a:pt x="377" y="12"/>
                  </a:cubicBezTo>
                  <a:cubicBezTo>
                    <a:pt x="365" y="12"/>
                    <a:pt x="362" y="19"/>
                    <a:pt x="362" y="33"/>
                  </a:cubicBezTo>
                  <a:moveTo>
                    <a:pt x="371" y="33"/>
                  </a:moveTo>
                  <a:cubicBezTo>
                    <a:pt x="371" y="25"/>
                    <a:pt x="372" y="19"/>
                    <a:pt x="377" y="19"/>
                  </a:cubicBezTo>
                  <a:cubicBezTo>
                    <a:pt x="381" y="19"/>
                    <a:pt x="382" y="23"/>
                    <a:pt x="382" y="33"/>
                  </a:cubicBezTo>
                  <a:cubicBezTo>
                    <a:pt x="382" y="42"/>
                    <a:pt x="381" y="46"/>
                    <a:pt x="377" y="46"/>
                  </a:cubicBezTo>
                  <a:cubicBezTo>
                    <a:pt x="372" y="46"/>
                    <a:pt x="371" y="40"/>
                    <a:pt x="371" y="33"/>
                  </a:cubicBezTo>
                  <a:moveTo>
                    <a:pt x="417" y="52"/>
                  </a:moveTo>
                  <a:cubicBezTo>
                    <a:pt x="426" y="52"/>
                    <a:pt x="426" y="52"/>
                    <a:pt x="426" y="52"/>
                  </a:cubicBezTo>
                  <a:cubicBezTo>
                    <a:pt x="426" y="13"/>
                    <a:pt x="426" y="13"/>
                    <a:pt x="426" y="13"/>
                  </a:cubicBezTo>
                  <a:cubicBezTo>
                    <a:pt x="416" y="13"/>
                    <a:pt x="416" y="13"/>
                    <a:pt x="416" y="13"/>
                  </a:cubicBezTo>
                  <a:cubicBezTo>
                    <a:pt x="416" y="39"/>
                    <a:pt x="416" y="39"/>
                    <a:pt x="416" y="39"/>
                  </a:cubicBezTo>
                  <a:cubicBezTo>
                    <a:pt x="416" y="43"/>
                    <a:pt x="414" y="45"/>
                    <a:pt x="411" y="45"/>
                  </a:cubicBezTo>
                  <a:cubicBezTo>
                    <a:pt x="408" y="45"/>
                    <a:pt x="407" y="44"/>
                    <a:pt x="407" y="40"/>
                  </a:cubicBezTo>
                  <a:cubicBezTo>
                    <a:pt x="407" y="13"/>
                    <a:pt x="407" y="13"/>
                    <a:pt x="407" y="13"/>
                  </a:cubicBezTo>
                  <a:cubicBezTo>
                    <a:pt x="397" y="13"/>
                    <a:pt x="397" y="13"/>
                    <a:pt x="397" y="13"/>
                  </a:cubicBezTo>
                  <a:cubicBezTo>
                    <a:pt x="397" y="42"/>
                    <a:pt x="397" y="42"/>
                    <a:pt x="397" y="42"/>
                  </a:cubicBezTo>
                  <a:cubicBezTo>
                    <a:pt x="397" y="49"/>
                    <a:pt x="401" y="53"/>
                    <a:pt x="407" y="53"/>
                  </a:cubicBezTo>
                  <a:cubicBezTo>
                    <a:pt x="411" y="53"/>
                    <a:pt x="415" y="51"/>
                    <a:pt x="417" y="47"/>
                  </a:cubicBezTo>
                  <a:cubicBezTo>
                    <a:pt x="417" y="47"/>
                    <a:pt x="417" y="47"/>
                    <a:pt x="417" y="47"/>
                  </a:cubicBezTo>
                  <a:lnTo>
                    <a:pt x="417" y="52"/>
                  </a:lnTo>
                  <a:close/>
                  <a:moveTo>
                    <a:pt x="431" y="39"/>
                  </a:moveTo>
                  <a:cubicBezTo>
                    <a:pt x="431" y="41"/>
                    <a:pt x="431" y="41"/>
                    <a:pt x="431" y="41"/>
                  </a:cubicBezTo>
                  <a:cubicBezTo>
                    <a:pt x="431" y="48"/>
                    <a:pt x="434" y="53"/>
                    <a:pt x="445" y="53"/>
                  </a:cubicBezTo>
                  <a:cubicBezTo>
                    <a:pt x="453" y="53"/>
                    <a:pt x="459" y="49"/>
                    <a:pt x="459" y="41"/>
                  </a:cubicBezTo>
                  <a:cubicBezTo>
                    <a:pt x="459" y="35"/>
                    <a:pt x="457" y="32"/>
                    <a:pt x="451" y="30"/>
                  </a:cubicBezTo>
                  <a:cubicBezTo>
                    <a:pt x="445" y="28"/>
                    <a:pt x="445" y="28"/>
                    <a:pt x="445" y="28"/>
                  </a:cubicBezTo>
                  <a:cubicBezTo>
                    <a:pt x="442" y="27"/>
                    <a:pt x="441" y="25"/>
                    <a:pt x="441" y="23"/>
                  </a:cubicBezTo>
                  <a:cubicBezTo>
                    <a:pt x="441" y="21"/>
                    <a:pt x="443" y="19"/>
                    <a:pt x="445" y="19"/>
                  </a:cubicBezTo>
                  <a:cubicBezTo>
                    <a:pt x="449" y="19"/>
                    <a:pt x="450" y="21"/>
                    <a:pt x="450" y="25"/>
                  </a:cubicBezTo>
                  <a:cubicBezTo>
                    <a:pt x="459" y="25"/>
                    <a:pt x="459" y="25"/>
                    <a:pt x="459" y="25"/>
                  </a:cubicBezTo>
                  <a:cubicBezTo>
                    <a:pt x="459" y="23"/>
                    <a:pt x="459" y="23"/>
                    <a:pt x="459" y="23"/>
                  </a:cubicBezTo>
                  <a:cubicBezTo>
                    <a:pt x="459" y="16"/>
                    <a:pt x="454" y="12"/>
                    <a:pt x="445" y="12"/>
                  </a:cubicBezTo>
                  <a:cubicBezTo>
                    <a:pt x="435" y="12"/>
                    <a:pt x="431" y="18"/>
                    <a:pt x="431" y="24"/>
                  </a:cubicBezTo>
                  <a:cubicBezTo>
                    <a:pt x="431" y="29"/>
                    <a:pt x="434" y="33"/>
                    <a:pt x="440" y="35"/>
                  </a:cubicBezTo>
                  <a:cubicBezTo>
                    <a:pt x="446" y="37"/>
                    <a:pt x="446" y="37"/>
                    <a:pt x="446" y="37"/>
                  </a:cubicBezTo>
                  <a:cubicBezTo>
                    <a:pt x="448" y="38"/>
                    <a:pt x="450" y="39"/>
                    <a:pt x="450" y="41"/>
                  </a:cubicBezTo>
                  <a:cubicBezTo>
                    <a:pt x="450" y="45"/>
                    <a:pt x="448" y="46"/>
                    <a:pt x="445" y="46"/>
                  </a:cubicBezTo>
                  <a:cubicBezTo>
                    <a:pt x="442" y="46"/>
                    <a:pt x="440" y="44"/>
                    <a:pt x="440" y="40"/>
                  </a:cubicBezTo>
                  <a:cubicBezTo>
                    <a:pt x="440" y="39"/>
                    <a:pt x="440" y="39"/>
                    <a:pt x="440" y="39"/>
                  </a:cubicBezTo>
                  <a:lnTo>
                    <a:pt x="431" y="39"/>
                  </a:lnTo>
                  <a:close/>
                  <a:moveTo>
                    <a:pt x="465" y="52"/>
                  </a:moveTo>
                  <a:cubicBezTo>
                    <a:pt x="475" y="52"/>
                    <a:pt x="475" y="52"/>
                    <a:pt x="475" y="52"/>
                  </a:cubicBezTo>
                  <a:cubicBezTo>
                    <a:pt x="475" y="13"/>
                    <a:pt x="475" y="13"/>
                    <a:pt x="475" y="13"/>
                  </a:cubicBezTo>
                  <a:cubicBezTo>
                    <a:pt x="465" y="13"/>
                    <a:pt x="465" y="13"/>
                    <a:pt x="465" y="13"/>
                  </a:cubicBezTo>
                  <a:lnTo>
                    <a:pt x="465" y="52"/>
                  </a:lnTo>
                  <a:close/>
                  <a:moveTo>
                    <a:pt x="465" y="9"/>
                  </a:moveTo>
                  <a:cubicBezTo>
                    <a:pt x="475" y="9"/>
                    <a:pt x="475" y="9"/>
                    <a:pt x="475" y="9"/>
                  </a:cubicBezTo>
                  <a:cubicBezTo>
                    <a:pt x="475" y="0"/>
                    <a:pt x="475" y="0"/>
                    <a:pt x="475" y="0"/>
                  </a:cubicBezTo>
                  <a:cubicBezTo>
                    <a:pt x="465" y="0"/>
                    <a:pt x="465" y="0"/>
                    <a:pt x="465" y="0"/>
                  </a:cubicBezTo>
                  <a:lnTo>
                    <a:pt x="465" y="9"/>
                  </a:lnTo>
                  <a:close/>
                  <a:moveTo>
                    <a:pt x="482" y="52"/>
                  </a:moveTo>
                  <a:cubicBezTo>
                    <a:pt x="491" y="52"/>
                    <a:pt x="491" y="52"/>
                    <a:pt x="491" y="52"/>
                  </a:cubicBezTo>
                  <a:cubicBezTo>
                    <a:pt x="491" y="26"/>
                    <a:pt x="491" y="26"/>
                    <a:pt x="491" y="26"/>
                  </a:cubicBezTo>
                  <a:cubicBezTo>
                    <a:pt x="491" y="22"/>
                    <a:pt x="493" y="20"/>
                    <a:pt x="497" y="20"/>
                  </a:cubicBezTo>
                  <a:cubicBezTo>
                    <a:pt x="500" y="20"/>
                    <a:pt x="501" y="21"/>
                    <a:pt x="501" y="25"/>
                  </a:cubicBezTo>
                  <a:cubicBezTo>
                    <a:pt x="501" y="52"/>
                    <a:pt x="501" y="52"/>
                    <a:pt x="501" y="52"/>
                  </a:cubicBezTo>
                  <a:cubicBezTo>
                    <a:pt x="511" y="52"/>
                    <a:pt x="511" y="52"/>
                    <a:pt x="511" y="52"/>
                  </a:cubicBezTo>
                  <a:cubicBezTo>
                    <a:pt x="511" y="23"/>
                    <a:pt x="511" y="23"/>
                    <a:pt x="511" y="23"/>
                  </a:cubicBezTo>
                  <a:cubicBezTo>
                    <a:pt x="511" y="16"/>
                    <a:pt x="507" y="12"/>
                    <a:pt x="501" y="12"/>
                  </a:cubicBezTo>
                  <a:cubicBezTo>
                    <a:pt x="497" y="12"/>
                    <a:pt x="493" y="14"/>
                    <a:pt x="491" y="18"/>
                  </a:cubicBezTo>
                  <a:cubicBezTo>
                    <a:pt x="491" y="18"/>
                    <a:pt x="491" y="18"/>
                    <a:pt x="491" y="18"/>
                  </a:cubicBezTo>
                  <a:cubicBezTo>
                    <a:pt x="491" y="13"/>
                    <a:pt x="491" y="13"/>
                    <a:pt x="491" y="13"/>
                  </a:cubicBezTo>
                  <a:cubicBezTo>
                    <a:pt x="482" y="13"/>
                    <a:pt x="482" y="13"/>
                    <a:pt x="482" y="13"/>
                  </a:cubicBezTo>
                  <a:lnTo>
                    <a:pt x="482" y="52"/>
                  </a:lnTo>
                  <a:close/>
                  <a:moveTo>
                    <a:pt x="537" y="13"/>
                  </a:moveTo>
                  <a:cubicBezTo>
                    <a:pt x="537" y="18"/>
                    <a:pt x="537" y="18"/>
                    <a:pt x="537" y="18"/>
                  </a:cubicBezTo>
                  <a:cubicBezTo>
                    <a:pt x="536" y="18"/>
                    <a:pt x="536" y="18"/>
                    <a:pt x="536" y="18"/>
                  </a:cubicBezTo>
                  <a:cubicBezTo>
                    <a:pt x="535" y="14"/>
                    <a:pt x="531" y="12"/>
                    <a:pt x="528" y="12"/>
                  </a:cubicBezTo>
                  <a:cubicBezTo>
                    <a:pt x="518" y="12"/>
                    <a:pt x="516" y="23"/>
                    <a:pt x="516" y="32"/>
                  </a:cubicBezTo>
                  <a:cubicBezTo>
                    <a:pt x="516" y="46"/>
                    <a:pt x="520" y="51"/>
                    <a:pt x="528" y="51"/>
                  </a:cubicBezTo>
                  <a:cubicBezTo>
                    <a:pt x="531" y="51"/>
                    <a:pt x="534" y="49"/>
                    <a:pt x="536" y="47"/>
                  </a:cubicBezTo>
                  <a:cubicBezTo>
                    <a:pt x="537" y="47"/>
                    <a:pt x="537" y="47"/>
                    <a:pt x="537" y="47"/>
                  </a:cubicBezTo>
                  <a:cubicBezTo>
                    <a:pt x="537" y="52"/>
                    <a:pt x="537" y="52"/>
                    <a:pt x="537" y="52"/>
                  </a:cubicBezTo>
                  <a:cubicBezTo>
                    <a:pt x="537" y="56"/>
                    <a:pt x="535" y="59"/>
                    <a:pt x="531" y="59"/>
                  </a:cubicBezTo>
                  <a:cubicBezTo>
                    <a:pt x="530" y="59"/>
                    <a:pt x="529" y="58"/>
                    <a:pt x="528" y="58"/>
                  </a:cubicBezTo>
                  <a:cubicBezTo>
                    <a:pt x="527" y="57"/>
                    <a:pt x="526" y="56"/>
                    <a:pt x="526" y="55"/>
                  </a:cubicBezTo>
                  <a:cubicBezTo>
                    <a:pt x="517" y="55"/>
                    <a:pt x="517" y="55"/>
                    <a:pt x="517" y="55"/>
                  </a:cubicBezTo>
                  <a:cubicBezTo>
                    <a:pt x="517" y="61"/>
                    <a:pt x="522" y="65"/>
                    <a:pt x="530" y="65"/>
                  </a:cubicBezTo>
                  <a:cubicBezTo>
                    <a:pt x="541" y="65"/>
                    <a:pt x="546" y="60"/>
                    <a:pt x="546" y="50"/>
                  </a:cubicBezTo>
                  <a:cubicBezTo>
                    <a:pt x="546" y="13"/>
                    <a:pt x="546" y="13"/>
                    <a:pt x="546" y="13"/>
                  </a:cubicBezTo>
                  <a:lnTo>
                    <a:pt x="537" y="13"/>
                  </a:lnTo>
                  <a:close/>
                  <a:moveTo>
                    <a:pt x="526" y="34"/>
                  </a:moveTo>
                  <a:cubicBezTo>
                    <a:pt x="526" y="23"/>
                    <a:pt x="527" y="20"/>
                    <a:pt x="531" y="20"/>
                  </a:cubicBezTo>
                  <a:cubicBezTo>
                    <a:pt x="535" y="20"/>
                    <a:pt x="537" y="23"/>
                    <a:pt x="537" y="33"/>
                  </a:cubicBezTo>
                  <a:cubicBezTo>
                    <a:pt x="537" y="39"/>
                    <a:pt x="535" y="44"/>
                    <a:pt x="531" y="44"/>
                  </a:cubicBezTo>
                  <a:cubicBezTo>
                    <a:pt x="527" y="44"/>
                    <a:pt x="526" y="39"/>
                    <a:pt x="526" y="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59467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469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8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ssion Focus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43200" y="474223"/>
            <a:ext cx="6387844" cy="6376548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0" y="5597377"/>
            <a:ext cx="12192000" cy="1260623"/>
            <a:chOff x="0" y="5597377"/>
            <a:chExt cx="12192000" cy="1260623"/>
          </a:xfrm>
        </p:grpSpPr>
        <p:sp>
          <p:nvSpPr>
            <p:cNvPr id="9" name="Rectangle 8"/>
            <p:cNvSpPr/>
            <p:nvPr/>
          </p:nvSpPr>
          <p:spPr>
            <a:xfrm>
              <a:off x="0" y="6084711"/>
              <a:ext cx="12192000" cy="773289"/>
            </a:xfrm>
            <a:prstGeom prst="rect">
              <a:avLst/>
            </a:prstGeom>
            <a:solidFill>
              <a:srgbClr val="113037"/>
            </a:solidFill>
            <a:ln>
              <a:solidFill>
                <a:srgbClr val="1130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252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Rectangle 253"/>
            <p:cNvSpPr>
              <a:spLocks noChangeArrowheads="1"/>
            </p:cNvSpPr>
            <p:nvPr/>
          </p:nvSpPr>
          <p:spPr bwMode="auto">
            <a:xfrm>
              <a:off x="9366016" y="6008903"/>
              <a:ext cx="171903" cy="685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254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255"/>
            <p:cNvSpPr>
              <a:spLocks noChangeArrowheads="1"/>
            </p:cNvSpPr>
            <p:nvPr/>
          </p:nvSpPr>
          <p:spPr bwMode="auto">
            <a:xfrm>
              <a:off x="9394666" y="5959415"/>
              <a:ext cx="114602" cy="289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256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257"/>
            <p:cNvSpPr>
              <a:spLocks noChangeArrowheads="1"/>
            </p:cNvSpPr>
            <p:nvPr/>
          </p:nvSpPr>
          <p:spPr bwMode="auto">
            <a:xfrm>
              <a:off x="9420712" y="5930765"/>
              <a:ext cx="62510" cy="158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58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59"/>
            <p:cNvSpPr>
              <a:spLocks/>
            </p:cNvSpPr>
            <p:nvPr/>
          </p:nvSpPr>
          <p:spPr bwMode="auto">
            <a:xfrm>
              <a:off x="9428526" y="5902114"/>
              <a:ext cx="44278" cy="109393"/>
            </a:xfrm>
            <a:custGeom>
              <a:avLst/>
              <a:gdLst>
                <a:gd name="T0" fmla="*/ 17 w 17"/>
                <a:gd name="T1" fmla="*/ 42 h 42"/>
                <a:gd name="T2" fmla="*/ 0 w 17"/>
                <a:gd name="T3" fmla="*/ 42 h 42"/>
                <a:gd name="T4" fmla="*/ 0 w 17"/>
                <a:gd name="T5" fmla="*/ 0 h 42"/>
                <a:gd name="T6" fmla="*/ 7 w 17"/>
                <a:gd name="T7" fmla="*/ 0 h 42"/>
                <a:gd name="T8" fmla="*/ 13 w 17"/>
                <a:gd name="T9" fmla="*/ 0 h 42"/>
                <a:gd name="T10" fmla="*/ 17 w 17"/>
                <a:gd name="T11" fmla="*/ 0 h 42"/>
                <a:gd name="T12" fmla="*/ 17 w 17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42">
                  <a:moveTo>
                    <a:pt x="1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17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260"/>
            <p:cNvSpPr>
              <a:spLocks/>
            </p:cNvSpPr>
            <p:nvPr/>
          </p:nvSpPr>
          <p:spPr bwMode="auto">
            <a:xfrm>
              <a:off x="9444154" y="5855232"/>
              <a:ext cx="5209" cy="109393"/>
            </a:xfrm>
            <a:custGeom>
              <a:avLst/>
              <a:gdLst>
                <a:gd name="T0" fmla="*/ 2 w 2"/>
                <a:gd name="T1" fmla="*/ 42 h 42"/>
                <a:gd name="T2" fmla="*/ 0 w 2"/>
                <a:gd name="T3" fmla="*/ 42 h 42"/>
                <a:gd name="T4" fmla="*/ 0 w 2"/>
                <a:gd name="T5" fmla="*/ 0 h 42"/>
                <a:gd name="T6" fmla="*/ 1 w 2"/>
                <a:gd name="T7" fmla="*/ 0 h 42"/>
                <a:gd name="T8" fmla="*/ 1 w 2"/>
                <a:gd name="T9" fmla="*/ 0 h 42"/>
                <a:gd name="T10" fmla="*/ 2 w 2"/>
                <a:gd name="T11" fmla="*/ 0 h 42"/>
                <a:gd name="T12" fmla="*/ 2 w 2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2">
                  <a:moveTo>
                    <a:pt x="2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261"/>
            <p:cNvSpPr>
              <a:spLocks/>
            </p:cNvSpPr>
            <p:nvPr/>
          </p:nvSpPr>
          <p:spPr bwMode="auto">
            <a:xfrm>
              <a:off x="9454572" y="5818767"/>
              <a:ext cx="5209" cy="106788"/>
            </a:xfrm>
            <a:custGeom>
              <a:avLst/>
              <a:gdLst>
                <a:gd name="T0" fmla="*/ 2 w 2"/>
                <a:gd name="T1" fmla="*/ 41 h 41"/>
                <a:gd name="T2" fmla="*/ 0 w 2"/>
                <a:gd name="T3" fmla="*/ 41 h 41"/>
                <a:gd name="T4" fmla="*/ 0 w 2"/>
                <a:gd name="T5" fmla="*/ 0 h 41"/>
                <a:gd name="T6" fmla="*/ 1 w 2"/>
                <a:gd name="T7" fmla="*/ 0 h 41"/>
                <a:gd name="T8" fmla="*/ 1 w 2"/>
                <a:gd name="T9" fmla="*/ 0 h 41"/>
                <a:gd name="T10" fmla="*/ 2 w 2"/>
                <a:gd name="T11" fmla="*/ 0 h 41"/>
                <a:gd name="T12" fmla="*/ 2 w 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1">
                  <a:moveTo>
                    <a:pt x="2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4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Rectangle 262"/>
            <p:cNvSpPr>
              <a:spLocks noChangeArrowheads="1"/>
            </p:cNvSpPr>
            <p:nvPr/>
          </p:nvSpPr>
          <p:spPr bwMode="auto">
            <a:xfrm>
              <a:off x="9360807" y="6008903"/>
              <a:ext cx="182322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Rectangle 263"/>
            <p:cNvSpPr>
              <a:spLocks noChangeArrowheads="1"/>
            </p:cNvSpPr>
            <p:nvPr/>
          </p:nvSpPr>
          <p:spPr bwMode="auto">
            <a:xfrm>
              <a:off x="9389457" y="5956811"/>
              <a:ext cx="125020" cy="781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264"/>
            <p:cNvSpPr>
              <a:spLocks noChangeArrowheads="1"/>
            </p:cNvSpPr>
            <p:nvPr/>
          </p:nvSpPr>
          <p:spPr bwMode="auto">
            <a:xfrm>
              <a:off x="9415503" y="5925556"/>
              <a:ext cx="72929" cy="5209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Rectangle 265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Rectangle 266"/>
            <p:cNvSpPr>
              <a:spLocks noChangeArrowheads="1"/>
            </p:cNvSpPr>
            <p:nvPr/>
          </p:nvSpPr>
          <p:spPr bwMode="auto">
            <a:xfrm>
              <a:off x="9405085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Rectangle 267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Rectangle 268"/>
            <p:cNvSpPr>
              <a:spLocks noChangeArrowheads="1"/>
            </p:cNvSpPr>
            <p:nvPr/>
          </p:nvSpPr>
          <p:spPr bwMode="auto">
            <a:xfrm>
              <a:off x="9418108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Rectangle 269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270"/>
            <p:cNvSpPr>
              <a:spLocks noChangeArrowheads="1"/>
            </p:cNvSpPr>
            <p:nvPr/>
          </p:nvSpPr>
          <p:spPr bwMode="auto">
            <a:xfrm>
              <a:off x="9420712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Rectangle 271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Rectangle 272"/>
            <p:cNvSpPr>
              <a:spLocks noChangeArrowheads="1"/>
            </p:cNvSpPr>
            <p:nvPr/>
          </p:nvSpPr>
          <p:spPr bwMode="auto">
            <a:xfrm>
              <a:off x="9433735" y="5972438"/>
              <a:ext cx="7814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Rectangle 273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Rectangle 274"/>
            <p:cNvSpPr>
              <a:spLocks noChangeArrowheads="1"/>
            </p:cNvSpPr>
            <p:nvPr/>
          </p:nvSpPr>
          <p:spPr bwMode="auto">
            <a:xfrm>
              <a:off x="944936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Rectangle 275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Rectangle 276"/>
            <p:cNvSpPr>
              <a:spLocks noChangeArrowheads="1"/>
            </p:cNvSpPr>
            <p:nvPr/>
          </p:nvSpPr>
          <p:spPr bwMode="auto">
            <a:xfrm>
              <a:off x="9464990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Rectangle 277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Rectangle 278"/>
            <p:cNvSpPr>
              <a:spLocks noChangeArrowheads="1"/>
            </p:cNvSpPr>
            <p:nvPr/>
          </p:nvSpPr>
          <p:spPr bwMode="auto">
            <a:xfrm>
              <a:off x="9483223" y="5972438"/>
              <a:ext cx="2605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Rectangle 279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280"/>
            <p:cNvSpPr>
              <a:spLocks noChangeArrowheads="1"/>
            </p:cNvSpPr>
            <p:nvPr/>
          </p:nvSpPr>
          <p:spPr bwMode="auto">
            <a:xfrm>
              <a:off x="9478013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Rectangle 281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Rectangle 282"/>
            <p:cNvSpPr>
              <a:spLocks noChangeArrowheads="1"/>
            </p:cNvSpPr>
            <p:nvPr/>
          </p:nvSpPr>
          <p:spPr bwMode="auto">
            <a:xfrm>
              <a:off x="9493641" y="5972438"/>
              <a:ext cx="5209" cy="28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Rectangle 283"/>
            <p:cNvSpPr>
              <a:spLocks noChangeArrowheads="1"/>
            </p:cNvSpPr>
            <p:nvPr/>
          </p:nvSpPr>
          <p:spPr bwMode="auto">
            <a:xfrm>
              <a:off x="938164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Rectangle 284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Rectangle 285"/>
            <p:cNvSpPr>
              <a:spLocks noChangeArrowheads="1"/>
            </p:cNvSpPr>
            <p:nvPr/>
          </p:nvSpPr>
          <p:spPr bwMode="auto">
            <a:xfrm>
              <a:off x="9407689" y="6037553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Rectangle 286"/>
            <p:cNvSpPr>
              <a:spLocks noChangeArrowheads="1"/>
            </p:cNvSpPr>
            <p:nvPr/>
          </p:nvSpPr>
          <p:spPr bwMode="auto">
            <a:xfrm>
              <a:off x="9433735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Rectangle 287"/>
            <p:cNvSpPr>
              <a:spLocks noChangeArrowheads="1"/>
            </p:cNvSpPr>
            <p:nvPr/>
          </p:nvSpPr>
          <p:spPr bwMode="auto">
            <a:xfrm>
              <a:off x="9457177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Rectangle 288"/>
            <p:cNvSpPr>
              <a:spLocks noChangeArrowheads="1"/>
            </p:cNvSpPr>
            <p:nvPr/>
          </p:nvSpPr>
          <p:spPr bwMode="auto">
            <a:xfrm>
              <a:off x="9483223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Rectangle 289"/>
            <p:cNvSpPr>
              <a:spLocks noChangeArrowheads="1"/>
            </p:cNvSpPr>
            <p:nvPr/>
          </p:nvSpPr>
          <p:spPr bwMode="auto">
            <a:xfrm>
              <a:off x="9509269" y="6037553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Rectangle 290"/>
            <p:cNvSpPr>
              <a:spLocks noChangeArrowheads="1"/>
            </p:cNvSpPr>
            <p:nvPr/>
          </p:nvSpPr>
          <p:spPr bwMode="auto">
            <a:xfrm>
              <a:off x="938164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Rectangle 291"/>
            <p:cNvSpPr>
              <a:spLocks noChangeArrowheads="1"/>
            </p:cNvSpPr>
            <p:nvPr/>
          </p:nvSpPr>
          <p:spPr bwMode="auto">
            <a:xfrm>
              <a:off x="940768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Rectangle 292"/>
            <p:cNvSpPr>
              <a:spLocks noChangeArrowheads="1"/>
            </p:cNvSpPr>
            <p:nvPr/>
          </p:nvSpPr>
          <p:spPr bwMode="auto">
            <a:xfrm>
              <a:off x="9433735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Rectangle 293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Rectangle 294"/>
            <p:cNvSpPr>
              <a:spLocks noChangeArrowheads="1"/>
            </p:cNvSpPr>
            <p:nvPr/>
          </p:nvSpPr>
          <p:spPr bwMode="auto">
            <a:xfrm>
              <a:off x="9457177" y="6092250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Rectangle 295"/>
            <p:cNvSpPr>
              <a:spLocks noChangeArrowheads="1"/>
            </p:cNvSpPr>
            <p:nvPr/>
          </p:nvSpPr>
          <p:spPr bwMode="auto">
            <a:xfrm>
              <a:off x="9483223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Rectangle 296"/>
            <p:cNvSpPr>
              <a:spLocks noChangeArrowheads="1"/>
            </p:cNvSpPr>
            <p:nvPr/>
          </p:nvSpPr>
          <p:spPr bwMode="auto">
            <a:xfrm>
              <a:off x="9509269" y="6092250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Rectangle 297"/>
            <p:cNvSpPr>
              <a:spLocks noChangeArrowheads="1"/>
            </p:cNvSpPr>
            <p:nvPr/>
          </p:nvSpPr>
          <p:spPr bwMode="auto">
            <a:xfrm>
              <a:off x="938164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Rectangle 298"/>
            <p:cNvSpPr>
              <a:spLocks noChangeArrowheads="1"/>
            </p:cNvSpPr>
            <p:nvPr/>
          </p:nvSpPr>
          <p:spPr bwMode="auto">
            <a:xfrm>
              <a:off x="940768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Rectangle 299"/>
            <p:cNvSpPr>
              <a:spLocks noChangeArrowheads="1"/>
            </p:cNvSpPr>
            <p:nvPr/>
          </p:nvSpPr>
          <p:spPr bwMode="auto">
            <a:xfrm>
              <a:off x="9433735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Rectangle 300"/>
            <p:cNvSpPr>
              <a:spLocks noChangeArrowheads="1"/>
            </p:cNvSpPr>
            <p:nvPr/>
          </p:nvSpPr>
          <p:spPr bwMode="auto">
            <a:xfrm>
              <a:off x="9457177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Rectangle 301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302"/>
            <p:cNvSpPr>
              <a:spLocks noChangeArrowheads="1"/>
            </p:cNvSpPr>
            <p:nvPr/>
          </p:nvSpPr>
          <p:spPr bwMode="auto">
            <a:xfrm>
              <a:off x="9483223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Rectangle 303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Rectangle 304"/>
            <p:cNvSpPr>
              <a:spLocks noChangeArrowheads="1"/>
            </p:cNvSpPr>
            <p:nvPr/>
          </p:nvSpPr>
          <p:spPr bwMode="auto">
            <a:xfrm>
              <a:off x="9509269" y="6149551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Rectangle 305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Rectangle 306"/>
            <p:cNvSpPr>
              <a:spLocks noChangeArrowheads="1"/>
            </p:cNvSpPr>
            <p:nvPr/>
          </p:nvSpPr>
          <p:spPr bwMode="auto">
            <a:xfrm>
              <a:off x="9381643" y="6204247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Rectangle 307"/>
            <p:cNvSpPr>
              <a:spLocks noChangeArrowheads="1"/>
            </p:cNvSpPr>
            <p:nvPr/>
          </p:nvSpPr>
          <p:spPr bwMode="auto">
            <a:xfrm>
              <a:off x="940768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Rectangle 308"/>
            <p:cNvSpPr>
              <a:spLocks noChangeArrowheads="1"/>
            </p:cNvSpPr>
            <p:nvPr/>
          </p:nvSpPr>
          <p:spPr bwMode="auto">
            <a:xfrm>
              <a:off x="9433735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Rectangle 309"/>
            <p:cNvSpPr>
              <a:spLocks noChangeArrowheads="1"/>
            </p:cNvSpPr>
            <p:nvPr/>
          </p:nvSpPr>
          <p:spPr bwMode="auto">
            <a:xfrm>
              <a:off x="9457177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ectangle 310"/>
            <p:cNvSpPr>
              <a:spLocks noChangeArrowheads="1"/>
            </p:cNvSpPr>
            <p:nvPr/>
          </p:nvSpPr>
          <p:spPr bwMode="auto">
            <a:xfrm>
              <a:off x="9483223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Rectangle 311"/>
            <p:cNvSpPr>
              <a:spLocks noChangeArrowheads="1"/>
            </p:cNvSpPr>
            <p:nvPr/>
          </p:nvSpPr>
          <p:spPr bwMode="auto">
            <a:xfrm>
              <a:off x="9509269" y="6204247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Rectangle 312"/>
            <p:cNvSpPr>
              <a:spLocks noChangeArrowheads="1"/>
            </p:cNvSpPr>
            <p:nvPr/>
          </p:nvSpPr>
          <p:spPr bwMode="auto">
            <a:xfrm>
              <a:off x="938164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Rectangle 313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Rectangle 314"/>
            <p:cNvSpPr>
              <a:spLocks noChangeArrowheads="1"/>
            </p:cNvSpPr>
            <p:nvPr/>
          </p:nvSpPr>
          <p:spPr bwMode="auto">
            <a:xfrm>
              <a:off x="9407689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Rectangle 315"/>
            <p:cNvSpPr>
              <a:spLocks noChangeArrowheads="1"/>
            </p:cNvSpPr>
            <p:nvPr/>
          </p:nvSpPr>
          <p:spPr bwMode="auto">
            <a:xfrm>
              <a:off x="9433735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Rectangle 316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Rectangle 317"/>
            <p:cNvSpPr>
              <a:spLocks noChangeArrowheads="1"/>
            </p:cNvSpPr>
            <p:nvPr/>
          </p:nvSpPr>
          <p:spPr bwMode="auto">
            <a:xfrm>
              <a:off x="9457177" y="6258944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Rectangle 318"/>
            <p:cNvSpPr>
              <a:spLocks noChangeArrowheads="1"/>
            </p:cNvSpPr>
            <p:nvPr/>
          </p:nvSpPr>
          <p:spPr bwMode="auto">
            <a:xfrm>
              <a:off x="9483223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Rectangle 319"/>
            <p:cNvSpPr>
              <a:spLocks noChangeArrowheads="1"/>
            </p:cNvSpPr>
            <p:nvPr/>
          </p:nvSpPr>
          <p:spPr bwMode="auto">
            <a:xfrm>
              <a:off x="9509269" y="6258944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Rectangle 320"/>
            <p:cNvSpPr>
              <a:spLocks noChangeArrowheads="1"/>
            </p:cNvSpPr>
            <p:nvPr/>
          </p:nvSpPr>
          <p:spPr bwMode="auto">
            <a:xfrm>
              <a:off x="938164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Rectangle 321"/>
            <p:cNvSpPr>
              <a:spLocks noChangeArrowheads="1"/>
            </p:cNvSpPr>
            <p:nvPr/>
          </p:nvSpPr>
          <p:spPr bwMode="auto">
            <a:xfrm>
              <a:off x="940768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Rectangle 322"/>
            <p:cNvSpPr>
              <a:spLocks noChangeArrowheads="1"/>
            </p:cNvSpPr>
            <p:nvPr/>
          </p:nvSpPr>
          <p:spPr bwMode="auto">
            <a:xfrm>
              <a:off x="9433735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Rectangle 323"/>
            <p:cNvSpPr>
              <a:spLocks noChangeArrowheads="1"/>
            </p:cNvSpPr>
            <p:nvPr/>
          </p:nvSpPr>
          <p:spPr bwMode="auto">
            <a:xfrm>
              <a:off x="9457177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Rectangle 324"/>
            <p:cNvSpPr>
              <a:spLocks noChangeArrowheads="1"/>
            </p:cNvSpPr>
            <p:nvPr/>
          </p:nvSpPr>
          <p:spPr bwMode="auto">
            <a:xfrm>
              <a:off x="9483223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Rectangle 325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Rectangle 326"/>
            <p:cNvSpPr>
              <a:spLocks noChangeArrowheads="1"/>
            </p:cNvSpPr>
            <p:nvPr/>
          </p:nvSpPr>
          <p:spPr bwMode="auto">
            <a:xfrm>
              <a:off x="9509269" y="6316245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Rectangle 327"/>
            <p:cNvSpPr>
              <a:spLocks noChangeArrowheads="1"/>
            </p:cNvSpPr>
            <p:nvPr/>
          </p:nvSpPr>
          <p:spPr bwMode="auto">
            <a:xfrm>
              <a:off x="938164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Rectangle 328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Rectangle 329"/>
            <p:cNvSpPr>
              <a:spLocks noChangeArrowheads="1"/>
            </p:cNvSpPr>
            <p:nvPr/>
          </p:nvSpPr>
          <p:spPr bwMode="auto">
            <a:xfrm>
              <a:off x="9407689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Rectangle 330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Rectangle 331"/>
            <p:cNvSpPr>
              <a:spLocks noChangeArrowheads="1"/>
            </p:cNvSpPr>
            <p:nvPr/>
          </p:nvSpPr>
          <p:spPr bwMode="auto">
            <a:xfrm>
              <a:off x="9433735" y="6370941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Rectangle 332"/>
            <p:cNvSpPr>
              <a:spLocks noChangeArrowheads="1"/>
            </p:cNvSpPr>
            <p:nvPr/>
          </p:nvSpPr>
          <p:spPr bwMode="auto">
            <a:xfrm>
              <a:off x="9457177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Rectangle 333"/>
            <p:cNvSpPr>
              <a:spLocks noChangeArrowheads="1"/>
            </p:cNvSpPr>
            <p:nvPr/>
          </p:nvSpPr>
          <p:spPr bwMode="auto">
            <a:xfrm>
              <a:off x="9483223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Rectangle 334"/>
            <p:cNvSpPr>
              <a:spLocks noChangeArrowheads="1"/>
            </p:cNvSpPr>
            <p:nvPr/>
          </p:nvSpPr>
          <p:spPr bwMode="auto">
            <a:xfrm>
              <a:off x="9509269" y="6370941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Rectangle 335"/>
            <p:cNvSpPr>
              <a:spLocks noChangeArrowheads="1"/>
            </p:cNvSpPr>
            <p:nvPr/>
          </p:nvSpPr>
          <p:spPr bwMode="auto">
            <a:xfrm>
              <a:off x="938164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Rectangle 336"/>
            <p:cNvSpPr>
              <a:spLocks noChangeArrowheads="1"/>
            </p:cNvSpPr>
            <p:nvPr/>
          </p:nvSpPr>
          <p:spPr bwMode="auto">
            <a:xfrm>
              <a:off x="940768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Rectangle 337"/>
            <p:cNvSpPr>
              <a:spLocks noChangeArrowheads="1"/>
            </p:cNvSpPr>
            <p:nvPr/>
          </p:nvSpPr>
          <p:spPr bwMode="auto">
            <a:xfrm>
              <a:off x="9433735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Rectangle 338"/>
            <p:cNvSpPr>
              <a:spLocks noChangeArrowheads="1"/>
            </p:cNvSpPr>
            <p:nvPr/>
          </p:nvSpPr>
          <p:spPr bwMode="auto">
            <a:xfrm>
              <a:off x="9457177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Rectangle 339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Rectangle 340"/>
            <p:cNvSpPr>
              <a:spLocks noChangeArrowheads="1"/>
            </p:cNvSpPr>
            <p:nvPr/>
          </p:nvSpPr>
          <p:spPr bwMode="auto">
            <a:xfrm>
              <a:off x="9483223" y="6425638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Rectangle 341"/>
            <p:cNvSpPr>
              <a:spLocks noChangeArrowheads="1"/>
            </p:cNvSpPr>
            <p:nvPr/>
          </p:nvSpPr>
          <p:spPr bwMode="auto">
            <a:xfrm>
              <a:off x="9509269" y="6425638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Rectangle 342"/>
            <p:cNvSpPr>
              <a:spLocks noChangeArrowheads="1"/>
            </p:cNvSpPr>
            <p:nvPr/>
          </p:nvSpPr>
          <p:spPr bwMode="auto">
            <a:xfrm>
              <a:off x="938164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Rectangle 343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Rectangle 344"/>
            <p:cNvSpPr>
              <a:spLocks noChangeArrowheads="1"/>
            </p:cNvSpPr>
            <p:nvPr/>
          </p:nvSpPr>
          <p:spPr bwMode="auto">
            <a:xfrm>
              <a:off x="9407689" y="6482939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Rectangle 345"/>
            <p:cNvSpPr>
              <a:spLocks noChangeArrowheads="1"/>
            </p:cNvSpPr>
            <p:nvPr/>
          </p:nvSpPr>
          <p:spPr bwMode="auto">
            <a:xfrm>
              <a:off x="9433735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Rectangle 346"/>
            <p:cNvSpPr>
              <a:spLocks noChangeArrowheads="1"/>
            </p:cNvSpPr>
            <p:nvPr/>
          </p:nvSpPr>
          <p:spPr bwMode="auto">
            <a:xfrm>
              <a:off x="9457177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Rectangle 347"/>
            <p:cNvSpPr>
              <a:spLocks noChangeArrowheads="1"/>
            </p:cNvSpPr>
            <p:nvPr/>
          </p:nvSpPr>
          <p:spPr bwMode="auto">
            <a:xfrm>
              <a:off x="9483223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Rectangle 348"/>
            <p:cNvSpPr>
              <a:spLocks noChangeArrowheads="1"/>
            </p:cNvSpPr>
            <p:nvPr/>
          </p:nvSpPr>
          <p:spPr bwMode="auto">
            <a:xfrm>
              <a:off x="9509269" y="6482939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49"/>
            <p:cNvSpPr>
              <a:spLocks noChangeArrowheads="1"/>
            </p:cNvSpPr>
            <p:nvPr/>
          </p:nvSpPr>
          <p:spPr bwMode="auto">
            <a:xfrm>
              <a:off x="938164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50"/>
            <p:cNvSpPr>
              <a:spLocks noChangeArrowheads="1"/>
            </p:cNvSpPr>
            <p:nvPr/>
          </p:nvSpPr>
          <p:spPr bwMode="auto">
            <a:xfrm>
              <a:off x="940768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51"/>
            <p:cNvSpPr>
              <a:spLocks noChangeArrowheads="1"/>
            </p:cNvSpPr>
            <p:nvPr/>
          </p:nvSpPr>
          <p:spPr bwMode="auto">
            <a:xfrm>
              <a:off x="9433735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52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53"/>
            <p:cNvSpPr>
              <a:spLocks noChangeArrowheads="1"/>
            </p:cNvSpPr>
            <p:nvPr/>
          </p:nvSpPr>
          <p:spPr bwMode="auto">
            <a:xfrm>
              <a:off x="9457177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54"/>
            <p:cNvSpPr>
              <a:spLocks noChangeArrowheads="1"/>
            </p:cNvSpPr>
            <p:nvPr/>
          </p:nvSpPr>
          <p:spPr bwMode="auto">
            <a:xfrm>
              <a:off x="9483223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Rectangle 355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" name="Rectangle 356"/>
            <p:cNvSpPr>
              <a:spLocks noChangeArrowheads="1"/>
            </p:cNvSpPr>
            <p:nvPr/>
          </p:nvSpPr>
          <p:spPr bwMode="auto">
            <a:xfrm>
              <a:off x="9509269" y="6537635"/>
              <a:ext cx="13023" cy="364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" name="Rectangle 357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" name="Rectangle 358"/>
            <p:cNvSpPr>
              <a:spLocks noChangeArrowheads="1"/>
            </p:cNvSpPr>
            <p:nvPr/>
          </p:nvSpPr>
          <p:spPr bwMode="auto">
            <a:xfrm>
              <a:off x="9381643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ectangle 359"/>
            <p:cNvSpPr>
              <a:spLocks noChangeArrowheads="1"/>
            </p:cNvSpPr>
            <p:nvPr/>
          </p:nvSpPr>
          <p:spPr bwMode="auto">
            <a:xfrm>
              <a:off x="940768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" name="Rectangle 360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" name="Rectangle 361"/>
            <p:cNvSpPr>
              <a:spLocks noChangeArrowheads="1"/>
            </p:cNvSpPr>
            <p:nvPr/>
          </p:nvSpPr>
          <p:spPr bwMode="auto">
            <a:xfrm>
              <a:off x="9433735" y="6594936"/>
              <a:ext cx="13023" cy="33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" name="Rectangle 362"/>
            <p:cNvSpPr>
              <a:spLocks noChangeArrowheads="1"/>
            </p:cNvSpPr>
            <p:nvPr/>
          </p:nvSpPr>
          <p:spPr bwMode="auto">
            <a:xfrm>
              <a:off x="9457177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" name="Rectangle 363"/>
            <p:cNvSpPr>
              <a:spLocks noChangeArrowheads="1"/>
            </p:cNvSpPr>
            <p:nvPr/>
          </p:nvSpPr>
          <p:spPr bwMode="auto">
            <a:xfrm>
              <a:off x="9483223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" name="Rectangle 364"/>
            <p:cNvSpPr>
              <a:spLocks noChangeArrowheads="1"/>
            </p:cNvSpPr>
            <p:nvPr/>
          </p:nvSpPr>
          <p:spPr bwMode="auto">
            <a:xfrm>
              <a:off x="9509269" y="6594936"/>
              <a:ext cx="13023" cy="3386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" name="Rectangle 365"/>
            <p:cNvSpPr>
              <a:spLocks noChangeArrowheads="1"/>
            </p:cNvSpPr>
            <p:nvPr/>
          </p:nvSpPr>
          <p:spPr bwMode="auto">
            <a:xfrm>
              <a:off x="8868539" y="6034949"/>
              <a:ext cx="276087" cy="578220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Rectangle 366"/>
            <p:cNvSpPr>
              <a:spLocks noChangeArrowheads="1"/>
            </p:cNvSpPr>
            <p:nvPr/>
          </p:nvSpPr>
          <p:spPr bwMode="auto">
            <a:xfrm>
              <a:off x="8860725" y="6024530"/>
              <a:ext cx="291714" cy="1823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367"/>
            <p:cNvSpPr>
              <a:spLocks noChangeArrowheads="1"/>
            </p:cNvSpPr>
            <p:nvPr/>
          </p:nvSpPr>
          <p:spPr bwMode="auto">
            <a:xfrm>
              <a:off x="8876352" y="6006298"/>
              <a:ext cx="257855" cy="75533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Rectangle 368"/>
            <p:cNvSpPr>
              <a:spLocks noChangeArrowheads="1"/>
            </p:cNvSpPr>
            <p:nvPr/>
          </p:nvSpPr>
          <p:spPr bwMode="auto">
            <a:xfrm>
              <a:off x="8897189" y="5972438"/>
              <a:ext cx="101579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369"/>
            <p:cNvSpPr>
              <a:spLocks/>
            </p:cNvSpPr>
            <p:nvPr/>
          </p:nvSpPr>
          <p:spPr bwMode="auto">
            <a:xfrm>
              <a:off x="8897189" y="5951602"/>
              <a:ext cx="59906" cy="44278"/>
            </a:xfrm>
            <a:custGeom>
              <a:avLst/>
              <a:gdLst>
                <a:gd name="T0" fmla="*/ 23 w 23"/>
                <a:gd name="T1" fmla="*/ 17 h 17"/>
                <a:gd name="T2" fmla="*/ 0 w 23"/>
                <a:gd name="T3" fmla="*/ 17 h 17"/>
                <a:gd name="T4" fmla="*/ 0 w 23"/>
                <a:gd name="T5" fmla="*/ 0 h 17"/>
                <a:gd name="T6" fmla="*/ 16 w 23"/>
                <a:gd name="T7" fmla="*/ 0 h 17"/>
                <a:gd name="T8" fmla="*/ 23 w 2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7">
                  <a:moveTo>
                    <a:pt x="23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8" name="Rectangle 370"/>
            <p:cNvSpPr>
              <a:spLocks noChangeArrowheads="1"/>
            </p:cNvSpPr>
            <p:nvPr/>
          </p:nvSpPr>
          <p:spPr bwMode="auto">
            <a:xfrm>
              <a:off x="8920630" y="5915137"/>
              <a:ext cx="5209" cy="98975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" name="Oval 371"/>
            <p:cNvSpPr>
              <a:spLocks noChangeArrowheads="1"/>
            </p:cNvSpPr>
            <p:nvPr/>
          </p:nvSpPr>
          <p:spPr bwMode="auto">
            <a:xfrm>
              <a:off x="8918026" y="5904719"/>
              <a:ext cx="10418" cy="10418"/>
            </a:xfrm>
            <a:prstGeom prst="ellipse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372"/>
            <p:cNvSpPr>
              <a:spLocks/>
            </p:cNvSpPr>
            <p:nvPr/>
          </p:nvSpPr>
          <p:spPr bwMode="auto">
            <a:xfrm>
              <a:off x="11087652" y="5808349"/>
              <a:ext cx="341202" cy="846493"/>
            </a:xfrm>
            <a:custGeom>
              <a:avLst/>
              <a:gdLst>
                <a:gd name="T0" fmla="*/ 131 w 131"/>
                <a:gd name="T1" fmla="*/ 325 h 325"/>
                <a:gd name="T2" fmla="*/ 14 w 131"/>
                <a:gd name="T3" fmla="*/ 325 h 325"/>
                <a:gd name="T4" fmla="*/ 0 w 131"/>
                <a:gd name="T5" fmla="*/ 0 h 325"/>
                <a:gd name="T6" fmla="*/ 131 w 131"/>
                <a:gd name="T7" fmla="*/ 27 h 325"/>
                <a:gd name="T8" fmla="*/ 131 w 131"/>
                <a:gd name="T9" fmla="*/ 3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325">
                  <a:moveTo>
                    <a:pt x="131" y="325"/>
                  </a:moveTo>
                  <a:lnTo>
                    <a:pt x="14" y="325"/>
                  </a:lnTo>
                  <a:lnTo>
                    <a:pt x="0" y="0"/>
                  </a:lnTo>
                  <a:lnTo>
                    <a:pt x="131" y="27"/>
                  </a:lnTo>
                  <a:lnTo>
                    <a:pt x="131" y="325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373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  <a:close/>
                </a:path>
              </a:pathLst>
            </a:cu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374"/>
            <p:cNvSpPr>
              <a:spLocks/>
            </p:cNvSpPr>
            <p:nvPr/>
          </p:nvSpPr>
          <p:spPr bwMode="auto">
            <a:xfrm>
              <a:off x="9803588" y="5597377"/>
              <a:ext cx="325574" cy="1091324"/>
            </a:xfrm>
            <a:custGeom>
              <a:avLst/>
              <a:gdLst>
                <a:gd name="T0" fmla="*/ 118 w 125"/>
                <a:gd name="T1" fmla="*/ 221 h 419"/>
                <a:gd name="T2" fmla="*/ 118 w 125"/>
                <a:gd name="T3" fmla="*/ 112 h 419"/>
                <a:gd name="T4" fmla="*/ 99 w 125"/>
                <a:gd name="T5" fmla="*/ 112 h 419"/>
                <a:gd name="T6" fmla="*/ 99 w 125"/>
                <a:gd name="T7" fmla="*/ 83 h 419"/>
                <a:gd name="T8" fmla="*/ 93 w 125"/>
                <a:gd name="T9" fmla="*/ 83 h 419"/>
                <a:gd name="T10" fmla="*/ 93 w 125"/>
                <a:gd name="T11" fmla="*/ 40 h 419"/>
                <a:gd name="T12" fmla="*/ 57 w 125"/>
                <a:gd name="T13" fmla="*/ 40 h 419"/>
                <a:gd name="T14" fmla="*/ 57 w 125"/>
                <a:gd name="T15" fmla="*/ 9 h 419"/>
                <a:gd name="T16" fmla="*/ 54 w 125"/>
                <a:gd name="T17" fmla="*/ 9 h 419"/>
                <a:gd name="T18" fmla="*/ 54 w 125"/>
                <a:gd name="T19" fmla="*/ 40 h 419"/>
                <a:gd name="T20" fmla="*/ 47 w 125"/>
                <a:gd name="T21" fmla="*/ 40 h 419"/>
                <a:gd name="T22" fmla="*/ 47 w 125"/>
                <a:gd name="T23" fmla="*/ 0 h 419"/>
                <a:gd name="T24" fmla="*/ 44 w 125"/>
                <a:gd name="T25" fmla="*/ 0 h 419"/>
                <a:gd name="T26" fmla="*/ 44 w 125"/>
                <a:gd name="T27" fmla="*/ 40 h 419"/>
                <a:gd name="T28" fmla="*/ 21 w 125"/>
                <a:gd name="T29" fmla="*/ 40 h 419"/>
                <a:gd name="T30" fmla="*/ 21 w 125"/>
                <a:gd name="T31" fmla="*/ 112 h 419"/>
                <a:gd name="T32" fmla="*/ 10 w 125"/>
                <a:gd name="T33" fmla="*/ 112 h 419"/>
                <a:gd name="T34" fmla="*/ 10 w 125"/>
                <a:gd name="T35" fmla="*/ 221 h 419"/>
                <a:gd name="T36" fmla="*/ 0 w 125"/>
                <a:gd name="T37" fmla="*/ 221 h 419"/>
                <a:gd name="T38" fmla="*/ 0 w 125"/>
                <a:gd name="T39" fmla="*/ 419 h 419"/>
                <a:gd name="T40" fmla="*/ 125 w 125"/>
                <a:gd name="T41" fmla="*/ 419 h 419"/>
                <a:gd name="T42" fmla="*/ 125 w 125"/>
                <a:gd name="T43" fmla="*/ 221 h 419"/>
                <a:gd name="T44" fmla="*/ 118 w 125"/>
                <a:gd name="T45" fmla="*/ 221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5" h="419">
                  <a:moveTo>
                    <a:pt x="118" y="221"/>
                  </a:moveTo>
                  <a:lnTo>
                    <a:pt x="118" y="112"/>
                  </a:lnTo>
                  <a:lnTo>
                    <a:pt x="99" y="112"/>
                  </a:lnTo>
                  <a:lnTo>
                    <a:pt x="99" y="83"/>
                  </a:lnTo>
                  <a:lnTo>
                    <a:pt x="93" y="83"/>
                  </a:lnTo>
                  <a:lnTo>
                    <a:pt x="93" y="40"/>
                  </a:lnTo>
                  <a:lnTo>
                    <a:pt x="57" y="40"/>
                  </a:lnTo>
                  <a:lnTo>
                    <a:pt x="57" y="9"/>
                  </a:lnTo>
                  <a:lnTo>
                    <a:pt x="54" y="9"/>
                  </a:lnTo>
                  <a:lnTo>
                    <a:pt x="54" y="40"/>
                  </a:lnTo>
                  <a:lnTo>
                    <a:pt x="47" y="4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4" y="40"/>
                  </a:lnTo>
                  <a:lnTo>
                    <a:pt x="21" y="40"/>
                  </a:lnTo>
                  <a:lnTo>
                    <a:pt x="21" y="112"/>
                  </a:lnTo>
                  <a:lnTo>
                    <a:pt x="10" y="112"/>
                  </a:lnTo>
                  <a:lnTo>
                    <a:pt x="10" y="221"/>
                  </a:lnTo>
                  <a:lnTo>
                    <a:pt x="0" y="221"/>
                  </a:lnTo>
                  <a:lnTo>
                    <a:pt x="0" y="419"/>
                  </a:lnTo>
                  <a:lnTo>
                    <a:pt x="125" y="419"/>
                  </a:lnTo>
                  <a:lnTo>
                    <a:pt x="125" y="221"/>
                  </a:lnTo>
                  <a:lnTo>
                    <a:pt x="118" y="22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377"/>
            <p:cNvSpPr>
              <a:spLocks/>
            </p:cNvSpPr>
            <p:nvPr/>
          </p:nvSpPr>
          <p:spPr bwMode="auto">
            <a:xfrm>
              <a:off x="10446922" y="6389173"/>
              <a:ext cx="158880" cy="320365"/>
            </a:xfrm>
            <a:custGeom>
              <a:avLst/>
              <a:gdLst>
                <a:gd name="T0" fmla="*/ 61 w 61"/>
                <a:gd name="T1" fmla="*/ 123 h 123"/>
                <a:gd name="T2" fmla="*/ 0 w 61"/>
                <a:gd name="T3" fmla="*/ 123 h 123"/>
                <a:gd name="T4" fmla="*/ 24 w 61"/>
                <a:gd name="T5" fmla="*/ 0 h 123"/>
                <a:gd name="T6" fmla="*/ 61 w 61"/>
                <a:gd name="T7" fmla="*/ 0 h 123"/>
                <a:gd name="T8" fmla="*/ 61 w 61"/>
                <a:gd name="T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123">
                  <a:moveTo>
                    <a:pt x="61" y="123"/>
                  </a:moveTo>
                  <a:lnTo>
                    <a:pt x="0" y="123"/>
                  </a:lnTo>
                  <a:lnTo>
                    <a:pt x="24" y="0"/>
                  </a:lnTo>
                  <a:lnTo>
                    <a:pt x="61" y="0"/>
                  </a:lnTo>
                  <a:lnTo>
                    <a:pt x="61" y="123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380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381"/>
            <p:cNvSpPr>
              <a:spLocks/>
            </p:cNvSpPr>
            <p:nvPr/>
          </p:nvSpPr>
          <p:spPr bwMode="auto">
            <a:xfrm>
              <a:off x="10207300" y="5797931"/>
              <a:ext cx="278692" cy="869934"/>
            </a:xfrm>
            <a:custGeom>
              <a:avLst/>
              <a:gdLst>
                <a:gd name="T0" fmla="*/ 103 w 107"/>
                <a:gd name="T1" fmla="*/ 122 h 334"/>
                <a:gd name="T2" fmla="*/ 103 w 107"/>
                <a:gd name="T3" fmla="*/ 68 h 334"/>
                <a:gd name="T4" fmla="*/ 83 w 107"/>
                <a:gd name="T5" fmla="*/ 68 h 334"/>
                <a:gd name="T6" fmla="*/ 83 w 107"/>
                <a:gd name="T7" fmla="*/ 47 h 334"/>
                <a:gd name="T8" fmla="*/ 72 w 107"/>
                <a:gd name="T9" fmla="*/ 47 h 334"/>
                <a:gd name="T10" fmla="*/ 72 w 107"/>
                <a:gd name="T11" fmla="*/ 30 h 334"/>
                <a:gd name="T12" fmla="*/ 69 w 107"/>
                <a:gd name="T13" fmla="*/ 30 h 334"/>
                <a:gd name="T14" fmla="*/ 69 w 107"/>
                <a:gd name="T15" fmla="*/ 0 h 334"/>
                <a:gd name="T16" fmla="*/ 68 w 107"/>
                <a:gd name="T17" fmla="*/ 0 h 334"/>
                <a:gd name="T18" fmla="*/ 68 w 107"/>
                <a:gd name="T19" fmla="*/ 30 h 334"/>
                <a:gd name="T20" fmla="*/ 64 w 107"/>
                <a:gd name="T21" fmla="*/ 30 h 334"/>
                <a:gd name="T22" fmla="*/ 64 w 107"/>
                <a:gd name="T23" fmla="*/ 47 h 334"/>
                <a:gd name="T24" fmla="*/ 54 w 107"/>
                <a:gd name="T25" fmla="*/ 47 h 334"/>
                <a:gd name="T26" fmla="*/ 54 w 107"/>
                <a:gd name="T27" fmla="*/ 68 h 334"/>
                <a:gd name="T28" fmla="*/ 34 w 107"/>
                <a:gd name="T29" fmla="*/ 68 h 334"/>
                <a:gd name="T30" fmla="*/ 34 w 107"/>
                <a:gd name="T31" fmla="*/ 122 h 334"/>
                <a:gd name="T32" fmla="*/ 30 w 107"/>
                <a:gd name="T33" fmla="*/ 122 h 334"/>
                <a:gd name="T34" fmla="*/ 30 w 107"/>
                <a:gd name="T35" fmla="*/ 222 h 334"/>
                <a:gd name="T36" fmla="*/ 0 w 107"/>
                <a:gd name="T37" fmla="*/ 222 h 334"/>
                <a:gd name="T38" fmla="*/ 0 w 107"/>
                <a:gd name="T39" fmla="*/ 334 h 334"/>
                <a:gd name="T40" fmla="*/ 30 w 107"/>
                <a:gd name="T41" fmla="*/ 334 h 334"/>
                <a:gd name="T42" fmla="*/ 60 w 107"/>
                <a:gd name="T43" fmla="*/ 334 h 334"/>
                <a:gd name="T44" fmla="*/ 107 w 107"/>
                <a:gd name="T45" fmla="*/ 334 h 334"/>
                <a:gd name="T46" fmla="*/ 107 w 107"/>
                <a:gd name="T47" fmla="*/ 122 h 334"/>
                <a:gd name="T48" fmla="*/ 103 w 107"/>
                <a:gd name="T49" fmla="*/ 122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334">
                  <a:moveTo>
                    <a:pt x="103" y="122"/>
                  </a:moveTo>
                  <a:lnTo>
                    <a:pt x="103" y="68"/>
                  </a:lnTo>
                  <a:lnTo>
                    <a:pt x="83" y="68"/>
                  </a:lnTo>
                  <a:lnTo>
                    <a:pt x="83" y="47"/>
                  </a:lnTo>
                  <a:lnTo>
                    <a:pt x="72" y="47"/>
                  </a:lnTo>
                  <a:lnTo>
                    <a:pt x="72" y="30"/>
                  </a:lnTo>
                  <a:lnTo>
                    <a:pt x="69" y="3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30"/>
                  </a:lnTo>
                  <a:lnTo>
                    <a:pt x="64" y="30"/>
                  </a:lnTo>
                  <a:lnTo>
                    <a:pt x="64" y="47"/>
                  </a:lnTo>
                  <a:lnTo>
                    <a:pt x="54" y="47"/>
                  </a:lnTo>
                  <a:lnTo>
                    <a:pt x="54" y="68"/>
                  </a:lnTo>
                  <a:lnTo>
                    <a:pt x="34" y="68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30" y="222"/>
                  </a:lnTo>
                  <a:lnTo>
                    <a:pt x="0" y="222"/>
                  </a:lnTo>
                  <a:lnTo>
                    <a:pt x="0" y="334"/>
                  </a:lnTo>
                  <a:lnTo>
                    <a:pt x="30" y="334"/>
                  </a:lnTo>
                  <a:lnTo>
                    <a:pt x="60" y="334"/>
                  </a:lnTo>
                  <a:lnTo>
                    <a:pt x="107" y="334"/>
                  </a:lnTo>
                  <a:lnTo>
                    <a:pt x="107" y="122"/>
                  </a:lnTo>
                  <a:lnTo>
                    <a:pt x="10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382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383"/>
            <p:cNvSpPr>
              <a:spLocks/>
            </p:cNvSpPr>
            <p:nvPr/>
          </p:nvSpPr>
          <p:spPr bwMode="auto">
            <a:xfrm>
              <a:off x="10519851" y="6279780"/>
              <a:ext cx="250041" cy="424549"/>
            </a:xfrm>
            <a:custGeom>
              <a:avLst/>
              <a:gdLst>
                <a:gd name="T0" fmla="*/ 96 w 96"/>
                <a:gd name="T1" fmla="*/ 0 h 163"/>
                <a:gd name="T2" fmla="*/ 0 w 96"/>
                <a:gd name="T3" fmla="*/ 0 h 163"/>
                <a:gd name="T4" fmla="*/ 0 w 96"/>
                <a:gd name="T5" fmla="*/ 2 h 163"/>
                <a:gd name="T6" fmla="*/ 5 w 96"/>
                <a:gd name="T7" fmla="*/ 2 h 163"/>
                <a:gd name="T8" fmla="*/ 5 w 96"/>
                <a:gd name="T9" fmla="*/ 163 h 163"/>
                <a:gd name="T10" fmla="*/ 91 w 96"/>
                <a:gd name="T11" fmla="*/ 163 h 163"/>
                <a:gd name="T12" fmla="*/ 91 w 96"/>
                <a:gd name="T13" fmla="*/ 2 h 163"/>
                <a:gd name="T14" fmla="*/ 96 w 96"/>
                <a:gd name="T15" fmla="*/ 2 h 163"/>
                <a:gd name="T16" fmla="*/ 96 w 96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163">
                  <a:moveTo>
                    <a:pt x="96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5" y="163"/>
                  </a:lnTo>
                  <a:lnTo>
                    <a:pt x="91" y="163"/>
                  </a:lnTo>
                  <a:lnTo>
                    <a:pt x="91" y="2"/>
                  </a:lnTo>
                  <a:lnTo>
                    <a:pt x="96" y="2"/>
                  </a:lnTo>
                  <a:lnTo>
                    <a:pt x="9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Rectangle 384"/>
            <p:cNvSpPr>
              <a:spLocks noChangeArrowheads="1"/>
            </p:cNvSpPr>
            <p:nvPr/>
          </p:nvSpPr>
          <p:spPr bwMode="auto">
            <a:xfrm>
              <a:off x="9418108" y="6383964"/>
              <a:ext cx="218786" cy="35162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Rectangle 385"/>
            <p:cNvSpPr>
              <a:spLocks noChangeArrowheads="1"/>
            </p:cNvSpPr>
            <p:nvPr/>
          </p:nvSpPr>
          <p:spPr bwMode="auto">
            <a:xfrm>
              <a:off x="9006582" y="6563681"/>
              <a:ext cx="377666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Rectangle 386"/>
            <p:cNvSpPr>
              <a:spLocks noChangeArrowheads="1"/>
            </p:cNvSpPr>
            <p:nvPr/>
          </p:nvSpPr>
          <p:spPr bwMode="auto">
            <a:xfrm>
              <a:off x="9209740" y="6183410"/>
              <a:ext cx="83347" cy="4193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Rectangle 387"/>
            <p:cNvSpPr>
              <a:spLocks noChangeArrowheads="1"/>
            </p:cNvSpPr>
            <p:nvPr/>
          </p:nvSpPr>
          <p:spPr bwMode="auto">
            <a:xfrm>
              <a:off x="9227972" y="6071413"/>
              <a:ext cx="2605" cy="22660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Rectangle 388"/>
            <p:cNvSpPr>
              <a:spLocks noChangeArrowheads="1"/>
            </p:cNvSpPr>
            <p:nvPr/>
          </p:nvSpPr>
          <p:spPr bwMode="auto">
            <a:xfrm>
              <a:off x="9240995" y="6087040"/>
              <a:ext cx="5209" cy="22920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Rectangle 389"/>
            <p:cNvSpPr>
              <a:spLocks noChangeArrowheads="1"/>
            </p:cNvSpPr>
            <p:nvPr/>
          </p:nvSpPr>
          <p:spPr bwMode="auto">
            <a:xfrm>
              <a:off x="9214949" y="6157364"/>
              <a:ext cx="52092" cy="5730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Rectangle 390"/>
            <p:cNvSpPr>
              <a:spLocks noChangeArrowheads="1"/>
            </p:cNvSpPr>
            <p:nvPr/>
          </p:nvSpPr>
          <p:spPr bwMode="auto">
            <a:xfrm>
              <a:off x="9368620" y="6446474"/>
              <a:ext cx="145857" cy="2891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Rectangle 391"/>
            <p:cNvSpPr>
              <a:spLocks noChangeArrowheads="1"/>
            </p:cNvSpPr>
            <p:nvPr/>
          </p:nvSpPr>
          <p:spPr bwMode="auto">
            <a:xfrm>
              <a:off x="9673358" y="6144342"/>
              <a:ext cx="270878" cy="59124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Rectangle 392"/>
            <p:cNvSpPr>
              <a:spLocks noChangeArrowheads="1"/>
            </p:cNvSpPr>
            <p:nvPr/>
          </p:nvSpPr>
          <p:spPr bwMode="auto">
            <a:xfrm>
              <a:off x="9699404" y="6123505"/>
              <a:ext cx="218786" cy="98975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Rectangle 393"/>
            <p:cNvSpPr>
              <a:spLocks noChangeArrowheads="1"/>
            </p:cNvSpPr>
            <p:nvPr/>
          </p:nvSpPr>
          <p:spPr bwMode="auto">
            <a:xfrm>
              <a:off x="9652521" y="6157364"/>
              <a:ext cx="312551" cy="520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Rectangle 394"/>
            <p:cNvSpPr>
              <a:spLocks noChangeArrowheads="1"/>
            </p:cNvSpPr>
            <p:nvPr/>
          </p:nvSpPr>
          <p:spPr bwMode="auto">
            <a:xfrm>
              <a:off x="9623871" y="6436056"/>
              <a:ext cx="127625" cy="299528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Rectangle 395"/>
            <p:cNvSpPr>
              <a:spLocks noChangeArrowheads="1"/>
            </p:cNvSpPr>
            <p:nvPr/>
          </p:nvSpPr>
          <p:spPr bwMode="auto">
            <a:xfrm>
              <a:off x="8707054" y="6425638"/>
              <a:ext cx="148462" cy="30994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Rectangle 396"/>
            <p:cNvSpPr>
              <a:spLocks noChangeArrowheads="1"/>
            </p:cNvSpPr>
            <p:nvPr/>
          </p:nvSpPr>
          <p:spPr bwMode="auto">
            <a:xfrm>
              <a:off x="8756541" y="6342291"/>
              <a:ext cx="291714" cy="3932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Rectangle 397"/>
            <p:cNvSpPr>
              <a:spLocks noChangeArrowheads="1"/>
            </p:cNvSpPr>
            <p:nvPr/>
          </p:nvSpPr>
          <p:spPr bwMode="auto">
            <a:xfrm>
              <a:off x="8738309" y="6324058"/>
              <a:ext cx="317760" cy="1823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Rectangle 398"/>
            <p:cNvSpPr>
              <a:spLocks noChangeArrowheads="1"/>
            </p:cNvSpPr>
            <p:nvPr/>
          </p:nvSpPr>
          <p:spPr bwMode="auto">
            <a:xfrm>
              <a:off x="8769564" y="6284990"/>
              <a:ext cx="127625" cy="80742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Rectangle 399"/>
            <p:cNvSpPr>
              <a:spLocks noChangeArrowheads="1"/>
            </p:cNvSpPr>
            <p:nvPr/>
          </p:nvSpPr>
          <p:spPr bwMode="auto">
            <a:xfrm>
              <a:off x="8938863" y="6284990"/>
              <a:ext cx="20837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Rectangle 400"/>
            <p:cNvSpPr>
              <a:spLocks noChangeArrowheads="1"/>
            </p:cNvSpPr>
            <p:nvPr/>
          </p:nvSpPr>
          <p:spPr bwMode="auto">
            <a:xfrm>
              <a:off x="8980536" y="6284990"/>
              <a:ext cx="26046" cy="4688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" name="Rectangle 402"/>
            <p:cNvSpPr>
              <a:spLocks noChangeArrowheads="1"/>
            </p:cNvSpPr>
            <p:nvPr/>
          </p:nvSpPr>
          <p:spPr bwMode="auto">
            <a:xfrm>
              <a:off x="8569010" y="6563681"/>
              <a:ext cx="72929" cy="171903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" name="Freeform 406"/>
            <p:cNvSpPr>
              <a:spLocks noEditPoints="1"/>
            </p:cNvSpPr>
            <p:nvPr/>
          </p:nvSpPr>
          <p:spPr bwMode="auto">
            <a:xfrm>
              <a:off x="10775101" y="5954206"/>
              <a:ext cx="567801" cy="708449"/>
            </a:xfrm>
            <a:custGeom>
              <a:avLst/>
              <a:gdLst>
                <a:gd name="T0" fmla="*/ 485 w 536"/>
                <a:gd name="T1" fmla="*/ 193 h 665"/>
                <a:gd name="T2" fmla="*/ 468 w 536"/>
                <a:gd name="T3" fmla="*/ 197 h 665"/>
                <a:gd name="T4" fmla="*/ 432 w 536"/>
                <a:gd name="T5" fmla="*/ 102 h 665"/>
                <a:gd name="T6" fmla="*/ 362 w 536"/>
                <a:gd name="T7" fmla="*/ 58 h 665"/>
                <a:gd name="T8" fmla="*/ 276 w 536"/>
                <a:gd name="T9" fmla="*/ 59 h 665"/>
                <a:gd name="T10" fmla="*/ 275 w 536"/>
                <a:gd name="T11" fmla="*/ 34 h 665"/>
                <a:gd name="T12" fmla="*/ 184 w 536"/>
                <a:gd name="T13" fmla="*/ 17 h 665"/>
                <a:gd name="T14" fmla="*/ 110 w 536"/>
                <a:gd name="T15" fmla="*/ 102 h 665"/>
                <a:gd name="T16" fmla="*/ 121 w 536"/>
                <a:gd name="T17" fmla="*/ 117 h 665"/>
                <a:gd name="T18" fmla="*/ 25 w 536"/>
                <a:gd name="T19" fmla="*/ 168 h 665"/>
                <a:gd name="T20" fmla="*/ 17 w 536"/>
                <a:gd name="T21" fmla="*/ 246 h 665"/>
                <a:gd name="T22" fmla="*/ 67 w 536"/>
                <a:gd name="T23" fmla="*/ 344 h 665"/>
                <a:gd name="T24" fmla="*/ 51 w 536"/>
                <a:gd name="T25" fmla="*/ 352 h 665"/>
                <a:gd name="T26" fmla="*/ 86 w 536"/>
                <a:gd name="T27" fmla="*/ 459 h 665"/>
                <a:gd name="T28" fmla="*/ 57 w 536"/>
                <a:gd name="T29" fmla="*/ 649 h 665"/>
                <a:gd name="T30" fmla="*/ 506 w 536"/>
                <a:gd name="T31" fmla="*/ 654 h 665"/>
                <a:gd name="T32" fmla="*/ 430 w 536"/>
                <a:gd name="T33" fmla="*/ 446 h 665"/>
                <a:gd name="T34" fmla="*/ 414 w 536"/>
                <a:gd name="T35" fmla="*/ 427 h 665"/>
                <a:gd name="T36" fmla="*/ 514 w 536"/>
                <a:gd name="T37" fmla="*/ 375 h 665"/>
                <a:gd name="T38" fmla="*/ 518 w 536"/>
                <a:gd name="T39" fmla="*/ 297 h 665"/>
                <a:gd name="T40" fmla="*/ 415 w 536"/>
                <a:gd name="T41" fmla="*/ 272 h 665"/>
                <a:gd name="T42" fmla="*/ 279 w 536"/>
                <a:gd name="T43" fmla="*/ 269 h 665"/>
                <a:gd name="T44" fmla="*/ 257 w 536"/>
                <a:gd name="T45" fmla="*/ 275 h 665"/>
                <a:gd name="T46" fmla="*/ 403 w 536"/>
                <a:gd name="T47" fmla="*/ 221 h 665"/>
                <a:gd name="T48" fmla="*/ 373 w 536"/>
                <a:gd name="T49" fmla="*/ 172 h 665"/>
                <a:gd name="T50" fmla="*/ 271 w 536"/>
                <a:gd name="T51" fmla="*/ 261 h 665"/>
                <a:gd name="T52" fmla="*/ 267 w 536"/>
                <a:gd name="T53" fmla="*/ 260 h 665"/>
                <a:gd name="T54" fmla="*/ 259 w 536"/>
                <a:gd name="T55" fmla="*/ 264 h 665"/>
                <a:gd name="T56" fmla="*/ 256 w 536"/>
                <a:gd name="T57" fmla="*/ 270 h 665"/>
                <a:gd name="T58" fmla="*/ 258 w 536"/>
                <a:gd name="T59" fmla="*/ 280 h 665"/>
                <a:gd name="T60" fmla="*/ 163 w 536"/>
                <a:gd name="T61" fmla="*/ 371 h 665"/>
                <a:gd name="T62" fmla="*/ 261 w 536"/>
                <a:gd name="T63" fmla="*/ 281 h 665"/>
                <a:gd name="T64" fmla="*/ 268 w 536"/>
                <a:gd name="T65" fmla="*/ 416 h 665"/>
                <a:gd name="T66" fmla="*/ 273 w 536"/>
                <a:gd name="T67" fmla="*/ 282 h 665"/>
                <a:gd name="T68" fmla="*/ 366 w 536"/>
                <a:gd name="T69" fmla="*/ 378 h 665"/>
                <a:gd name="T70" fmla="*/ 399 w 536"/>
                <a:gd name="T71" fmla="*/ 333 h 665"/>
                <a:gd name="T72" fmla="*/ 400 w 536"/>
                <a:gd name="T73" fmla="*/ 331 h 665"/>
                <a:gd name="T74" fmla="*/ 211 w 536"/>
                <a:gd name="T75" fmla="*/ 408 h 665"/>
                <a:gd name="T76" fmla="*/ 264 w 536"/>
                <a:gd name="T77" fmla="*/ 419 h 665"/>
                <a:gd name="T78" fmla="*/ 264 w 536"/>
                <a:gd name="T79" fmla="*/ 419 h 665"/>
                <a:gd name="T80" fmla="*/ 462 w 536"/>
                <a:gd name="T81" fmla="*/ 199 h 665"/>
                <a:gd name="T82" fmla="*/ 418 w 536"/>
                <a:gd name="T83" fmla="*/ 129 h 665"/>
                <a:gd name="T84" fmla="*/ 323 w 536"/>
                <a:gd name="T85" fmla="*/ 135 h 665"/>
                <a:gd name="T86" fmla="*/ 272 w 536"/>
                <a:gd name="T87" fmla="*/ 124 h 665"/>
                <a:gd name="T88" fmla="*/ 218 w 536"/>
                <a:gd name="T89" fmla="*/ 133 h 665"/>
                <a:gd name="T90" fmla="*/ 166 w 536"/>
                <a:gd name="T91" fmla="*/ 165 h 665"/>
                <a:gd name="T92" fmla="*/ 120 w 536"/>
                <a:gd name="T93" fmla="*/ 266 h 665"/>
                <a:gd name="T94" fmla="*/ 120 w 536"/>
                <a:gd name="T95" fmla="*/ 272 h 665"/>
                <a:gd name="T96" fmla="*/ 159 w 536"/>
                <a:gd name="T97" fmla="*/ 372 h 665"/>
                <a:gd name="T98" fmla="*/ 193 w 536"/>
                <a:gd name="T99" fmla="*/ 399 h 665"/>
                <a:gd name="T100" fmla="*/ 186 w 536"/>
                <a:gd name="T101" fmla="*/ 469 h 665"/>
                <a:gd name="T102" fmla="*/ 180 w 536"/>
                <a:gd name="T103" fmla="*/ 487 h 665"/>
                <a:gd name="T104" fmla="*/ 277 w 536"/>
                <a:gd name="T105" fmla="*/ 520 h 665"/>
                <a:gd name="T106" fmla="*/ 334 w 536"/>
                <a:gd name="T107" fmla="*/ 506 h 665"/>
                <a:gd name="T108" fmla="*/ 371 w 536"/>
                <a:gd name="T109" fmla="*/ 459 h 665"/>
                <a:gd name="T110" fmla="*/ 371 w 536"/>
                <a:gd name="T111" fmla="*/ 452 h 665"/>
                <a:gd name="T112" fmla="*/ 414 w 536"/>
                <a:gd name="T113" fmla="*/ 418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36" h="665">
                  <a:moveTo>
                    <a:pt x="518" y="262"/>
                  </a:moveTo>
                  <a:cubicBezTo>
                    <a:pt x="509" y="262"/>
                    <a:pt x="502" y="269"/>
                    <a:pt x="501" y="278"/>
                  </a:cubicBezTo>
                  <a:cubicBezTo>
                    <a:pt x="481" y="278"/>
                    <a:pt x="481" y="278"/>
                    <a:pt x="481" y="278"/>
                  </a:cubicBezTo>
                  <a:cubicBezTo>
                    <a:pt x="481" y="276"/>
                    <a:pt x="481" y="274"/>
                    <a:pt x="481" y="272"/>
                  </a:cubicBezTo>
                  <a:cubicBezTo>
                    <a:pt x="481" y="246"/>
                    <a:pt x="477" y="222"/>
                    <a:pt x="468" y="199"/>
                  </a:cubicBezTo>
                  <a:cubicBezTo>
                    <a:pt x="485" y="193"/>
                    <a:pt x="485" y="193"/>
                    <a:pt x="485" y="193"/>
                  </a:cubicBezTo>
                  <a:cubicBezTo>
                    <a:pt x="488" y="199"/>
                    <a:pt x="494" y="203"/>
                    <a:pt x="501" y="203"/>
                  </a:cubicBezTo>
                  <a:cubicBezTo>
                    <a:pt x="511" y="203"/>
                    <a:pt x="518" y="195"/>
                    <a:pt x="518" y="186"/>
                  </a:cubicBezTo>
                  <a:cubicBezTo>
                    <a:pt x="518" y="176"/>
                    <a:pt x="511" y="168"/>
                    <a:pt x="501" y="168"/>
                  </a:cubicBezTo>
                  <a:cubicBezTo>
                    <a:pt x="491" y="168"/>
                    <a:pt x="484" y="176"/>
                    <a:pt x="484" y="186"/>
                  </a:cubicBezTo>
                  <a:cubicBezTo>
                    <a:pt x="484" y="188"/>
                    <a:pt x="484" y="189"/>
                    <a:pt x="484" y="191"/>
                  </a:cubicBezTo>
                  <a:cubicBezTo>
                    <a:pt x="468" y="197"/>
                    <a:pt x="468" y="197"/>
                    <a:pt x="468" y="197"/>
                  </a:cubicBezTo>
                  <a:cubicBezTo>
                    <a:pt x="458" y="171"/>
                    <a:pt x="443" y="147"/>
                    <a:pt x="424" y="127"/>
                  </a:cubicBezTo>
                  <a:cubicBezTo>
                    <a:pt x="437" y="114"/>
                    <a:pt x="437" y="114"/>
                    <a:pt x="437" y="114"/>
                  </a:cubicBezTo>
                  <a:cubicBezTo>
                    <a:pt x="440" y="117"/>
                    <a:pt x="445" y="119"/>
                    <a:pt x="449" y="119"/>
                  </a:cubicBezTo>
                  <a:cubicBezTo>
                    <a:pt x="459" y="119"/>
                    <a:pt x="466" y="111"/>
                    <a:pt x="466" y="102"/>
                  </a:cubicBezTo>
                  <a:cubicBezTo>
                    <a:pt x="466" y="92"/>
                    <a:pt x="459" y="84"/>
                    <a:pt x="449" y="84"/>
                  </a:cubicBezTo>
                  <a:cubicBezTo>
                    <a:pt x="440" y="84"/>
                    <a:pt x="432" y="92"/>
                    <a:pt x="432" y="102"/>
                  </a:cubicBezTo>
                  <a:cubicBezTo>
                    <a:pt x="432" y="106"/>
                    <a:pt x="433" y="110"/>
                    <a:pt x="436" y="113"/>
                  </a:cubicBezTo>
                  <a:cubicBezTo>
                    <a:pt x="423" y="125"/>
                    <a:pt x="423" y="125"/>
                    <a:pt x="423" y="125"/>
                  </a:cubicBezTo>
                  <a:cubicBezTo>
                    <a:pt x="421" y="124"/>
                    <a:pt x="420" y="122"/>
                    <a:pt x="418" y="121"/>
                  </a:cubicBezTo>
                  <a:cubicBezTo>
                    <a:pt x="398" y="101"/>
                    <a:pt x="375" y="85"/>
                    <a:pt x="350" y="75"/>
                  </a:cubicBezTo>
                  <a:cubicBezTo>
                    <a:pt x="357" y="57"/>
                    <a:pt x="357" y="57"/>
                    <a:pt x="357" y="57"/>
                  </a:cubicBezTo>
                  <a:cubicBezTo>
                    <a:pt x="359" y="58"/>
                    <a:pt x="360" y="58"/>
                    <a:pt x="362" y="58"/>
                  </a:cubicBezTo>
                  <a:cubicBezTo>
                    <a:pt x="372" y="58"/>
                    <a:pt x="379" y="50"/>
                    <a:pt x="379" y="41"/>
                  </a:cubicBezTo>
                  <a:cubicBezTo>
                    <a:pt x="379" y="31"/>
                    <a:pt x="372" y="23"/>
                    <a:pt x="362" y="23"/>
                  </a:cubicBezTo>
                  <a:cubicBezTo>
                    <a:pt x="353" y="23"/>
                    <a:pt x="345" y="31"/>
                    <a:pt x="345" y="41"/>
                  </a:cubicBezTo>
                  <a:cubicBezTo>
                    <a:pt x="345" y="48"/>
                    <a:pt x="349" y="54"/>
                    <a:pt x="355" y="56"/>
                  </a:cubicBezTo>
                  <a:cubicBezTo>
                    <a:pt x="348" y="74"/>
                    <a:pt x="348" y="74"/>
                    <a:pt x="348" y="74"/>
                  </a:cubicBezTo>
                  <a:cubicBezTo>
                    <a:pt x="325" y="65"/>
                    <a:pt x="301" y="60"/>
                    <a:pt x="276" y="59"/>
                  </a:cubicBezTo>
                  <a:cubicBezTo>
                    <a:pt x="276" y="34"/>
                    <a:pt x="276" y="34"/>
                    <a:pt x="276" y="34"/>
                  </a:cubicBezTo>
                  <a:cubicBezTo>
                    <a:pt x="277" y="34"/>
                    <a:pt x="277" y="34"/>
                    <a:pt x="277" y="34"/>
                  </a:cubicBezTo>
                  <a:cubicBezTo>
                    <a:pt x="287" y="34"/>
                    <a:pt x="294" y="27"/>
                    <a:pt x="294" y="17"/>
                  </a:cubicBezTo>
                  <a:cubicBezTo>
                    <a:pt x="294" y="8"/>
                    <a:pt x="287" y="0"/>
                    <a:pt x="277" y="0"/>
                  </a:cubicBezTo>
                  <a:cubicBezTo>
                    <a:pt x="267" y="0"/>
                    <a:pt x="260" y="8"/>
                    <a:pt x="260" y="17"/>
                  </a:cubicBezTo>
                  <a:cubicBezTo>
                    <a:pt x="260" y="26"/>
                    <a:pt x="266" y="33"/>
                    <a:pt x="275" y="34"/>
                  </a:cubicBezTo>
                  <a:cubicBezTo>
                    <a:pt x="274" y="59"/>
                    <a:pt x="274" y="59"/>
                    <a:pt x="274" y="59"/>
                  </a:cubicBezTo>
                  <a:cubicBezTo>
                    <a:pt x="272" y="59"/>
                    <a:pt x="270" y="59"/>
                    <a:pt x="268" y="59"/>
                  </a:cubicBezTo>
                  <a:cubicBezTo>
                    <a:pt x="244" y="59"/>
                    <a:pt x="220" y="63"/>
                    <a:pt x="198" y="70"/>
                  </a:cubicBezTo>
                  <a:cubicBezTo>
                    <a:pt x="191" y="50"/>
                    <a:pt x="191" y="50"/>
                    <a:pt x="191" y="50"/>
                  </a:cubicBezTo>
                  <a:cubicBezTo>
                    <a:pt x="197" y="48"/>
                    <a:pt x="202" y="42"/>
                    <a:pt x="202" y="34"/>
                  </a:cubicBezTo>
                  <a:cubicBezTo>
                    <a:pt x="202" y="25"/>
                    <a:pt x="194" y="17"/>
                    <a:pt x="184" y="17"/>
                  </a:cubicBezTo>
                  <a:cubicBezTo>
                    <a:pt x="175" y="17"/>
                    <a:pt x="167" y="25"/>
                    <a:pt x="167" y="34"/>
                  </a:cubicBezTo>
                  <a:cubicBezTo>
                    <a:pt x="167" y="44"/>
                    <a:pt x="175" y="52"/>
                    <a:pt x="184" y="52"/>
                  </a:cubicBezTo>
                  <a:cubicBezTo>
                    <a:pt x="186" y="52"/>
                    <a:pt x="187" y="52"/>
                    <a:pt x="189" y="5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69" y="80"/>
                    <a:pt x="144" y="96"/>
                    <a:pt x="123" y="115"/>
                  </a:cubicBezTo>
                  <a:cubicBezTo>
                    <a:pt x="110" y="102"/>
                    <a:pt x="110" y="102"/>
                    <a:pt x="110" y="102"/>
                  </a:cubicBezTo>
                  <a:cubicBezTo>
                    <a:pt x="113" y="99"/>
                    <a:pt x="115" y="95"/>
                    <a:pt x="115" y="90"/>
                  </a:cubicBezTo>
                  <a:cubicBezTo>
                    <a:pt x="115" y="81"/>
                    <a:pt x="107" y="73"/>
                    <a:pt x="97" y="73"/>
                  </a:cubicBezTo>
                  <a:cubicBezTo>
                    <a:pt x="88" y="73"/>
                    <a:pt x="80" y="81"/>
                    <a:pt x="80" y="90"/>
                  </a:cubicBezTo>
                  <a:cubicBezTo>
                    <a:pt x="80" y="100"/>
                    <a:pt x="88" y="108"/>
                    <a:pt x="97" y="108"/>
                  </a:cubicBezTo>
                  <a:cubicBezTo>
                    <a:pt x="102" y="108"/>
                    <a:pt x="106" y="106"/>
                    <a:pt x="109" y="103"/>
                  </a:cubicBezTo>
                  <a:cubicBezTo>
                    <a:pt x="121" y="117"/>
                    <a:pt x="121" y="117"/>
                    <a:pt x="121" y="117"/>
                  </a:cubicBezTo>
                  <a:cubicBezTo>
                    <a:pt x="120" y="118"/>
                    <a:pt x="118" y="120"/>
                    <a:pt x="117" y="121"/>
                  </a:cubicBezTo>
                  <a:cubicBezTo>
                    <a:pt x="99" y="139"/>
                    <a:pt x="85" y="159"/>
                    <a:pt x="75" y="181"/>
                  </a:cubicBezTo>
                  <a:cubicBezTo>
                    <a:pt x="58" y="174"/>
                    <a:pt x="58" y="174"/>
                    <a:pt x="58" y="174"/>
                  </a:cubicBezTo>
                  <a:cubicBezTo>
                    <a:pt x="59" y="172"/>
                    <a:pt x="59" y="170"/>
                    <a:pt x="59" y="168"/>
                  </a:cubicBezTo>
                  <a:cubicBezTo>
                    <a:pt x="59" y="159"/>
                    <a:pt x="52" y="151"/>
                    <a:pt x="42" y="151"/>
                  </a:cubicBezTo>
                  <a:cubicBezTo>
                    <a:pt x="33" y="151"/>
                    <a:pt x="25" y="159"/>
                    <a:pt x="25" y="168"/>
                  </a:cubicBezTo>
                  <a:cubicBezTo>
                    <a:pt x="25" y="178"/>
                    <a:pt x="33" y="186"/>
                    <a:pt x="42" y="186"/>
                  </a:cubicBezTo>
                  <a:cubicBezTo>
                    <a:pt x="49" y="186"/>
                    <a:pt x="55" y="182"/>
                    <a:pt x="58" y="176"/>
                  </a:cubicBezTo>
                  <a:cubicBezTo>
                    <a:pt x="74" y="183"/>
                    <a:pt x="74" y="183"/>
                    <a:pt x="74" y="183"/>
                  </a:cubicBezTo>
                  <a:cubicBezTo>
                    <a:pt x="62" y="208"/>
                    <a:pt x="56" y="236"/>
                    <a:pt x="55" y="264"/>
                  </a:cubicBezTo>
                  <a:cubicBezTo>
                    <a:pt x="34" y="263"/>
                    <a:pt x="34" y="263"/>
                    <a:pt x="34" y="263"/>
                  </a:cubicBezTo>
                  <a:cubicBezTo>
                    <a:pt x="34" y="254"/>
                    <a:pt x="26" y="246"/>
                    <a:pt x="17" y="246"/>
                  </a:cubicBezTo>
                  <a:cubicBezTo>
                    <a:pt x="7" y="246"/>
                    <a:pt x="0" y="254"/>
                    <a:pt x="0" y="264"/>
                  </a:cubicBezTo>
                  <a:cubicBezTo>
                    <a:pt x="0" y="273"/>
                    <a:pt x="7" y="281"/>
                    <a:pt x="17" y="281"/>
                  </a:cubicBezTo>
                  <a:cubicBezTo>
                    <a:pt x="26" y="281"/>
                    <a:pt x="33" y="274"/>
                    <a:pt x="34" y="265"/>
                  </a:cubicBezTo>
                  <a:cubicBezTo>
                    <a:pt x="55" y="266"/>
                    <a:pt x="55" y="266"/>
                    <a:pt x="55" y="266"/>
                  </a:cubicBezTo>
                  <a:cubicBezTo>
                    <a:pt x="55" y="268"/>
                    <a:pt x="55" y="270"/>
                    <a:pt x="55" y="272"/>
                  </a:cubicBezTo>
                  <a:cubicBezTo>
                    <a:pt x="55" y="297"/>
                    <a:pt x="59" y="321"/>
                    <a:pt x="67" y="344"/>
                  </a:cubicBezTo>
                  <a:cubicBezTo>
                    <a:pt x="50" y="351"/>
                    <a:pt x="50" y="351"/>
                    <a:pt x="50" y="351"/>
                  </a:cubicBezTo>
                  <a:cubicBezTo>
                    <a:pt x="48" y="345"/>
                    <a:pt x="42" y="340"/>
                    <a:pt x="35" y="340"/>
                  </a:cubicBezTo>
                  <a:cubicBezTo>
                    <a:pt x="25" y="340"/>
                    <a:pt x="17" y="348"/>
                    <a:pt x="17" y="358"/>
                  </a:cubicBezTo>
                  <a:cubicBezTo>
                    <a:pt x="17" y="367"/>
                    <a:pt x="25" y="375"/>
                    <a:pt x="35" y="375"/>
                  </a:cubicBezTo>
                  <a:cubicBezTo>
                    <a:pt x="44" y="375"/>
                    <a:pt x="52" y="367"/>
                    <a:pt x="52" y="358"/>
                  </a:cubicBezTo>
                  <a:cubicBezTo>
                    <a:pt x="52" y="356"/>
                    <a:pt x="52" y="354"/>
                    <a:pt x="51" y="352"/>
                  </a:cubicBezTo>
                  <a:cubicBezTo>
                    <a:pt x="68" y="346"/>
                    <a:pt x="68" y="346"/>
                    <a:pt x="68" y="346"/>
                  </a:cubicBezTo>
                  <a:cubicBezTo>
                    <a:pt x="78" y="372"/>
                    <a:pt x="92" y="396"/>
                    <a:pt x="112" y="417"/>
                  </a:cubicBezTo>
                  <a:cubicBezTo>
                    <a:pt x="98" y="429"/>
                    <a:pt x="98" y="429"/>
                    <a:pt x="98" y="429"/>
                  </a:cubicBezTo>
                  <a:cubicBezTo>
                    <a:pt x="95" y="426"/>
                    <a:pt x="91" y="424"/>
                    <a:pt x="86" y="424"/>
                  </a:cubicBezTo>
                  <a:cubicBezTo>
                    <a:pt x="77" y="424"/>
                    <a:pt x="69" y="432"/>
                    <a:pt x="69" y="442"/>
                  </a:cubicBezTo>
                  <a:cubicBezTo>
                    <a:pt x="69" y="451"/>
                    <a:pt x="77" y="459"/>
                    <a:pt x="86" y="459"/>
                  </a:cubicBezTo>
                  <a:cubicBezTo>
                    <a:pt x="96" y="459"/>
                    <a:pt x="104" y="451"/>
                    <a:pt x="104" y="442"/>
                  </a:cubicBezTo>
                  <a:cubicBezTo>
                    <a:pt x="104" y="437"/>
                    <a:pt x="102" y="434"/>
                    <a:pt x="100" y="431"/>
                  </a:cubicBezTo>
                  <a:cubicBezTo>
                    <a:pt x="113" y="418"/>
                    <a:pt x="113" y="418"/>
                    <a:pt x="113" y="418"/>
                  </a:cubicBezTo>
                  <a:cubicBezTo>
                    <a:pt x="114" y="420"/>
                    <a:pt x="116" y="421"/>
                    <a:pt x="117" y="422"/>
                  </a:cubicBezTo>
                  <a:cubicBezTo>
                    <a:pt x="131" y="436"/>
                    <a:pt x="146" y="447"/>
                    <a:pt x="162" y="457"/>
                  </a:cubicBezTo>
                  <a:cubicBezTo>
                    <a:pt x="57" y="649"/>
                    <a:pt x="57" y="649"/>
                    <a:pt x="57" y="649"/>
                  </a:cubicBezTo>
                  <a:cubicBezTo>
                    <a:pt x="39" y="649"/>
                    <a:pt x="39" y="649"/>
                    <a:pt x="39" y="649"/>
                  </a:cubicBezTo>
                  <a:cubicBezTo>
                    <a:pt x="39" y="654"/>
                    <a:pt x="39" y="654"/>
                    <a:pt x="39" y="654"/>
                  </a:cubicBezTo>
                  <a:cubicBezTo>
                    <a:pt x="29" y="654"/>
                    <a:pt x="29" y="654"/>
                    <a:pt x="29" y="654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506" y="665"/>
                    <a:pt x="506" y="665"/>
                    <a:pt x="506" y="665"/>
                  </a:cubicBezTo>
                  <a:cubicBezTo>
                    <a:pt x="506" y="654"/>
                    <a:pt x="506" y="654"/>
                    <a:pt x="506" y="654"/>
                  </a:cubicBezTo>
                  <a:cubicBezTo>
                    <a:pt x="497" y="654"/>
                    <a:pt x="497" y="654"/>
                    <a:pt x="497" y="654"/>
                  </a:cubicBezTo>
                  <a:cubicBezTo>
                    <a:pt x="497" y="649"/>
                    <a:pt x="497" y="649"/>
                    <a:pt x="497" y="649"/>
                  </a:cubicBezTo>
                  <a:cubicBezTo>
                    <a:pt x="478" y="649"/>
                    <a:pt x="478" y="649"/>
                    <a:pt x="478" y="649"/>
                  </a:cubicBezTo>
                  <a:cubicBezTo>
                    <a:pt x="374" y="457"/>
                    <a:pt x="374" y="457"/>
                    <a:pt x="374" y="457"/>
                  </a:cubicBezTo>
                  <a:cubicBezTo>
                    <a:pt x="388" y="449"/>
                    <a:pt x="401" y="439"/>
                    <a:pt x="413" y="428"/>
                  </a:cubicBezTo>
                  <a:cubicBezTo>
                    <a:pt x="430" y="446"/>
                    <a:pt x="430" y="446"/>
                    <a:pt x="430" y="446"/>
                  </a:cubicBezTo>
                  <a:cubicBezTo>
                    <a:pt x="426" y="449"/>
                    <a:pt x="424" y="454"/>
                    <a:pt x="424" y="459"/>
                  </a:cubicBezTo>
                  <a:cubicBezTo>
                    <a:pt x="424" y="468"/>
                    <a:pt x="432" y="476"/>
                    <a:pt x="441" y="476"/>
                  </a:cubicBezTo>
                  <a:cubicBezTo>
                    <a:pt x="451" y="476"/>
                    <a:pt x="458" y="468"/>
                    <a:pt x="458" y="459"/>
                  </a:cubicBezTo>
                  <a:cubicBezTo>
                    <a:pt x="458" y="449"/>
                    <a:pt x="451" y="442"/>
                    <a:pt x="441" y="442"/>
                  </a:cubicBezTo>
                  <a:cubicBezTo>
                    <a:pt x="437" y="442"/>
                    <a:pt x="434" y="443"/>
                    <a:pt x="431" y="445"/>
                  </a:cubicBezTo>
                  <a:cubicBezTo>
                    <a:pt x="414" y="427"/>
                    <a:pt x="414" y="427"/>
                    <a:pt x="414" y="427"/>
                  </a:cubicBezTo>
                  <a:cubicBezTo>
                    <a:pt x="416" y="425"/>
                    <a:pt x="417" y="424"/>
                    <a:pt x="418" y="422"/>
                  </a:cubicBezTo>
                  <a:cubicBezTo>
                    <a:pt x="436" y="405"/>
                    <a:pt x="451" y="384"/>
                    <a:pt x="461" y="362"/>
                  </a:cubicBezTo>
                  <a:cubicBezTo>
                    <a:pt x="480" y="371"/>
                    <a:pt x="480" y="371"/>
                    <a:pt x="480" y="371"/>
                  </a:cubicBezTo>
                  <a:cubicBezTo>
                    <a:pt x="479" y="372"/>
                    <a:pt x="479" y="373"/>
                    <a:pt x="479" y="375"/>
                  </a:cubicBezTo>
                  <a:cubicBezTo>
                    <a:pt x="479" y="384"/>
                    <a:pt x="487" y="392"/>
                    <a:pt x="497" y="392"/>
                  </a:cubicBezTo>
                  <a:cubicBezTo>
                    <a:pt x="506" y="392"/>
                    <a:pt x="514" y="384"/>
                    <a:pt x="514" y="375"/>
                  </a:cubicBezTo>
                  <a:cubicBezTo>
                    <a:pt x="514" y="365"/>
                    <a:pt x="506" y="358"/>
                    <a:pt x="497" y="358"/>
                  </a:cubicBezTo>
                  <a:cubicBezTo>
                    <a:pt x="489" y="358"/>
                    <a:pt x="483" y="362"/>
                    <a:pt x="480" y="369"/>
                  </a:cubicBezTo>
                  <a:cubicBezTo>
                    <a:pt x="462" y="360"/>
                    <a:pt x="462" y="360"/>
                    <a:pt x="462" y="360"/>
                  </a:cubicBezTo>
                  <a:cubicBezTo>
                    <a:pt x="473" y="335"/>
                    <a:pt x="480" y="308"/>
                    <a:pt x="481" y="280"/>
                  </a:cubicBezTo>
                  <a:cubicBezTo>
                    <a:pt x="501" y="280"/>
                    <a:pt x="501" y="280"/>
                    <a:pt x="501" y="280"/>
                  </a:cubicBezTo>
                  <a:cubicBezTo>
                    <a:pt x="501" y="290"/>
                    <a:pt x="509" y="297"/>
                    <a:pt x="518" y="297"/>
                  </a:cubicBezTo>
                  <a:cubicBezTo>
                    <a:pt x="528" y="297"/>
                    <a:pt x="536" y="289"/>
                    <a:pt x="536" y="280"/>
                  </a:cubicBezTo>
                  <a:cubicBezTo>
                    <a:pt x="536" y="270"/>
                    <a:pt x="528" y="262"/>
                    <a:pt x="518" y="262"/>
                  </a:cubicBezTo>
                  <a:close/>
                  <a:moveTo>
                    <a:pt x="475" y="272"/>
                  </a:moveTo>
                  <a:cubicBezTo>
                    <a:pt x="475" y="274"/>
                    <a:pt x="475" y="276"/>
                    <a:pt x="475" y="277"/>
                  </a:cubicBezTo>
                  <a:cubicBezTo>
                    <a:pt x="415" y="276"/>
                    <a:pt x="415" y="276"/>
                    <a:pt x="415" y="276"/>
                  </a:cubicBezTo>
                  <a:cubicBezTo>
                    <a:pt x="415" y="274"/>
                    <a:pt x="415" y="273"/>
                    <a:pt x="415" y="272"/>
                  </a:cubicBezTo>
                  <a:cubicBezTo>
                    <a:pt x="415" y="254"/>
                    <a:pt x="412" y="237"/>
                    <a:pt x="407" y="222"/>
                  </a:cubicBezTo>
                  <a:cubicBezTo>
                    <a:pt x="463" y="201"/>
                    <a:pt x="463" y="201"/>
                    <a:pt x="463" y="201"/>
                  </a:cubicBezTo>
                  <a:cubicBezTo>
                    <a:pt x="471" y="223"/>
                    <a:pt x="475" y="247"/>
                    <a:pt x="475" y="272"/>
                  </a:cubicBezTo>
                  <a:close/>
                  <a:moveTo>
                    <a:pt x="413" y="275"/>
                  </a:moveTo>
                  <a:cubicBezTo>
                    <a:pt x="279" y="271"/>
                    <a:pt x="279" y="271"/>
                    <a:pt x="279" y="271"/>
                  </a:cubicBezTo>
                  <a:cubicBezTo>
                    <a:pt x="279" y="270"/>
                    <a:pt x="279" y="269"/>
                    <a:pt x="279" y="269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0" y="238"/>
                    <a:pt x="413" y="254"/>
                    <a:pt x="413" y="272"/>
                  </a:cubicBezTo>
                  <a:cubicBezTo>
                    <a:pt x="413" y="273"/>
                    <a:pt x="413" y="274"/>
                    <a:pt x="413" y="275"/>
                  </a:cubicBezTo>
                  <a:close/>
                  <a:moveTo>
                    <a:pt x="123" y="268"/>
                  </a:moveTo>
                  <a:cubicBezTo>
                    <a:pt x="256" y="272"/>
                    <a:pt x="256" y="272"/>
                    <a:pt x="256" y="272"/>
                  </a:cubicBezTo>
                  <a:cubicBezTo>
                    <a:pt x="256" y="273"/>
                    <a:pt x="256" y="274"/>
                    <a:pt x="257" y="275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26" y="305"/>
                    <a:pt x="123" y="289"/>
                    <a:pt x="123" y="272"/>
                  </a:cubicBezTo>
                  <a:cubicBezTo>
                    <a:pt x="123" y="270"/>
                    <a:pt x="123" y="269"/>
                    <a:pt x="123" y="268"/>
                  </a:cubicBezTo>
                  <a:close/>
                  <a:moveTo>
                    <a:pt x="277" y="264"/>
                  </a:moveTo>
                  <a:cubicBezTo>
                    <a:pt x="374" y="173"/>
                    <a:pt x="374" y="173"/>
                    <a:pt x="374" y="173"/>
                  </a:cubicBezTo>
                  <a:cubicBezTo>
                    <a:pt x="387" y="187"/>
                    <a:pt x="397" y="203"/>
                    <a:pt x="403" y="221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278" y="266"/>
                    <a:pt x="277" y="265"/>
                    <a:pt x="277" y="264"/>
                  </a:cubicBezTo>
                  <a:close/>
                  <a:moveTo>
                    <a:pt x="276" y="263"/>
                  </a:moveTo>
                  <a:cubicBezTo>
                    <a:pt x="275" y="262"/>
                    <a:pt x="274" y="262"/>
                    <a:pt x="273" y="261"/>
                  </a:cubicBezTo>
                  <a:cubicBezTo>
                    <a:pt x="324" y="138"/>
                    <a:pt x="324" y="138"/>
                    <a:pt x="324" y="138"/>
                  </a:cubicBezTo>
                  <a:cubicBezTo>
                    <a:pt x="342" y="146"/>
                    <a:pt x="359" y="158"/>
                    <a:pt x="373" y="172"/>
                  </a:cubicBezTo>
                  <a:lnTo>
                    <a:pt x="276" y="263"/>
                  </a:lnTo>
                  <a:close/>
                  <a:moveTo>
                    <a:pt x="271" y="261"/>
                  </a:moveTo>
                  <a:cubicBezTo>
                    <a:pt x="271" y="260"/>
                    <a:pt x="270" y="260"/>
                    <a:pt x="269" y="260"/>
                  </a:cubicBezTo>
                  <a:cubicBezTo>
                    <a:pt x="273" y="127"/>
                    <a:pt x="273" y="127"/>
                    <a:pt x="273" y="127"/>
                  </a:cubicBezTo>
                  <a:cubicBezTo>
                    <a:pt x="290" y="128"/>
                    <a:pt x="307" y="131"/>
                    <a:pt x="322" y="137"/>
                  </a:cubicBezTo>
                  <a:lnTo>
                    <a:pt x="271" y="261"/>
                  </a:lnTo>
                  <a:close/>
                  <a:moveTo>
                    <a:pt x="267" y="260"/>
                  </a:moveTo>
                  <a:cubicBezTo>
                    <a:pt x="266" y="260"/>
                    <a:pt x="266" y="260"/>
                    <a:pt x="265" y="260"/>
                  </a:cubicBezTo>
                  <a:cubicBezTo>
                    <a:pt x="221" y="135"/>
                    <a:pt x="221" y="135"/>
                    <a:pt x="221" y="135"/>
                  </a:cubicBezTo>
                  <a:cubicBezTo>
                    <a:pt x="235" y="130"/>
                    <a:pt x="251" y="127"/>
                    <a:pt x="268" y="127"/>
                  </a:cubicBezTo>
                  <a:cubicBezTo>
                    <a:pt x="269" y="127"/>
                    <a:pt x="270" y="127"/>
                    <a:pt x="272" y="127"/>
                  </a:cubicBezTo>
                  <a:lnTo>
                    <a:pt x="267" y="260"/>
                  </a:lnTo>
                  <a:close/>
                  <a:moveTo>
                    <a:pt x="263" y="261"/>
                  </a:moveTo>
                  <a:cubicBezTo>
                    <a:pt x="262" y="261"/>
                    <a:pt x="261" y="262"/>
                    <a:pt x="261" y="263"/>
                  </a:cubicBezTo>
                  <a:cubicBezTo>
                    <a:pt x="170" y="165"/>
                    <a:pt x="170" y="165"/>
                    <a:pt x="170" y="165"/>
                  </a:cubicBezTo>
                  <a:cubicBezTo>
                    <a:pt x="184" y="152"/>
                    <a:pt x="200" y="142"/>
                    <a:pt x="219" y="135"/>
                  </a:cubicBezTo>
                  <a:lnTo>
                    <a:pt x="263" y="261"/>
                  </a:lnTo>
                  <a:close/>
                  <a:moveTo>
                    <a:pt x="259" y="264"/>
                  </a:moveTo>
                  <a:cubicBezTo>
                    <a:pt x="259" y="264"/>
                    <a:pt x="258" y="265"/>
                    <a:pt x="258" y="266"/>
                  </a:cubicBezTo>
                  <a:cubicBezTo>
                    <a:pt x="137" y="210"/>
                    <a:pt x="137" y="210"/>
                    <a:pt x="137" y="210"/>
                  </a:cubicBezTo>
                  <a:cubicBezTo>
                    <a:pt x="144" y="194"/>
                    <a:pt x="155" y="179"/>
                    <a:pt x="168" y="167"/>
                  </a:cubicBezTo>
                  <a:lnTo>
                    <a:pt x="259" y="264"/>
                  </a:lnTo>
                  <a:close/>
                  <a:moveTo>
                    <a:pt x="257" y="268"/>
                  </a:moveTo>
                  <a:cubicBezTo>
                    <a:pt x="257" y="269"/>
                    <a:pt x="256" y="269"/>
                    <a:pt x="256" y="270"/>
                  </a:cubicBezTo>
                  <a:cubicBezTo>
                    <a:pt x="123" y="266"/>
                    <a:pt x="123" y="266"/>
                    <a:pt x="123" y="266"/>
                  </a:cubicBezTo>
                  <a:cubicBezTo>
                    <a:pt x="124" y="247"/>
                    <a:pt x="128" y="228"/>
                    <a:pt x="136" y="212"/>
                  </a:cubicBezTo>
                  <a:lnTo>
                    <a:pt x="257" y="268"/>
                  </a:lnTo>
                  <a:close/>
                  <a:moveTo>
                    <a:pt x="257" y="277"/>
                  </a:moveTo>
                  <a:cubicBezTo>
                    <a:pt x="258" y="277"/>
                    <a:pt x="258" y="278"/>
                    <a:pt x="258" y="27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162" y="370"/>
                    <a:pt x="162" y="370"/>
                    <a:pt x="162" y="370"/>
                  </a:cubicBezTo>
                  <a:cubicBezTo>
                    <a:pt x="149" y="356"/>
                    <a:pt x="139" y="340"/>
                    <a:pt x="132" y="323"/>
                  </a:cubicBezTo>
                  <a:lnTo>
                    <a:pt x="257" y="277"/>
                  </a:lnTo>
                  <a:close/>
                  <a:moveTo>
                    <a:pt x="255" y="285"/>
                  </a:moveTo>
                  <a:cubicBezTo>
                    <a:pt x="194" y="396"/>
                    <a:pt x="194" y="396"/>
                    <a:pt x="194" y="396"/>
                  </a:cubicBezTo>
                  <a:cubicBezTo>
                    <a:pt x="183" y="390"/>
                    <a:pt x="172" y="381"/>
                    <a:pt x="163" y="371"/>
                  </a:cubicBezTo>
                  <a:lnTo>
                    <a:pt x="255" y="285"/>
                  </a:lnTo>
                  <a:close/>
                  <a:moveTo>
                    <a:pt x="261" y="281"/>
                  </a:moveTo>
                  <a:cubicBezTo>
                    <a:pt x="262" y="282"/>
                    <a:pt x="262" y="282"/>
                    <a:pt x="262" y="282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07" y="403"/>
                    <a:pt x="202" y="401"/>
                    <a:pt x="198" y="398"/>
                  </a:cubicBezTo>
                  <a:lnTo>
                    <a:pt x="261" y="281"/>
                  </a:lnTo>
                  <a:close/>
                  <a:moveTo>
                    <a:pt x="264" y="283"/>
                  </a:moveTo>
                  <a:cubicBezTo>
                    <a:pt x="265" y="283"/>
                    <a:pt x="266" y="283"/>
                    <a:pt x="266" y="283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45" y="416"/>
                    <a:pt x="229" y="412"/>
                    <a:pt x="214" y="406"/>
                  </a:cubicBezTo>
                  <a:lnTo>
                    <a:pt x="264" y="283"/>
                  </a:lnTo>
                  <a:close/>
                  <a:moveTo>
                    <a:pt x="268" y="416"/>
                  </a:moveTo>
                  <a:cubicBezTo>
                    <a:pt x="267" y="416"/>
                    <a:pt x="265" y="416"/>
                    <a:pt x="264" y="416"/>
                  </a:cubicBezTo>
                  <a:cubicBezTo>
                    <a:pt x="268" y="283"/>
                    <a:pt x="268" y="283"/>
                    <a:pt x="268" y="283"/>
                  </a:cubicBezTo>
                  <a:cubicBezTo>
                    <a:pt x="269" y="283"/>
                    <a:pt x="270" y="283"/>
                    <a:pt x="271" y="283"/>
                  </a:cubicBezTo>
                  <a:cubicBezTo>
                    <a:pt x="315" y="409"/>
                    <a:pt x="315" y="409"/>
                    <a:pt x="315" y="409"/>
                  </a:cubicBezTo>
                  <a:cubicBezTo>
                    <a:pt x="300" y="414"/>
                    <a:pt x="284" y="416"/>
                    <a:pt x="268" y="416"/>
                  </a:cubicBezTo>
                  <a:close/>
                  <a:moveTo>
                    <a:pt x="273" y="282"/>
                  </a:moveTo>
                  <a:cubicBezTo>
                    <a:pt x="273" y="282"/>
                    <a:pt x="274" y="282"/>
                    <a:pt x="274" y="281"/>
                  </a:cubicBezTo>
                  <a:cubicBezTo>
                    <a:pt x="338" y="398"/>
                    <a:pt x="338" y="398"/>
                    <a:pt x="338" y="398"/>
                  </a:cubicBezTo>
                  <a:cubicBezTo>
                    <a:pt x="331" y="402"/>
                    <a:pt x="324" y="405"/>
                    <a:pt x="317" y="408"/>
                  </a:cubicBezTo>
                  <a:lnTo>
                    <a:pt x="273" y="282"/>
                  </a:lnTo>
                  <a:close/>
                  <a:moveTo>
                    <a:pt x="283" y="290"/>
                  </a:moveTo>
                  <a:cubicBezTo>
                    <a:pt x="366" y="378"/>
                    <a:pt x="366" y="378"/>
                    <a:pt x="366" y="378"/>
                  </a:cubicBezTo>
                  <a:cubicBezTo>
                    <a:pt x="358" y="385"/>
                    <a:pt x="350" y="391"/>
                    <a:pt x="341" y="396"/>
                  </a:cubicBezTo>
                  <a:lnTo>
                    <a:pt x="283" y="290"/>
                  </a:lnTo>
                  <a:close/>
                  <a:moveTo>
                    <a:pt x="280" y="283"/>
                  </a:moveTo>
                  <a:cubicBezTo>
                    <a:pt x="277" y="278"/>
                    <a:pt x="277" y="278"/>
                    <a:pt x="277" y="278"/>
                  </a:cubicBezTo>
                  <a:cubicBezTo>
                    <a:pt x="277" y="278"/>
                    <a:pt x="278" y="278"/>
                    <a:pt x="278" y="277"/>
                  </a:cubicBezTo>
                  <a:cubicBezTo>
                    <a:pt x="399" y="333"/>
                    <a:pt x="399" y="333"/>
                    <a:pt x="399" y="333"/>
                  </a:cubicBezTo>
                  <a:cubicBezTo>
                    <a:pt x="391" y="350"/>
                    <a:pt x="380" y="364"/>
                    <a:pt x="367" y="377"/>
                  </a:cubicBezTo>
                  <a:lnTo>
                    <a:pt x="280" y="283"/>
                  </a:lnTo>
                  <a:close/>
                  <a:moveTo>
                    <a:pt x="279" y="276"/>
                  </a:moveTo>
                  <a:cubicBezTo>
                    <a:pt x="279" y="275"/>
                    <a:pt x="279" y="274"/>
                    <a:pt x="279" y="273"/>
                  </a:cubicBezTo>
                  <a:cubicBezTo>
                    <a:pt x="412" y="277"/>
                    <a:pt x="412" y="277"/>
                    <a:pt x="412" y="277"/>
                  </a:cubicBezTo>
                  <a:cubicBezTo>
                    <a:pt x="412" y="297"/>
                    <a:pt x="407" y="315"/>
                    <a:pt x="400" y="331"/>
                  </a:cubicBezTo>
                  <a:lnTo>
                    <a:pt x="279" y="276"/>
                  </a:lnTo>
                  <a:close/>
                  <a:moveTo>
                    <a:pt x="211" y="408"/>
                  </a:moveTo>
                  <a:cubicBezTo>
                    <a:pt x="188" y="463"/>
                    <a:pt x="188" y="463"/>
                    <a:pt x="188" y="463"/>
                  </a:cubicBezTo>
                  <a:cubicBezTo>
                    <a:pt x="181" y="460"/>
                    <a:pt x="174" y="457"/>
                    <a:pt x="168" y="453"/>
                  </a:cubicBezTo>
                  <a:cubicBezTo>
                    <a:pt x="196" y="401"/>
                    <a:pt x="196" y="401"/>
                    <a:pt x="196" y="401"/>
                  </a:cubicBezTo>
                  <a:cubicBezTo>
                    <a:pt x="201" y="403"/>
                    <a:pt x="206" y="406"/>
                    <a:pt x="211" y="408"/>
                  </a:cubicBezTo>
                  <a:close/>
                  <a:moveTo>
                    <a:pt x="213" y="409"/>
                  </a:moveTo>
                  <a:cubicBezTo>
                    <a:pt x="228" y="415"/>
                    <a:pt x="245" y="419"/>
                    <a:pt x="262" y="419"/>
                  </a:cubicBezTo>
                  <a:cubicBezTo>
                    <a:pt x="260" y="479"/>
                    <a:pt x="260" y="479"/>
                    <a:pt x="260" y="479"/>
                  </a:cubicBezTo>
                  <a:cubicBezTo>
                    <a:pt x="236" y="478"/>
                    <a:pt x="212" y="473"/>
                    <a:pt x="190" y="464"/>
                  </a:cubicBezTo>
                  <a:lnTo>
                    <a:pt x="213" y="409"/>
                  </a:lnTo>
                  <a:close/>
                  <a:moveTo>
                    <a:pt x="264" y="419"/>
                  </a:moveTo>
                  <a:cubicBezTo>
                    <a:pt x="265" y="419"/>
                    <a:pt x="266" y="419"/>
                    <a:pt x="268" y="419"/>
                  </a:cubicBezTo>
                  <a:cubicBezTo>
                    <a:pt x="285" y="419"/>
                    <a:pt x="301" y="416"/>
                    <a:pt x="316" y="411"/>
                  </a:cubicBezTo>
                  <a:cubicBezTo>
                    <a:pt x="336" y="468"/>
                    <a:pt x="336" y="468"/>
                    <a:pt x="336" y="468"/>
                  </a:cubicBezTo>
                  <a:cubicBezTo>
                    <a:pt x="314" y="475"/>
                    <a:pt x="291" y="479"/>
                    <a:pt x="268" y="479"/>
                  </a:cubicBezTo>
                  <a:cubicBezTo>
                    <a:pt x="266" y="479"/>
                    <a:pt x="264" y="479"/>
                    <a:pt x="262" y="479"/>
                  </a:cubicBezTo>
                  <a:lnTo>
                    <a:pt x="264" y="419"/>
                  </a:lnTo>
                  <a:close/>
                  <a:moveTo>
                    <a:pt x="318" y="411"/>
                  </a:moveTo>
                  <a:cubicBezTo>
                    <a:pt x="325" y="408"/>
                    <a:pt x="332" y="405"/>
                    <a:pt x="339" y="401"/>
                  </a:cubicBezTo>
                  <a:cubicBezTo>
                    <a:pt x="368" y="453"/>
                    <a:pt x="368" y="453"/>
                    <a:pt x="368" y="453"/>
                  </a:cubicBezTo>
                  <a:cubicBezTo>
                    <a:pt x="358" y="459"/>
                    <a:pt x="348" y="463"/>
                    <a:pt x="338" y="467"/>
                  </a:cubicBezTo>
                  <a:lnTo>
                    <a:pt x="318" y="411"/>
                  </a:lnTo>
                  <a:close/>
                  <a:moveTo>
                    <a:pt x="462" y="199"/>
                  </a:moveTo>
                  <a:cubicBezTo>
                    <a:pt x="406" y="220"/>
                    <a:pt x="406" y="220"/>
                    <a:pt x="406" y="220"/>
                  </a:cubicBezTo>
                  <a:cubicBezTo>
                    <a:pt x="399" y="202"/>
                    <a:pt x="389" y="185"/>
                    <a:pt x="376" y="171"/>
                  </a:cubicBezTo>
                  <a:cubicBezTo>
                    <a:pt x="420" y="131"/>
                    <a:pt x="420" y="131"/>
                    <a:pt x="420" y="131"/>
                  </a:cubicBezTo>
                  <a:cubicBezTo>
                    <a:pt x="438" y="151"/>
                    <a:pt x="453" y="174"/>
                    <a:pt x="462" y="199"/>
                  </a:cubicBezTo>
                  <a:close/>
                  <a:moveTo>
                    <a:pt x="414" y="125"/>
                  </a:moveTo>
                  <a:cubicBezTo>
                    <a:pt x="416" y="126"/>
                    <a:pt x="417" y="128"/>
                    <a:pt x="418" y="129"/>
                  </a:cubicBezTo>
                  <a:cubicBezTo>
                    <a:pt x="375" y="170"/>
                    <a:pt x="375" y="170"/>
                    <a:pt x="375" y="170"/>
                  </a:cubicBezTo>
                  <a:cubicBezTo>
                    <a:pt x="361" y="155"/>
                    <a:pt x="344" y="143"/>
                    <a:pt x="325" y="135"/>
                  </a:cubicBezTo>
                  <a:cubicBezTo>
                    <a:pt x="347" y="80"/>
                    <a:pt x="347" y="80"/>
                    <a:pt x="347" y="80"/>
                  </a:cubicBezTo>
                  <a:cubicBezTo>
                    <a:pt x="372" y="90"/>
                    <a:pt x="395" y="106"/>
                    <a:pt x="414" y="125"/>
                  </a:cubicBezTo>
                  <a:close/>
                  <a:moveTo>
                    <a:pt x="346" y="79"/>
                  </a:moveTo>
                  <a:cubicBezTo>
                    <a:pt x="323" y="135"/>
                    <a:pt x="323" y="135"/>
                    <a:pt x="323" y="135"/>
                  </a:cubicBezTo>
                  <a:cubicBezTo>
                    <a:pt x="308" y="128"/>
                    <a:pt x="291" y="125"/>
                    <a:pt x="274" y="124"/>
                  </a:cubicBezTo>
                  <a:cubicBezTo>
                    <a:pt x="275" y="64"/>
                    <a:pt x="275" y="64"/>
                    <a:pt x="275" y="64"/>
                  </a:cubicBezTo>
                  <a:cubicBezTo>
                    <a:pt x="300" y="65"/>
                    <a:pt x="324" y="70"/>
                    <a:pt x="346" y="79"/>
                  </a:cubicBezTo>
                  <a:close/>
                  <a:moveTo>
                    <a:pt x="268" y="64"/>
                  </a:moveTo>
                  <a:cubicBezTo>
                    <a:pt x="270" y="64"/>
                    <a:pt x="272" y="64"/>
                    <a:pt x="274" y="64"/>
                  </a:cubicBezTo>
                  <a:cubicBezTo>
                    <a:pt x="272" y="124"/>
                    <a:pt x="272" y="124"/>
                    <a:pt x="272" y="124"/>
                  </a:cubicBezTo>
                  <a:cubicBezTo>
                    <a:pt x="270" y="124"/>
                    <a:pt x="269" y="124"/>
                    <a:pt x="268" y="124"/>
                  </a:cubicBezTo>
                  <a:cubicBezTo>
                    <a:pt x="251" y="124"/>
                    <a:pt x="235" y="127"/>
                    <a:pt x="220" y="132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21" y="68"/>
                    <a:pt x="244" y="64"/>
                    <a:pt x="268" y="64"/>
                  </a:cubicBezTo>
                  <a:close/>
                  <a:moveTo>
                    <a:pt x="198" y="76"/>
                  </a:moveTo>
                  <a:cubicBezTo>
                    <a:pt x="218" y="133"/>
                    <a:pt x="218" y="133"/>
                    <a:pt x="218" y="133"/>
                  </a:cubicBezTo>
                  <a:cubicBezTo>
                    <a:pt x="199" y="140"/>
                    <a:pt x="182" y="150"/>
                    <a:pt x="168" y="163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48" y="100"/>
                    <a:pt x="172" y="86"/>
                    <a:pt x="198" y="76"/>
                  </a:cubicBezTo>
                  <a:close/>
                  <a:moveTo>
                    <a:pt x="121" y="125"/>
                  </a:moveTo>
                  <a:cubicBezTo>
                    <a:pt x="122" y="124"/>
                    <a:pt x="124" y="122"/>
                    <a:pt x="125" y="121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53" y="177"/>
                    <a:pt x="142" y="192"/>
                    <a:pt x="134" y="209"/>
                  </a:cubicBezTo>
                  <a:cubicBezTo>
                    <a:pt x="80" y="184"/>
                    <a:pt x="80" y="184"/>
                    <a:pt x="80" y="184"/>
                  </a:cubicBezTo>
                  <a:cubicBezTo>
                    <a:pt x="90" y="162"/>
                    <a:pt x="104" y="142"/>
                    <a:pt x="121" y="125"/>
                  </a:cubicBezTo>
                  <a:close/>
                  <a:moveTo>
                    <a:pt x="79" y="186"/>
                  </a:moveTo>
                  <a:cubicBezTo>
                    <a:pt x="133" y="211"/>
                    <a:pt x="133" y="211"/>
                    <a:pt x="133" y="211"/>
                  </a:cubicBezTo>
                  <a:cubicBezTo>
                    <a:pt x="126" y="228"/>
                    <a:pt x="121" y="246"/>
                    <a:pt x="120" y="266"/>
                  </a:cubicBezTo>
                  <a:cubicBezTo>
                    <a:pt x="61" y="264"/>
                    <a:pt x="61" y="264"/>
                    <a:pt x="61" y="264"/>
                  </a:cubicBezTo>
                  <a:cubicBezTo>
                    <a:pt x="62" y="237"/>
                    <a:pt x="68" y="210"/>
                    <a:pt x="79" y="186"/>
                  </a:cubicBezTo>
                  <a:close/>
                  <a:moveTo>
                    <a:pt x="60" y="272"/>
                  </a:moveTo>
                  <a:cubicBezTo>
                    <a:pt x="60" y="270"/>
                    <a:pt x="60" y="268"/>
                    <a:pt x="60" y="266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20" y="269"/>
                    <a:pt x="120" y="270"/>
                    <a:pt x="120" y="272"/>
                  </a:cubicBezTo>
                  <a:cubicBezTo>
                    <a:pt x="120" y="289"/>
                    <a:pt x="123" y="306"/>
                    <a:pt x="129" y="322"/>
                  </a:cubicBezTo>
                  <a:cubicBezTo>
                    <a:pt x="73" y="342"/>
                    <a:pt x="73" y="342"/>
                    <a:pt x="73" y="342"/>
                  </a:cubicBezTo>
                  <a:cubicBezTo>
                    <a:pt x="65" y="320"/>
                    <a:pt x="60" y="296"/>
                    <a:pt x="60" y="272"/>
                  </a:cubicBezTo>
                  <a:close/>
                  <a:moveTo>
                    <a:pt x="73" y="344"/>
                  </a:moveTo>
                  <a:cubicBezTo>
                    <a:pt x="130" y="324"/>
                    <a:pt x="130" y="324"/>
                    <a:pt x="130" y="324"/>
                  </a:cubicBezTo>
                  <a:cubicBezTo>
                    <a:pt x="136" y="342"/>
                    <a:pt x="147" y="358"/>
                    <a:pt x="159" y="372"/>
                  </a:cubicBezTo>
                  <a:cubicBezTo>
                    <a:pt x="116" y="413"/>
                    <a:pt x="116" y="413"/>
                    <a:pt x="116" y="413"/>
                  </a:cubicBezTo>
                  <a:cubicBezTo>
                    <a:pt x="97" y="393"/>
                    <a:pt x="83" y="369"/>
                    <a:pt x="73" y="344"/>
                  </a:cubicBezTo>
                  <a:close/>
                  <a:moveTo>
                    <a:pt x="121" y="418"/>
                  </a:moveTo>
                  <a:cubicBezTo>
                    <a:pt x="120" y="417"/>
                    <a:pt x="118" y="416"/>
                    <a:pt x="117" y="414"/>
                  </a:cubicBezTo>
                  <a:cubicBezTo>
                    <a:pt x="161" y="373"/>
                    <a:pt x="161" y="373"/>
                    <a:pt x="161" y="373"/>
                  </a:cubicBezTo>
                  <a:cubicBezTo>
                    <a:pt x="170" y="383"/>
                    <a:pt x="181" y="392"/>
                    <a:pt x="193" y="399"/>
                  </a:cubicBezTo>
                  <a:cubicBezTo>
                    <a:pt x="164" y="452"/>
                    <a:pt x="164" y="452"/>
                    <a:pt x="164" y="452"/>
                  </a:cubicBezTo>
                  <a:cubicBezTo>
                    <a:pt x="149" y="443"/>
                    <a:pt x="134" y="431"/>
                    <a:pt x="121" y="418"/>
                  </a:cubicBezTo>
                  <a:close/>
                  <a:moveTo>
                    <a:pt x="474" y="649"/>
                  </a:moveTo>
                  <a:cubicBezTo>
                    <a:pt x="62" y="649"/>
                    <a:pt x="62" y="649"/>
                    <a:pt x="62" y="649"/>
                  </a:cubicBezTo>
                  <a:cubicBezTo>
                    <a:pt x="165" y="459"/>
                    <a:pt x="165" y="459"/>
                    <a:pt x="165" y="459"/>
                  </a:cubicBezTo>
                  <a:cubicBezTo>
                    <a:pt x="172" y="462"/>
                    <a:pt x="179" y="466"/>
                    <a:pt x="186" y="469"/>
                  </a:cubicBezTo>
                  <a:cubicBezTo>
                    <a:pt x="179" y="486"/>
                    <a:pt x="179" y="486"/>
                    <a:pt x="179" y="486"/>
                  </a:cubicBezTo>
                  <a:cubicBezTo>
                    <a:pt x="177" y="486"/>
                    <a:pt x="175" y="485"/>
                    <a:pt x="173" y="485"/>
                  </a:cubicBezTo>
                  <a:cubicBezTo>
                    <a:pt x="164" y="485"/>
                    <a:pt x="156" y="493"/>
                    <a:pt x="156" y="503"/>
                  </a:cubicBezTo>
                  <a:cubicBezTo>
                    <a:pt x="156" y="512"/>
                    <a:pt x="164" y="520"/>
                    <a:pt x="173" y="520"/>
                  </a:cubicBezTo>
                  <a:cubicBezTo>
                    <a:pt x="183" y="520"/>
                    <a:pt x="191" y="512"/>
                    <a:pt x="191" y="503"/>
                  </a:cubicBezTo>
                  <a:cubicBezTo>
                    <a:pt x="191" y="496"/>
                    <a:pt x="186" y="490"/>
                    <a:pt x="180" y="487"/>
                  </a:cubicBezTo>
                  <a:cubicBezTo>
                    <a:pt x="188" y="469"/>
                    <a:pt x="188" y="469"/>
                    <a:pt x="188" y="469"/>
                  </a:cubicBezTo>
                  <a:cubicBezTo>
                    <a:pt x="210" y="479"/>
                    <a:pt x="235" y="484"/>
                    <a:pt x="260" y="485"/>
                  </a:cubicBezTo>
                  <a:cubicBezTo>
                    <a:pt x="259" y="503"/>
                    <a:pt x="259" y="503"/>
                    <a:pt x="259" y="503"/>
                  </a:cubicBezTo>
                  <a:cubicBezTo>
                    <a:pt x="250" y="503"/>
                    <a:pt x="242" y="511"/>
                    <a:pt x="242" y="520"/>
                  </a:cubicBezTo>
                  <a:cubicBezTo>
                    <a:pt x="242" y="530"/>
                    <a:pt x="250" y="537"/>
                    <a:pt x="260" y="537"/>
                  </a:cubicBezTo>
                  <a:cubicBezTo>
                    <a:pt x="269" y="537"/>
                    <a:pt x="277" y="530"/>
                    <a:pt x="277" y="520"/>
                  </a:cubicBezTo>
                  <a:cubicBezTo>
                    <a:pt x="277" y="511"/>
                    <a:pt x="270" y="504"/>
                    <a:pt x="261" y="503"/>
                  </a:cubicBezTo>
                  <a:cubicBezTo>
                    <a:pt x="262" y="485"/>
                    <a:pt x="262" y="485"/>
                    <a:pt x="262" y="485"/>
                  </a:cubicBezTo>
                  <a:cubicBezTo>
                    <a:pt x="264" y="485"/>
                    <a:pt x="266" y="485"/>
                    <a:pt x="268" y="485"/>
                  </a:cubicBezTo>
                  <a:cubicBezTo>
                    <a:pt x="292" y="485"/>
                    <a:pt x="316" y="481"/>
                    <a:pt x="338" y="473"/>
                  </a:cubicBezTo>
                  <a:cubicBezTo>
                    <a:pt x="344" y="491"/>
                    <a:pt x="344" y="491"/>
                    <a:pt x="344" y="491"/>
                  </a:cubicBezTo>
                  <a:cubicBezTo>
                    <a:pt x="338" y="494"/>
                    <a:pt x="334" y="499"/>
                    <a:pt x="334" y="506"/>
                  </a:cubicBezTo>
                  <a:cubicBezTo>
                    <a:pt x="334" y="516"/>
                    <a:pt x="342" y="524"/>
                    <a:pt x="351" y="524"/>
                  </a:cubicBezTo>
                  <a:cubicBezTo>
                    <a:pt x="361" y="524"/>
                    <a:pt x="369" y="516"/>
                    <a:pt x="369" y="506"/>
                  </a:cubicBezTo>
                  <a:cubicBezTo>
                    <a:pt x="369" y="497"/>
                    <a:pt x="361" y="489"/>
                    <a:pt x="351" y="489"/>
                  </a:cubicBezTo>
                  <a:cubicBezTo>
                    <a:pt x="349" y="489"/>
                    <a:pt x="347" y="489"/>
                    <a:pt x="346" y="490"/>
                  </a:cubicBezTo>
                  <a:cubicBezTo>
                    <a:pt x="340" y="472"/>
                    <a:pt x="340" y="472"/>
                    <a:pt x="340" y="472"/>
                  </a:cubicBezTo>
                  <a:cubicBezTo>
                    <a:pt x="350" y="469"/>
                    <a:pt x="361" y="464"/>
                    <a:pt x="371" y="459"/>
                  </a:cubicBezTo>
                  <a:lnTo>
                    <a:pt x="474" y="649"/>
                  </a:lnTo>
                  <a:close/>
                  <a:moveTo>
                    <a:pt x="371" y="452"/>
                  </a:moveTo>
                  <a:cubicBezTo>
                    <a:pt x="343" y="399"/>
                    <a:pt x="343" y="399"/>
                    <a:pt x="343" y="399"/>
                  </a:cubicBezTo>
                  <a:cubicBezTo>
                    <a:pt x="352" y="394"/>
                    <a:pt x="360" y="387"/>
                    <a:pt x="368" y="380"/>
                  </a:cubicBezTo>
                  <a:cubicBezTo>
                    <a:pt x="409" y="424"/>
                    <a:pt x="409" y="424"/>
                    <a:pt x="409" y="424"/>
                  </a:cubicBezTo>
                  <a:cubicBezTo>
                    <a:pt x="397" y="434"/>
                    <a:pt x="385" y="444"/>
                    <a:pt x="371" y="452"/>
                  </a:cubicBezTo>
                  <a:close/>
                  <a:moveTo>
                    <a:pt x="414" y="418"/>
                  </a:moveTo>
                  <a:cubicBezTo>
                    <a:pt x="413" y="420"/>
                    <a:pt x="412" y="421"/>
                    <a:pt x="410" y="422"/>
                  </a:cubicBezTo>
                  <a:cubicBezTo>
                    <a:pt x="369" y="379"/>
                    <a:pt x="369" y="379"/>
                    <a:pt x="369" y="379"/>
                  </a:cubicBezTo>
                  <a:cubicBezTo>
                    <a:pt x="383" y="366"/>
                    <a:pt x="394" y="351"/>
                    <a:pt x="401" y="334"/>
                  </a:cubicBezTo>
                  <a:cubicBezTo>
                    <a:pt x="456" y="359"/>
                    <a:pt x="456" y="359"/>
                    <a:pt x="456" y="359"/>
                  </a:cubicBezTo>
                  <a:cubicBezTo>
                    <a:pt x="446" y="381"/>
                    <a:pt x="432" y="401"/>
                    <a:pt x="414" y="418"/>
                  </a:cubicBezTo>
                  <a:close/>
                  <a:moveTo>
                    <a:pt x="457" y="358"/>
                  </a:moveTo>
                  <a:cubicBezTo>
                    <a:pt x="402" y="333"/>
                    <a:pt x="402" y="333"/>
                    <a:pt x="402" y="333"/>
                  </a:cubicBezTo>
                  <a:cubicBezTo>
                    <a:pt x="410" y="316"/>
                    <a:pt x="415" y="297"/>
                    <a:pt x="415" y="277"/>
                  </a:cubicBezTo>
                  <a:cubicBezTo>
                    <a:pt x="475" y="279"/>
                    <a:pt x="475" y="279"/>
                    <a:pt x="475" y="279"/>
                  </a:cubicBezTo>
                  <a:cubicBezTo>
                    <a:pt x="474" y="307"/>
                    <a:pt x="468" y="333"/>
                    <a:pt x="457" y="358"/>
                  </a:cubicBez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Rectangle 407"/>
            <p:cNvSpPr>
              <a:spLocks noChangeArrowheads="1"/>
            </p:cNvSpPr>
            <p:nvPr/>
          </p:nvSpPr>
          <p:spPr bwMode="auto">
            <a:xfrm>
              <a:off x="11368948" y="6389173"/>
              <a:ext cx="234413" cy="3464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Rectangle 408"/>
            <p:cNvSpPr>
              <a:spLocks noChangeArrowheads="1"/>
            </p:cNvSpPr>
            <p:nvPr/>
          </p:nvSpPr>
          <p:spPr bwMode="auto">
            <a:xfrm>
              <a:off x="11569502" y="6524612"/>
              <a:ext cx="237018" cy="20836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" name="Rectangle 411"/>
            <p:cNvSpPr>
              <a:spLocks noChangeArrowheads="1"/>
            </p:cNvSpPr>
            <p:nvPr/>
          </p:nvSpPr>
          <p:spPr bwMode="auto">
            <a:xfrm>
              <a:off x="11486155" y="6058390"/>
              <a:ext cx="166694" cy="67719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" name="Freeform 412"/>
            <p:cNvSpPr>
              <a:spLocks/>
            </p:cNvSpPr>
            <p:nvPr/>
          </p:nvSpPr>
          <p:spPr bwMode="auto">
            <a:xfrm>
              <a:off x="11707545" y="6342291"/>
              <a:ext cx="221390" cy="393294"/>
            </a:xfrm>
            <a:custGeom>
              <a:avLst/>
              <a:gdLst>
                <a:gd name="T0" fmla="*/ 85 w 85"/>
                <a:gd name="T1" fmla="*/ 151 h 151"/>
                <a:gd name="T2" fmla="*/ 0 w 85"/>
                <a:gd name="T3" fmla="*/ 151 h 151"/>
                <a:gd name="T4" fmla="*/ 0 w 85"/>
                <a:gd name="T5" fmla="*/ 0 h 151"/>
                <a:gd name="T6" fmla="*/ 64 w 85"/>
                <a:gd name="T7" fmla="*/ 0 h 151"/>
                <a:gd name="T8" fmla="*/ 85 w 8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151">
                  <a:moveTo>
                    <a:pt x="85" y="151"/>
                  </a:moveTo>
                  <a:lnTo>
                    <a:pt x="0" y="151"/>
                  </a:lnTo>
                  <a:lnTo>
                    <a:pt x="0" y="0"/>
                  </a:lnTo>
                  <a:lnTo>
                    <a:pt x="64" y="0"/>
                  </a:lnTo>
                  <a:lnTo>
                    <a:pt x="85" y="151"/>
                  </a:lnTo>
                  <a:close/>
                </a:path>
              </a:pathLst>
            </a:cu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Rectangle 414"/>
            <p:cNvSpPr>
              <a:spLocks noChangeArrowheads="1"/>
            </p:cNvSpPr>
            <p:nvPr/>
          </p:nvSpPr>
          <p:spPr bwMode="auto">
            <a:xfrm>
              <a:off x="11611176" y="5917742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Rectangle 415"/>
            <p:cNvSpPr>
              <a:spLocks noChangeArrowheads="1"/>
            </p:cNvSpPr>
            <p:nvPr/>
          </p:nvSpPr>
          <p:spPr bwMode="auto">
            <a:xfrm>
              <a:off x="11629408" y="5956811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" name="Rectangle 416"/>
            <p:cNvSpPr>
              <a:spLocks noChangeArrowheads="1"/>
            </p:cNvSpPr>
            <p:nvPr/>
          </p:nvSpPr>
          <p:spPr bwMode="auto">
            <a:xfrm>
              <a:off x="11592943" y="5982857"/>
              <a:ext cx="5209" cy="18492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" name="Rectangle 417"/>
            <p:cNvSpPr>
              <a:spLocks noChangeArrowheads="1"/>
            </p:cNvSpPr>
            <p:nvPr/>
          </p:nvSpPr>
          <p:spPr bwMode="auto">
            <a:xfrm>
              <a:off x="11715359" y="6308431"/>
              <a:ext cx="80742" cy="6251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Rectangle 418"/>
            <p:cNvSpPr>
              <a:spLocks noChangeArrowheads="1"/>
            </p:cNvSpPr>
            <p:nvPr/>
          </p:nvSpPr>
          <p:spPr bwMode="auto">
            <a:xfrm>
              <a:off x="11725778" y="6287594"/>
              <a:ext cx="59906" cy="33860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Rectangle 419"/>
            <p:cNvSpPr>
              <a:spLocks noChangeArrowheads="1"/>
            </p:cNvSpPr>
            <p:nvPr/>
          </p:nvSpPr>
          <p:spPr bwMode="auto">
            <a:xfrm>
              <a:off x="11827357" y="6326663"/>
              <a:ext cx="15628" cy="2604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" name="Rectangle 420"/>
            <p:cNvSpPr>
              <a:spLocks noChangeArrowheads="1"/>
            </p:cNvSpPr>
            <p:nvPr/>
          </p:nvSpPr>
          <p:spPr bwMode="auto">
            <a:xfrm>
              <a:off x="11848194" y="6303222"/>
              <a:ext cx="20837" cy="49487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" name="Rectangle 375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solidFill>
              <a:srgbClr val="B5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Rectangle 376"/>
            <p:cNvSpPr>
              <a:spLocks noChangeArrowheads="1"/>
            </p:cNvSpPr>
            <p:nvPr/>
          </p:nvSpPr>
          <p:spPr bwMode="auto">
            <a:xfrm>
              <a:off x="8483059" y="6644423"/>
              <a:ext cx="3607362" cy="859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Rectangle 378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1" name="Rectangle 379"/>
            <p:cNvSpPr>
              <a:spLocks noChangeArrowheads="1"/>
            </p:cNvSpPr>
            <p:nvPr/>
          </p:nvSpPr>
          <p:spPr bwMode="auto">
            <a:xfrm>
              <a:off x="8352829" y="6722561"/>
              <a:ext cx="3787079" cy="135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2" name="Rectangle 401"/>
            <p:cNvSpPr>
              <a:spLocks noChangeArrowheads="1"/>
            </p:cNvSpPr>
            <p:nvPr/>
          </p:nvSpPr>
          <p:spPr bwMode="auto">
            <a:xfrm>
              <a:off x="8628916" y="6615773"/>
              <a:ext cx="151066" cy="11981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3" name="Rectangle 403"/>
            <p:cNvSpPr>
              <a:spLocks noChangeArrowheads="1"/>
            </p:cNvSpPr>
            <p:nvPr/>
          </p:nvSpPr>
          <p:spPr bwMode="auto">
            <a:xfrm>
              <a:off x="8483059" y="6675678"/>
              <a:ext cx="125020" cy="59906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4" name="Rectangle 404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5" name="Rectangle 405"/>
            <p:cNvSpPr>
              <a:spLocks noChangeArrowheads="1"/>
            </p:cNvSpPr>
            <p:nvPr/>
          </p:nvSpPr>
          <p:spPr bwMode="auto">
            <a:xfrm>
              <a:off x="9918190" y="6602750"/>
              <a:ext cx="1528896" cy="1328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6" name="Rectangle 413"/>
            <p:cNvSpPr>
              <a:spLocks noChangeArrowheads="1"/>
            </p:cNvSpPr>
            <p:nvPr/>
          </p:nvSpPr>
          <p:spPr bwMode="auto">
            <a:xfrm>
              <a:off x="11829961" y="6644423"/>
              <a:ext cx="195345" cy="91161"/>
            </a:xfrm>
            <a:prstGeom prst="rect">
              <a:avLst/>
            </a:prstGeom>
            <a:solidFill>
              <a:srgbClr val="95A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77" name="Group 176"/>
            <p:cNvGrpSpPr/>
            <p:nvPr/>
          </p:nvGrpSpPr>
          <p:grpSpPr>
            <a:xfrm>
              <a:off x="8303342" y="6152155"/>
              <a:ext cx="3888658" cy="705845"/>
              <a:chOff x="8303342" y="7127515"/>
              <a:chExt cx="3888658" cy="705845"/>
            </a:xfrm>
          </p:grpSpPr>
          <p:grpSp>
            <p:nvGrpSpPr>
              <p:cNvPr id="178" name="Group 177"/>
              <p:cNvGrpSpPr/>
              <p:nvPr/>
            </p:nvGrpSpPr>
            <p:grpSpPr>
              <a:xfrm>
                <a:off x="10630131" y="7166147"/>
                <a:ext cx="244832" cy="663449"/>
                <a:chOff x="11935879" y="4935839"/>
                <a:chExt cx="244832" cy="663449"/>
              </a:xfrm>
            </p:grpSpPr>
            <p:sp>
              <p:nvSpPr>
                <p:cNvPr id="298" name="Rectangle 421"/>
                <p:cNvSpPr>
                  <a:spLocks noChangeArrowheads="1"/>
                </p:cNvSpPr>
                <p:nvPr/>
              </p:nvSpPr>
              <p:spPr bwMode="auto">
                <a:xfrm>
                  <a:off x="11960315" y="4953349"/>
                  <a:ext cx="200554" cy="645939"/>
                </a:xfrm>
                <a:prstGeom prst="rect">
                  <a:avLst/>
                </a:prstGeom>
                <a:solidFill>
                  <a:srgbClr val="6582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9" name="Rectangle 422"/>
                <p:cNvSpPr>
                  <a:spLocks noChangeArrowheads="1"/>
                </p:cNvSpPr>
                <p:nvPr/>
              </p:nvSpPr>
              <p:spPr bwMode="auto">
                <a:xfrm>
                  <a:off x="11956716" y="4951467"/>
                  <a:ext cx="200554" cy="64593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grpSp>
              <p:nvGrpSpPr>
                <p:cNvPr id="300" name="Group 299"/>
                <p:cNvGrpSpPr/>
                <p:nvPr/>
              </p:nvGrpSpPr>
              <p:grpSpPr>
                <a:xfrm>
                  <a:off x="11935879" y="4935839"/>
                  <a:ext cx="244832" cy="557384"/>
                  <a:chOff x="11935879" y="4935839"/>
                  <a:chExt cx="244832" cy="557384"/>
                </a:xfrm>
                <a:solidFill>
                  <a:srgbClr val="113037"/>
                </a:solidFill>
              </p:grpSpPr>
              <p:sp>
                <p:nvSpPr>
                  <p:cNvPr id="301" name="Rectangle 409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2" name="Rectangle 410"/>
                  <p:cNvSpPr>
                    <a:spLocks noChangeArrowheads="1"/>
                  </p:cNvSpPr>
                  <p:nvPr/>
                </p:nvSpPr>
                <p:spPr bwMode="auto">
                  <a:xfrm>
                    <a:off x="11959321" y="5232763"/>
                    <a:ext cx="132834" cy="174508"/>
                  </a:xfrm>
                  <a:prstGeom prst="rect">
                    <a:avLst/>
                  </a:prstGeom>
                  <a:solidFill>
                    <a:srgbClr val="173F49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3" name="Rectangle 423"/>
                  <p:cNvSpPr>
                    <a:spLocks noChangeArrowheads="1"/>
                  </p:cNvSpPr>
                  <p:nvPr/>
                </p:nvSpPr>
                <p:spPr bwMode="auto">
                  <a:xfrm>
                    <a:off x="11943693" y="4954072"/>
                    <a:ext cx="229204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4" name="Rectangle 424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04523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5" name="Rectangle 425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133788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6" name="Rectangle 426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222345"/>
                    <a:ext cx="218786" cy="5209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7" name="Rectangle 427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08296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8" name="Rectangle 428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396852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09" name="Rectangle 429"/>
                  <p:cNvSpPr>
                    <a:spLocks noChangeArrowheads="1"/>
                  </p:cNvSpPr>
                  <p:nvPr/>
                </p:nvSpPr>
                <p:spPr bwMode="auto">
                  <a:xfrm>
                    <a:off x="11948902" y="5485409"/>
                    <a:ext cx="218786" cy="7814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0" name="Rectangle 430"/>
                  <p:cNvSpPr>
                    <a:spLocks noChangeArrowheads="1"/>
                  </p:cNvSpPr>
                  <p:nvPr/>
                </p:nvSpPr>
                <p:spPr bwMode="auto">
                  <a:xfrm>
                    <a:off x="11935879" y="4935839"/>
                    <a:ext cx="244832" cy="1823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1" name="Rectangle 43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4982722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2" name="Rectangle 432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3" name="Rectangle 433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4" name="Rectangle 43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4982722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5" name="Rectangle 43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068674"/>
                    <a:ext cx="23441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6" name="Rectangle 43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7" name="Rectangle 43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8" name="Rectangle 43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19" name="Rectangle 439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068674"/>
                    <a:ext cx="20837" cy="49487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0" name="Rectangle 440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154625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1" name="Rectangle 441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2" name="Rectangle 442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3" name="Rectangle 443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4" name="Rectangle 444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154625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5" name="Rectangle 445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243181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6" name="Rectangle 446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7" name="Rectangle 447"/>
                  <p:cNvSpPr>
                    <a:spLocks noChangeArrowheads="1"/>
                  </p:cNvSpPr>
                  <p:nvPr/>
                </p:nvSpPr>
                <p:spPr bwMode="auto">
                  <a:xfrm>
                    <a:off x="12021831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8" name="Rectangle 448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29" name="Rectangle 449"/>
                  <p:cNvSpPr>
                    <a:spLocks noChangeArrowheads="1"/>
                  </p:cNvSpPr>
                  <p:nvPr/>
                </p:nvSpPr>
                <p:spPr bwMode="auto">
                  <a:xfrm>
                    <a:off x="12068714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0" name="Rectangle 450"/>
                  <p:cNvSpPr>
                    <a:spLocks noChangeArrowheads="1"/>
                  </p:cNvSpPr>
                  <p:nvPr/>
                </p:nvSpPr>
                <p:spPr bwMode="auto">
                  <a:xfrm>
                    <a:off x="12115596" y="5243181"/>
                    <a:ext cx="20837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  <p:sp>
                <p:nvSpPr>
                  <p:cNvPr id="331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11974948" y="5331738"/>
                    <a:ext cx="23441" cy="52092"/>
                  </a:xfrm>
                  <a:prstGeom prst="rect">
                    <a:avLst/>
                  </a:pr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/>
                  </a:p>
                </p:txBody>
              </p:sp>
            </p:grpSp>
          </p:grpSp>
          <p:grpSp>
            <p:nvGrpSpPr>
              <p:cNvPr id="179" name="Group 178"/>
              <p:cNvGrpSpPr/>
              <p:nvPr/>
            </p:nvGrpSpPr>
            <p:grpSpPr>
              <a:xfrm>
                <a:off x="8303342" y="7127515"/>
                <a:ext cx="3888658" cy="705845"/>
                <a:chOff x="8303342" y="6152155"/>
                <a:chExt cx="3888658" cy="705845"/>
              </a:xfrm>
              <a:solidFill>
                <a:srgbClr val="113037"/>
              </a:solidFill>
            </p:grpSpPr>
            <p:sp>
              <p:nvSpPr>
                <p:cNvPr id="180" name="Rectangle 453"/>
                <p:cNvSpPr>
                  <a:spLocks noChangeArrowheads="1"/>
                </p:cNvSpPr>
                <p:nvPr/>
              </p:nvSpPr>
              <p:spPr bwMode="auto">
                <a:xfrm>
                  <a:off x="10670917" y="6592332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1" name="Rectangle 454"/>
                <p:cNvSpPr>
                  <a:spLocks noChangeArrowheads="1"/>
                </p:cNvSpPr>
                <p:nvPr/>
              </p:nvSpPr>
              <p:spPr bwMode="auto">
                <a:xfrm>
                  <a:off x="10717800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2" name="Rectangle 455"/>
                <p:cNvSpPr>
                  <a:spLocks noChangeArrowheads="1"/>
                </p:cNvSpPr>
                <p:nvPr/>
              </p:nvSpPr>
              <p:spPr bwMode="auto">
                <a:xfrm>
                  <a:off x="10764683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3" name="Rectangle 456"/>
                <p:cNvSpPr>
                  <a:spLocks noChangeArrowheads="1"/>
                </p:cNvSpPr>
                <p:nvPr/>
              </p:nvSpPr>
              <p:spPr bwMode="auto">
                <a:xfrm>
                  <a:off x="10811565" y="6592332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4" name="Rectangle 457"/>
                <p:cNvSpPr>
                  <a:spLocks noChangeArrowheads="1"/>
                </p:cNvSpPr>
                <p:nvPr/>
              </p:nvSpPr>
              <p:spPr bwMode="auto">
                <a:xfrm>
                  <a:off x="10670917" y="6678283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5" name="Rectangle 458"/>
                <p:cNvSpPr>
                  <a:spLocks noChangeArrowheads="1"/>
                </p:cNvSpPr>
                <p:nvPr/>
              </p:nvSpPr>
              <p:spPr bwMode="auto">
                <a:xfrm>
                  <a:off x="10717800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6" name="Rectangle 459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7" name="Rectangle 460"/>
                <p:cNvSpPr>
                  <a:spLocks noChangeArrowheads="1"/>
                </p:cNvSpPr>
                <p:nvPr/>
              </p:nvSpPr>
              <p:spPr bwMode="auto">
                <a:xfrm>
                  <a:off x="10764683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8" name="Rectangle 461"/>
                <p:cNvSpPr>
                  <a:spLocks noChangeArrowheads="1"/>
                </p:cNvSpPr>
                <p:nvPr/>
              </p:nvSpPr>
              <p:spPr bwMode="auto">
                <a:xfrm>
                  <a:off x="10811565" y="6678283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89" name="Rectangle 462"/>
                <p:cNvSpPr>
                  <a:spLocks noChangeArrowheads="1"/>
                </p:cNvSpPr>
                <p:nvPr/>
              </p:nvSpPr>
              <p:spPr bwMode="auto">
                <a:xfrm>
                  <a:off x="10670917" y="6766839"/>
                  <a:ext cx="23441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0" name="Rectangle 463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1" name="Rectangle 464"/>
                <p:cNvSpPr>
                  <a:spLocks noChangeArrowheads="1"/>
                </p:cNvSpPr>
                <p:nvPr/>
              </p:nvSpPr>
              <p:spPr bwMode="auto">
                <a:xfrm>
                  <a:off x="10717800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2" name="Rectangle 465"/>
                <p:cNvSpPr>
                  <a:spLocks noChangeArrowheads="1"/>
                </p:cNvSpPr>
                <p:nvPr/>
              </p:nvSpPr>
              <p:spPr bwMode="auto">
                <a:xfrm>
                  <a:off x="10764683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3" name="Rectangle 466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4" name="Rectangle 467"/>
                <p:cNvSpPr>
                  <a:spLocks noChangeArrowheads="1"/>
                </p:cNvSpPr>
                <p:nvPr/>
              </p:nvSpPr>
              <p:spPr bwMode="auto">
                <a:xfrm>
                  <a:off x="10811565" y="6766839"/>
                  <a:ext cx="208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5" name="Rectangle 468"/>
                <p:cNvSpPr>
                  <a:spLocks noChangeArrowheads="1"/>
                </p:cNvSpPr>
                <p:nvPr/>
              </p:nvSpPr>
              <p:spPr bwMode="auto">
                <a:xfrm>
                  <a:off x="10665708" y="6172992"/>
                  <a:ext cx="67719" cy="3386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6" name="Rectangle 469"/>
                <p:cNvSpPr>
                  <a:spLocks noChangeArrowheads="1"/>
                </p:cNvSpPr>
                <p:nvPr/>
              </p:nvSpPr>
              <p:spPr bwMode="auto">
                <a:xfrm>
                  <a:off x="10663104" y="6172992"/>
                  <a:ext cx="75533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7" name="Freeform 470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8" name="Freeform 471"/>
                <p:cNvSpPr>
                  <a:spLocks/>
                </p:cNvSpPr>
                <p:nvPr/>
              </p:nvSpPr>
              <p:spPr bwMode="auto">
                <a:xfrm>
                  <a:off x="10100511" y="6178201"/>
                  <a:ext cx="265669" cy="679799"/>
                </a:xfrm>
                <a:custGeom>
                  <a:avLst/>
                  <a:gdLst>
                    <a:gd name="T0" fmla="*/ 102 w 102"/>
                    <a:gd name="T1" fmla="*/ 261 h 261"/>
                    <a:gd name="T2" fmla="*/ 0 w 102"/>
                    <a:gd name="T3" fmla="*/ 261 h 261"/>
                    <a:gd name="T4" fmla="*/ 0 w 102"/>
                    <a:gd name="T5" fmla="*/ 25 h 261"/>
                    <a:gd name="T6" fmla="*/ 102 w 102"/>
                    <a:gd name="T7" fmla="*/ 0 h 261"/>
                    <a:gd name="T8" fmla="*/ 102 w 102"/>
                    <a:gd name="T9" fmla="*/ 261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2" h="261">
                      <a:moveTo>
                        <a:pt x="102" y="261"/>
                      </a:moveTo>
                      <a:lnTo>
                        <a:pt x="0" y="261"/>
                      </a:lnTo>
                      <a:lnTo>
                        <a:pt x="0" y="25"/>
                      </a:lnTo>
                      <a:lnTo>
                        <a:pt x="102" y="0"/>
                      </a:lnTo>
                      <a:lnTo>
                        <a:pt x="102" y="261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199" name="Rectangle 472"/>
                <p:cNvSpPr>
                  <a:spLocks noChangeArrowheads="1"/>
                </p:cNvSpPr>
                <p:nvPr/>
              </p:nvSpPr>
              <p:spPr bwMode="auto">
                <a:xfrm>
                  <a:off x="10090093" y="6232898"/>
                  <a:ext cx="23441" cy="62510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0" name="Rectangle 473"/>
                <p:cNvSpPr>
                  <a:spLocks noChangeArrowheads="1"/>
                </p:cNvSpPr>
                <p:nvPr/>
              </p:nvSpPr>
              <p:spPr bwMode="auto">
                <a:xfrm>
                  <a:off x="10155208" y="6214666"/>
                  <a:ext cx="23441" cy="64333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1" name="Rectangle 474"/>
                <p:cNvSpPr>
                  <a:spLocks noChangeArrowheads="1"/>
                </p:cNvSpPr>
                <p:nvPr/>
              </p:nvSpPr>
              <p:spPr bwMode="auto">
                <a:xfrm>
                  <a:off x="10222927" y="6196433"/>
                  <a:ext cx="23441" cy="66156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2" name="Rectangle 475"/>
                <p:cNvSpPr>
                  <a:spLocks noChangeArrowheads="1"/>
                </p:cNvSpPr>
                <p:nvPr/>
              </p:nvSpPr>
              <p:spPr bwMode="auto">
                <a:xfrm>
                  <a:off x="10288042" y="6183410"/>
                  <a:ext cx="23441" cy="67459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3" name="Rectangle 476"/>
                <p:cNvSpPr>
                  <a:spLocks noChangeArrowheads="1"/>
                </p:cNvSpPr>
                <p:nvPr/>
              </p:nvSpPr>
              <p:spPr bwMode="auto">
                <a:xfrm>
                  <a:off x="10355762" y="6167783"/>
                  <a:ext cx="23441" cy="6902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4" name="Rectangle 477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5" name="Rectangle 478"/>
                <p:cNvSpPr>
                  <a:spLocks noChangeArrowheads="1"/>
                </p:cNvSpPr>
                <p:nvPr/>
              </p:nvSpPr>
              <p:spPr bwMode="auto">
                <a:xfrm>
                  <a:off x="10118744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6" name="Rectangle 479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7" name="Rectangle 480"/>
                <p:cNvSpPr>
                  <a:spLocks noChangeArrowheads="1"/>
                </p:cNvSpPr>
                <p:nvPr/>
              </p:nvSpPr>
              <p:spPr bwMode="auto">
                <a:xfrm>
                  <a:off x="10186463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8" name="Rectangle 481"/>
                <p:cNvSpPr>
                  <a:spLocks noChangeArrowheads="1"/>
                </p:cNvSpPr>
                <p:nvPr/>
              </p:nvSpPr>
              <p:spPr bwMode="auto">
                <a:xfrm>
                  <a:off x="10251578" y="6284990"/>
                  <a:ext cx="31255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09" name="Rectangle 482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0" name="Rectangle 483"/>
                <p:cNvSpPr>
                  <a:spLocks noChangeArrowheads="1"/>
                </p:cNvSpPr>
                <p:nvPr/>
              </p:nvSpPr>
              <p:spPr bwMode="auto">
                <a:xfrm>
                  <a:off x="10319297" y="6284990"/>
                  <a:ext cx="2865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1" name="Rectangle 484"/>
                <p:cNvSpPr>
                  <a:spLocks noChangeArrowheads="1"/>
                </p:cNvSpPr>
                <p:nvPr/>
              </p:nvSpPr>
              <p:spPr bwMode="auto">
                <a:xfrm>
                  <a:off x="10118744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2" name="Rectangle 485"/>
                <p:cNvSpPr>
                  <a:spLocks noChangeArrowheads="1"/>
                </p:cNvSpPr>
                <p:nvPr/>
              </p:nvSpPr>
              <p:spPr bwMode="auto">
                <a:xfrm>
                  <a:off x="10186463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3" name="Rectangle 486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4" name="Rectangle 487"/>
                <p:cNvSpPr>
                  <a:spLocks noChangeArrowheads="1"/>
                </p:cNvSpPr>
                <p:nvPr/>
              </p:nvSpPr>
              <p:spPr bwMode="auto">
                <a:xfrm>
                  <a:off x="10251578" y="636833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5" name="Rectangle 488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6" name="Rectangle 489"/>
                <p:cNvSpPr>
                  <a:spLocks noChangeArrowheads="1"/>
                </p:cNvSpPr>
                <p:nvPr/>
              </p:nvSpPr>
              <p:spPr bwMode="auto">
                <a:xfrm>
                  <a:off x="10319297" y="636833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7" name="Rectangle 490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8" name="Rectangle 491"/>
                <p:cNvSpPr>
                  <a:spLocks noChangeArrowheads="1"/>
                </p:cNvSpPr>
                <p:nvPr/>
              </p:nvSpPr>
              <p:spPr bwMode="auto">
                <a:xfrm>
                  <a:off x="10118744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19" name="Rectangle 492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0" name="Rectangle 493"/>
                <p:cNvSpPr>
                  <a:spLocks noChangeArrowheads="1"/>
                </p:cNvSpPr>
                <p:nvPr/>
              </p:nvSpPr>
              <p:spPr bwMode="auto">
                <a:xfrm>
                  <a:off x="10186463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1" name="Rectangle 494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2" name="Rectangle 495"/>
                <p:cNvSpPr>
                  <a:spLocks noChangeArrowheads="1"/>
                </p:cNvSpPr>
                <p:nvPr/>
              </p:nvSpPr>
              <p:spPr bwMode="auto">
                <a:xfrm>
                  <a:off x="10251578" y="645168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3" name="Rectangle 496"/>
                <p:cNvSpPr>
                  <a:spLocks noChangeArrowheads="1"/>
                </p:cNvSpPr>
                <p:nvPr/>
              </p:nvSpPr>
              <p:spPr bwMode="auto">
                <a:xfrm>
                  <a:off x="10319297" y="645168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4" name="Rectangle 497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5" name="Rectangle 498"/>
                <p:cNvSpPr>
                  <a:spLocks noChangeArrowheads="1"/>
                </p:cNvSpPr>
                <p:nvPr/>
              </p:nvSpPr>
              <p:spPr bwMode="auto">
                <a:xfrm>
                  <a:off x="10118744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6" name="Rectangle 499"/>
                <p:cNvSpPr>
                  <a:spLocks noChangeArrowheads="1"/>
                </p:cNvSpPr>
                <p:nvPr/>
              </p:nvSpPr>
              <p:spPr bwMode="auto">
                <a:xfrm>
                  <a:off x="10186463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7" name="Rectangle 500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8" name="Rectangle 501"/>
                <p:cNvSpPr>
                  <a:spLocks noChangeArrowheads="1"/>
                </p:cNvSpPr>
                <p:nvPr/>
              </p:nvSpPr>
              <p:spPr bwMode="auto">
                <a:xfrm>
                  <a:off x="10251578" y="653503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29" name="Rectangle 502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0" name="Rectangle 503"/>
                <p:cNvSpPr>
                  <a:spLocks noChangeArrowheads="1"/>
                </p:cNvSpPr>
                <p:nvPr/>
              </p:nvSpPr>
              <p:spPr bwMode="auto">
                <a:xfrm>
                  <a:off x="10319297" y="653503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1" name="Rectangle 504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2" name="Rectangle 505"/>
                <p:cNvSpPr>
                  <a:spLocks noChangeArrowheads="1"/>
                </p:cNvSpPr>
                <p:nvPr/>
              </p:nvSpPr>
              <p:spPr bwMode="auto">
                <a:xfrm>
                  <a:off x="10118744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3" name="Rectangle 506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4" name="Rectangle 507"/>
                <p:cNvSpPr>
                  <a:spLocks noChangeArrowheads="1"/>
                </p:cNvSpPr>
                <p:nvPr/>
              </p:nvSpPr>
              <p:spPr bwMode="auto">
                <a:xfrm>
                  <a:off x="10186463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5" name="Rectangle 508"/>
                <p:cNvSpPr>
                  <a:spLocks noChangeArrowheads="1"/>
                </p:cNvSpPr>
                <p:nvPr/>
              </p:nvSpPr>
              <p:spPr bwMode="auto">
                <a:xfrm>
                  <a:off x="10251578" y="6615773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6" name="Rectangle 509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7" name="Rectangle 510"/>
                <p:cNvSpPr>
                  <a:spLocks noChangeArrowheads="1"/>
                </p:cNvSpPr>
                <p:nvPr/>
              </p:nvSpPr>
              <p:spPr bwMode="auto">
                <a:xfrm>
                  <a:off x="10319297" y="6615773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8" name="Rectangle 511"/>
                <p:cNvSpPr>
                  <a:spLocks noChangeArrowheads="1"/>
                </p:cNvSpPr>
                <p:nvPr/>
              </p:nvSpPr>
              <p:spPr bwMode="auto">
                <a:xfrm>
                  <a:off x="10118744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39" name="Rectangle 512"/>
                <p:cNvSpPr>
                  <a:spLocks noChangeArrowheads="1"/>
                </p:cNvSpPr>
                <p:nvPr/>
              </p:nvSpPr>
              <p:spPr bwMode="auto">
                <a:xfrm>
                  <a:off x="10186463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0" name="Rectangle 513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1" name="Rectangle 514"/>
                <p:cNvSpPr>
                  <a:spLocks noChangeArrowheads="1"/>
                </p:cNvSpPr>
                <p:nvPr/>
              </p:nvSpPr>
              <p:spPr bwMode="auto">
                <a:xfrm>
                  <a:off x="10251578" y="6699120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2" name="Rectangle 515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3" name="Rectangle 516"/>
                <p:cNvSpPr>
                  <a:spLocks noChangeArrowheads="1"/>
                </p:cNvSpPr>
                <p:nvPr/>
              </p:nvSpPr>
              <p:spPr bwMode="auto">
                <a:xfrm>
                  <a:off x="10319297" y="6699120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4" name="Rectangle 517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5" name="Rectangle 518"/>
                <p:cNvSpPr>
                  <a:spLocks noChangeArrowheads="1"/>
                </p:cNvSpPr>
                <p:nvPr/>
              </p:nvSpPr>
              <p:spPr bwMode="auto">
                <a:xfrm>
                  <a:off x="10118744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6" name="Rectangle 519"/>
                <p:cNvSpPr>
                  <a:spLocks noChangeArrowheads="1"/>
                </p:cNvSpPr>
                <p:nvPr/>
              </p:nvSpPr>
              <p:spPr bwMode="auto">
                <a:xfrm>
                  <a:off x="10186463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7" name="Rectangle 520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8" name="Rectangle 521"/>
                <p:cNvSpPr>
                  <a:spLocks noChangeArrowheads="1"/>
                </p:cNvSpPr>
                <p:nvPr/>
              </p:nvSpPr>
              <p:spPr bwMode="auto">
                <a:xfrm>
                  <a:off x="10251578" y="6782467"/>
                  <a:ext cx="31255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49" name="Rectangle 522"/>
                <p:cNvSpPr>
                  <a:spLocks noChangeArrowheads="1"/>
                </p:cNvSpPr>
                <p:nvPr/>
              </p:nvSpPr>
              <p:spPr bwMode="auto">
                <a:xfrm>
                  <a:off x="10319297" y="6782467"/>
                  <a:ext cx="28651" cy="468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0" name="Freeform 523"/>
                <p:cNvSpPr>
                  <a:spLocks/>
                </p:cNvSpPr>
                <p:nvPr/>
              </p:nvSpPr>
              <p:spPr bwMode="auto">
                <a:xfrm>
                  <a:off x="9256623" y="6271967"/>
                  <a:ext cx="190135" cy="586033"/>
                </a:xfrm>
                <a:custGeom>
                  <a:avLst/>
                  <a:gdLst>
                    <a:gd name="T0" fmla="*/ 32 w 73"/>
                    <a:gd name="T1" fmla="*/ 0 h 225"/>
                    <a:gd name="T2" fmla="*/ 32 w 73"/>
                    <a:gd name="T3" fmla="*/ 3 h 225"/>
                    <a:gd name="T4" fmla="*/ 30 w 73"/>
                    <a:gd name="T5" fmla="*/ 3 h 225"/>
                    <a:gd name="T6" fmla="*/ 30 w 73"/>
                    <a:gd name="T7" fmla="*/ 10 h 225"/>
                    <a:gd name="T8" fmla="*/ 73 w 73"/>
                    <a:gd name="T9" fmla="*/ 10 h 225"/>
                    <a:gd name="T10" fmla="*/ 73 w 73"/>
                    <a:gd name="T11" fmla="*/ 225 h 225"/>
                    <a:gd name="T12" fmla="*/ 2 w 73"/>
                    <a:gd name="T13" fmla="*/ 225 h 225"/>
                    <a:gd name="T14" fmla="*/ 2 w 73"/>
                    <a:gd name="T15" fmla="*/ 21 h 225"/>
                    <a:gd name="T16" fmla="*/ 2 w 73"/>
                    <a:gd name="T17" fmla="*/ 10 h 225"/>
                    <a:gd name="T18" fmla="*/ 2 w 73"/>
                    <a:gd name="T19" fmla="*/ 3 h 225"/>
                    <a:gd name="T20" fmla="*/ 0 w 73"/>
                    <a:gd name="T21" fmla="*/ 3 h 225"/>
                    <a:gd name="T22" fmla="*/ 0 w 73"/>
                    <a:gd name="T23" fmla="*/ 0 h 225"/>
                    <a:gd name="T24" fmla="*/ 32 w 73"/>
                    <a:gd name="T2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73" h="225">
                      <a:moveTo>
                        <a:pt x="32" y="0"/>
                      </a:moveTo>
                      <a:lnTo>
                        <a:pt x="32" y="3"/>
                      </a:lnTo>
                      <a:lnTo>
                        <a:pt x="30" y="3"/>
                      </a:lnTo>
                      <a:lnTo>
                        <a:pt x="30" y="10"/>
                      </a:lnTo>
                      <a:lnTo>
                        <a:pt x="73" y="10"/>
                      </a:lnTo>
                      <a:lnTo>
                        <a:pt x="73" y="225"/>
                      </a:lnTo>
                      <a:lnTo>
                        <a:pt x="2" y="225"/>
                      </a:lnTo>
                      <a:lnTo>
                        <a:pt x="2" y="21"/>
                      </a:lnTo>
                      <a:lnTo>
                        <a:pt x="2" y="10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1" name="Rectangle 524"/>
                <p:cNvSpPr>
                  <a:spLocks noChangeArrowheads="1"/>
                </p:cNvSpPr>
                <p:nvPr/>
              </p:nvSpPr>
              <p:spPr bwMode="auto">
                <a:xfrm>
                  <a:off x="9652521" y="6527217"/>
                  <a:ext cx="156276" cy="33078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2" name="Rectangle 525"/>
                <p:cNvSpPr>
                  <a:spLocks noChangeArrowheads="1"/>
                </p:cNvSpPr>
                <p:nvPr/>
              </p:nvSpPr>
              <p:spPr bwMode="auto">
                <a:xfrm>
                  <a:off x="8970118" y="6451683"/>
                  <a:ext cx="127625" cy="40631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3" name="Rectangle 526"/>
                <p:cNvSpPr>
                  <a:spLocks noChangeArrowheads="1"/>
                </p:cNvSpPr>
                <p:nvPr/>
              </p:nvSpPr>
              <p:spPr bwMode="auto">
                <a:xfrm>
                  <a:off x="9071697" y="6537635"/>
                  <a:ext cx="138043" cy="32036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4" name="Rectangle 527"/>
                <p:cNvSpPr>
                  <a:spLocks noChangeArrowheads="1"/>
                </p:cNvSpPr>
                <p:nvPr/>
              </p:nvSpPr>
              <p:spPr bwMode="auto">
                <a:xfrm>
                  <a:off x="9014396" y="6436056"/>
                  <a:ext cx="5730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5" name="Rectangle 528"/>
                <p:cNvSpPr>
                  <a:spLocks noChangeArrowheads="1"/>
                </p:cNvSpPr>
                <p:nvPr/>
              </p:nvSpPr>
              <p:spPr bwMode="auto">
                <a:xfrm>
                  <a:off x="9079511" y="6532426"/>
                  <a:ext cx="148462" cy="104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6" name="Rectangle 529"/>
                <p:cNvSpPr>
                  <a:spLocks noChangeArrowheads="1"/>
                </p:cNvSpPr>
                <p:nvPr/>
              </p:nvSpPr>
              <p:spPr bwMode="auto">
                <a:xfrm>
                  <a:off x="9194113" y="6675678"/>
                  <a:ext cx="156276" cy="18232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7" name="Rectangle 530"/>
                <p:cNvSpPr>
                  <a:spLocks noChangeArrowheads="1"/>
                </p:cNvSpPr>
                <p:nvPr/>
              </p:nvSpPr>
              <p:spPr bwMode="auto">
                <a:xfrm>
                  <a:off x="8691426" y="6524612"/>
                  <a:ext cx="127625" cy="3333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8" name="Rectangle 531"/>
                <p:cNvSpPr>
                  <a:spLocks noChangeArrowheads="1"/>
                </p:cNvSpPr>
                <p:nvPr/>
              </p:nvSpPr>
              <p:spPr bwMode="auto">
                <a:xfrm>
                  <a:off x="8582033" y="6691306"/>
                  <a:ext cx="166694" cy="1666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59" name="Rectangle 532"/>
                <p:cNvSpPr>
                  <a:spLocks noChangeArrowheads="1"/>
                </p:cNvSpPr>
                <p:nvPr/>
              </p:nvSpPr>
              <p:spPr bwMode="auto">
                <a:xfrm>
                  <a:off x="8399712" y="6662656"/>
                  <a:ext cx="104184" cy="19534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0" name="Rectangle 533"/>
                <p:cNvSpPr>
                  <a:spLocks noChangeArrowheads="1"/>
                </p:cNvSpPr>
                <p:nvPr/>
              </p:nvSpPr>
              <p:spPr bwMode="auto">
                <a:xfrm>
                  <a:off x="8483059" y="6798094"/>
                  <a:ext cx="244832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1" name="Rectangle 534"/>
                <p:cNvSpPr>
                  <a:spLocks noChangeArrowheads="1"/>
                </p:cNvSpPr>
                <p:nvPr/>
              </p:nvSpPr>
              <p:spPr bwMode="auto">
                <a:xfrm>
                  <a:off x="8303342" y="6777258"/>
                  <a:ext cx="127625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2" name="Rectangle 535"/>
                <p:cNvSpPr>
                  <a:spLocks noChangeArrowheads="1"/>
                </p:cNvSpPr>
                <p:nvPr/>
              </p:nvSpPr>
              <p:spPr bwMode="auto">
                <a:xfrm>
                  <a:off x="8819052" y="6735584"/>
                  <a:ext cx="195345" cy="12241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3" name="Rectangle 536"/>
                <p:cNvSpPr>
                  <a:spLocks noChangeArrowheads="1"/>
                </p:cNvSpPr>
                <p:nvPr/>
              </p:nvSpPr>
              <p:spPr bwMode="auto">
                <a:xfrm>
                  <a:off x="9394667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4" name="Rectangle 537"/>
                <p:cNvSpPr>
                  <a:spLocks noChangeArrowheads="1"/>
                </p:cNvSpPr>
                <p:nvPr/>
              </p:nvSpPr>
              <p:spPr bwMode="auto">
                <a:xfrm>
                  <a:off x="9936422" y="6805908"/>
                  <a:ext cx="304737" cy="5209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5" name="Freeform 538"/>
                <p:cNvSpPr>
                  <a:spLocks/>
                </p:cNvSpPr>
                <p:nvPr/>
              </p:nvSpPr>
              <p:spPr bwMode="auto">
                <a:xfrm>
                  <a:off x="9522292" y="6649633"/>
                  <a:ext cx="166694" cy="182322"/>
                </a:xfrm>
                <a:custGeom>
                  <a:avLst/>
                  <a:gdLst>
                    <a:gd name="T0" fmla="*/ 64 w 64"/>
                    <a:gd name="T1" fmla="*/ 0 h 70"/>
                    <a:gd name="T2" fmla="*/ 19 w 64"/>
                    <a:gd name="T3" fmla="*/ 0 h 70"/>
                    <a:gd name="T4" fmla="*/ 0 w 64"/>
                    <a:gd name="T5" fmla="*/ 70 h 70"/>
                    <a:gd name="T6" fmla="*/ 64 w 64"/>
                    <a:gd name="T7" fmla="*/ 70 h 70"/>
                    <a:gd name="T8" fmla="*/ 64 w 64"/>
                    <a:gd name="T9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0">
                      <a:moveTo>
                        <a:pt x="64" y="0"/>
                      </a:moveTo>
                      <a:lnTo>
                        <a:pt x="19" y="0"/>
                      </a:lnTo>
                      <a:lnTo>
                        <a:pt x="0" y="70"/>
                      </a:lnTo>
                      <a:lnTo>
                        <a:pt x="64" y="7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6" name="Rectangle 539"/>
                <p:cNvSpPr>
                  <a:spLocks noChangeArrowheads="1"/>
                </p:cNvSpPr>
                <p:nvPr/>
              </p:nvSpPr>
              <p:spPr bwMode="auto">
                <a:xfrm>
                  <a:off x="9741078" y="6386569"/>
                  <a:ext cx="5209" cy="20055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7" name="Rectangle 540"/>
                <p:cNvSpPr>
                  <a:spLocks noChangeArrowheads="1"/>
                </p:cNvSpPr>
                <p:nvPr/>
              </p:nvSpPr>
              <p:spPr bwMode="auto">
                <a:xfrm>
                  <a:off x="9756705" y="6454288"/>
                  <a:ext cx="5209" cy="119811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8" name="Rectangle 541"/>
                <p:cNvSpPr>
                  <a:spLocks noChangeArrowheads="1"/>
                </p:cNvSpPr>
                <p:nvPr/>
              </p:nvSpPr>
              <p:spPr bwMode="auto">
                <a:xfrm>
                  <a:off x="9733264" y="6475125"/>
                  <a:ext cx="59906" cy="5990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69" name="Rectangle 542"/>
                <p:cNvSpPr>
                  <a:spLocks noChangeArrowheads="1"/>
                </p:cNvSpPr>
                <p:nvPr/>
              </p:nvSpPr>
              <p:spPr bwMode="auto">
                <a:xfrm>
                  <a:off x="9725450" y="6469916"/>
                  <a:ext cx="78138" cy="520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0" name="Rectangle 543"/>
                <p:cNvSpPr>
                  <a:spLocks noChangeArrowheads="1"/>
                </p:cNvSpPr>
                <p:nvPr/>
              </p:nvSpPr>
              <p:spPr bwMode="auto">
                <a:xfrm>
                  <a:off x="9780146" y="6688701"/>
                  <a:ext cx="190135" cy="16929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1" name="Rectangle 544"/>
                <p:cNvSpPr>
                  <a:spLocks noChangeArrowheads="1"/>
                </p:cNvSpPr>
                <p:nvPr/>
              </p:nvSpPr>
              <p:spPr bwMode="auto">
                <a:xfrm>
                  <a:off x="9933817" y="6501171"/>
                  <a:ext cx="122416" cy="32817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2" name="Rectangle 545"/>
                <p:cNvSpPr>
                  <a:spLocks noChangeArrowheads="1"/>
                </p:cNvSpPr>
                <p:nvPr/>
              </p:nvSpPr>
              <p:spPr bwMode="auto">
                <a:xfrm>
                  <a:off x="10410458" y="6563681"/>
                  <a:ext cx="195345" cy="29431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3" name="Rectangle 546"/>
                <p:cNvSpPr>
                  <a:spLocks noChangeArrowheads="1"/>
                </p:cNvSpPr>
                <p:nvPr/>
              </p:nvSpPr>
              <p:spPr bwMode="auto">
                <a:xfrm>
                  <a:off x="10347948" y="6748607"/>
                  <a:ext cx="223995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4" name="Rectangle 547"/>
                <p:cNvSpPr>
                  <a:spLocks noChangeArrowheads="1"/>
                </p:cNvSpPr>
                <p:nvPr/>
              </p:nvSpPr>
              <p:spPr bwMode="auto">
                <a:xfrm>
                  <a:off x="10595384" y="6818931"/>
                  <a:ext cx="143253" cy="39069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5" name="Rectangle 548"/>
                <p:cNvSpPr>
                  <a:spLocks noChangeArrowheads="1"/>
                </p:cNvSpPr>
                <p:nvPr/>
              </p:nvSpPr>
              <p:spPr bwMode="auto">
                <a:xfrm>
                  <a:off x="10816775" y="6748607"/>
                  <a:ext cx="234413" cy="10939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6" name="Rectangle 549"/>
                <p:cNvSpPr>
                  <a:spLocks noChangeArrowheads="1"/>
                </p:cNvSpPr>
                <p:nvPr/>
              </p:nvSpPr>
              <p:spPr bwMode="auto">
                <a:xfrm>
                  <a:off x="10910540" y="6464706"/>
                  <a:ext cx="294319" cy="39329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7" name="Rectangle 550"/>
                <p:cNvSpPr>
                  <a:spLocks noChangeArrowheads="1"/>
                </p:cNvSpPr>
                <p:nvPr/>
              </p:nvSpPr>
              <p:spPr bwMode="auto">
                <a:xfrm>
                  <a:off x="10902726" y="6449079"/>
                  <a:ext cx="317760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8" name="Rectangle 551"/>
                <p:cNvSpPr>
                  <a:spLocks noChangeArrowheads="1"/>
                </p:cNvSpPr>
                <p:nvPr/>
              </p:nvSpPr>
              <p:spPr bwMode="auto">
                <a:xfrm>
                  <a:off x="11061606" y="6407405"/>
                  <a:ext cx="130230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79" name="Rectangle 552"/>
                <p:cNvSpPr>
                  <a:spLocks noChangeArrowheads="1"/>
                </p:cNvSpPr>
                <p:nvPr/>
              </p:nvSpPr>
              <p:spPr bwMode="auto">
                <a:xfrm>
                  <a:off x="10999096" y="6407405"/>
                  <a:ext cx="20837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0" name="Rectangle 553"/>
                <p:cNvSpPr>
                  <a:spLocks noChangeArrowheads="1"/>
                </p:cNvSpPr>
                <p:nvPr/>
              </p:nvSpPr>
              <p:spPr bwMode="auto">
                <a:xfrm>
                  <a:off x="10952214" y="6407405"/>
                  <a:ext cx="23441" cy="4948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1" name="Rectangle 554"/>
                <p:cNvSpPr>
                  <a:spLocks noChangeArrowheads="1"/>
                </p:cNvSpPr>
                <p:nvPr/>
              </p:nvSpPr>
              <p:spPr bwMode="auto">
                <a:xfrm>
                  <a:off x="11405413" y="6282385"/>
                  <a:ext cx="229204" cy="5756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2" name="Rectangle 555"/>
                <p:cNvSpPr>
                  <a:spLocks noChangeArrowheads="1"/>
                </p:cNvSpPr>
                <p:nvPr/>
              </p:nvSpPr>
              <p:spPr bwMode="auto">
                <a:xfrm>
                  <a:off x="11397599" y="6271967"/>
                  <a:ext cx="244832" cy="1562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3" name="Rectangle 556"/>
                <p:cNvSpPr>
                  <a:spLocks noChangeArrowheads="1"/>
                </p:cNvSpPr>
                <p:nvPr/>
              </p:nvSpPr>
              <p:spPr bwMode="auto">
                <a:xfrm>
                  <a:off x="11410622" y="6251130"/>
                  <a:ext cx="218786" cy="7813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4" name="Rectangle 557"/>
                <p:cNvSpPr>
                  <a:spLocks noChangeArrowheads="1"/>
                </p:cNvSpPr>
                <p:nvPr/>
              </p:nvSpPr>
              <p:spPr bwMode="auto">
                <a:xfrm>
                  <a:off x="11525224" y="6219875"/>
                  <a:ext cx="85952" cy="83347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5" name="Freeform 558"/>
                <p:cNvSpPr>
                  <a:spLocks/>
                </p:cNvSpPr>
                <p:nvPr/>
              </p:nvSpPr>
              <p:spPr bwMode="auto">
                <a:xfrm>
                  <a:off x="11561688" y="6199038"/>
                  <a:ext cx="49487" cy="44278"/>
                </a:xfrm>
                <a:custGeom>
                  <a:avLst/>
                  <a:gdLst>
                    <a:gd name="T0" fmla="*/ 0 w 19"/>
                    <a:gd name="T1" fmla="*/ 17 h 17"/>
                    <a:gd name="T2" fmla="*/ 19 w 19"/>
                    <a:gd name="T3" fmla="*/ 17 h 17"/>
                    <a:gd name="T4" fmla="*/ 19 w 19"/>
                    <a:gd name="T5" fmla="*/ 0 h 17"/>
                    <a:gd name="T6" fmla="*/ 6 w 19"/>
                    <a:gd name="T7" fmla="*/ 0 h 17"/>
                    <a:gd name="T8" fmla="*/ 0 w 19"/>
                    <a:gd name="T9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17">
                      <a:moveTo>
                        <a:pt x="0" y="17"/>
                      </a:moveTo>
                      <a:lnTo>
                        <a:pt x="19" y="17"/>
                      </a:lnTo>
                      <a:lnTo>
                        <a:pt x="19" y="0"/>
                      </a:lnTo>
                      <a:lnTo>
                        <a:pt x="6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6" name="Rectangle 559"/>
                <p:cNvSpPr>
                  <a:spLocks noChangeArrowheads="1"/>
                </p:cNvSpPr>
                <p:nvPr/>
              </p:nvSpPr>
              <p:spPr bwMode="auto">
                <a:xfrm>
                  <a:off x="11587734" y="6162574"/>
                  <a:ext cx="5209" cy="989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7" name="Oval 560"/>
                <p:cNvSpPr>
                  <a:spLocks noChangeArrowheads="1"/>
                </p:cNvSpPr>
                <p:nvPr/>
              </p:nvSpPr>
              <p:spPr bwMode="auto">
                <a:xfrm>
                  <a:off x="11585130" y="6152155"/>
                  <a:ext cx="7814" cy="1041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8" name="Rectangle 561"/>
                <p:cNvSpPr>
                  <a:spLocks noChangeArrowheads="1"/>
                </p:cNvSpPr>
                <p:nvPr/>
              </p:nvSpPr>
              <p:spPr bwMode="auto">
                <a:xfrm>
                  <a:off x="11603362" y="6620982"/>
                  <a:ext cx="104184" cy="23701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89" name="Rectangle 562"/>
                <p:cNvSpPr>
                  <a:spLocks noChangeArrowheads="1"/>
                </p:cNvSpPr>
                <p:nvPr/>
              </p:nvSpPr>
              <p:spPr bwMode="auto">
                <a:xfrm>
                  <a:off x="11309043" y="6503775"/>
                  <a:ext cx="119811" cy="35422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0" name="Freeform 563"/>
                <p:cNvSpPr>
                  <a:spLocks/>
                </p:cNvSpPr>
                <p:nvPr/>
              </p:nvSpPr>
              <p:spPr bwMode="auto">
                <a:xfrm>
                  <a:off x="11202254" y="6667865"/>
                  <a:ext cx="166694" cy="190135"/>
                </a:xfrm>
                <a:custGeom>
                  <a:avLst/>
                  <a:gdLst>
                    <a:gd name="T0" fmla="*/ 64 w 64"/>
                    <a:gd name="T1" fmla="*/ 73 h 73"/>
                    <a:gd name="T2" fmla="*/ 0 w 64"/>
                    <a:gd name="T3" fmla="*/ 73 h 73"/>
                    <a:gd name="T4" fmla="*/ 0 w 64"/>
                    <a:gd name="T5" fmla="*/ 0 h 73"/>
                    <a:gd name="T6" fmla="*/ 54 w 64"/>
                    <a:gd name="T7" fmla="*/ 24 h 73"/>
                    <a:gd name="T8" fmla="*/ 64 w 64"/>
                    <a:gd name="T9" fmla="*/ 73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4" h="73">
                      <a:moveTo>
                        <a:pt x="64" y="73"/>
                      </a:moveTo>
                      <a:lnTo>
                        <a:pt x="0" y="73"/>
                      </a:lnTo>
                      <a:lnTo>
                        <a:pt x="0" y="0"/>
                      </a:lnTo>
                      <a:lnTo>
                        <a:pt x="54" y="24"/>
                      </a:lnTo>
                      <a:lnTo>
                        <a:pt x="64" y="7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1" name="Rectangle 564"/>
                <p:cNvSpPr>
                  <a:spLocks noChangeArrowheads="1"/>
                </p:cNvSpPr>
                <p:nvPr/>
              </p:nvSpPr>
              <p:spPr bwMode="auto">
                <a:xfrm>
                  <a:off x="11673686" y="6753816"/>
                  <a:ext cx="255250" cy="104184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2" name="Rectangle 565"/>
                <p:cNvSpPr>
                  <a:spLocks noChangeArrowheads="1"/>
                </p:cNvSpPr>
                <p:nvPr/>
              </p:nvSpPr>
              <p:spPr bwMode="auto">
                <a:xfrm>
                  <a:off x="11835171" y="6446474"/>
                  <a:ext cx="145857" cy="411526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3" name="Rectangle 566"/>
                <p:cNvSpPr>
                  <a:spLocks noChangeArrowheads="1"/>
                </p:cNvSpPr>
                <p:nvPr/>
              </p:nvSpPr>
              <p:spPr bwMode="auto">
                <a:xfrm>
                  <a:off x="11947168" y="6782467"/>
                  <a:ext cx="244832" cy="7553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4" name="Rectangle 567"/>
                <p:cNvSpPr>
                  <a:spLocks noChangeArrowheads="1"/>
                </p:cNvSpPr>
                <p:nvPr/>
              </p:nvSpPr>
              <p:spPr bwMode="auto">
                <a:xfrm>
                  <a:off x="11827357" y="6441265"/>
                  <a:ext cx="161485" cy="1302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5" name="Rectangle 568"/>
                <p:cNvSpPr>
                  <a:spLocks noChangeArrowheads="1"/>
                </p:cNvSpPr>
                <p:nvPr/>
              </p:nvSpPr>
              <p:spPr bwMode="auto">
                <a:xfrm>
                  <a:off x="11957587" y="6383964"/>
                  <a:ext cx="5209" cy="80742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6" name="Rectangle 569"/>
                <p:cNvSpPr>
                  <a:spLocks noChangeArrowheads="1"/>
                </p:cNvSpPr>
                <p:nvPr/>
              </p:nvSpPr>
              <p:spPr bwMode="auto">
                <a:xfrm>
                  <a:off x="11936750" y="6394382"/>
                  <a:ext cx="2605" cy="6511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297" name="Freeform 570"/>
                <p:cNvSpPr>
                  <a:spLocks/>
                </p:cNvSpPr>
                <p:nvPr/>
              </p:nvSpPr>
              <p:spPr bwMode="auto">
                <a:xfrm>
                  <a:off x="11970610" y="6602750"/>
                  <a:ext cx="93765" cy="187531"/>
                </a:xfrm>
                <a:custGeom>
                  <a:avLst/>
                  <a:gdLst>
                    <a:gd name="T0" fmla="*/ 25 w 36"/>
                    <a:gd name="T1" fmla="*/ 0 h 72"/>
                    <a:gd name="T2" fmla="*/ 0 w 36"/>
                    <a:gd name="T3" fmla="*/ 0 h 72"/>
                    <a:gd name="T4" fmla="*/ 0 w 36"/>
                    <a:gd name="T5" fmla="*/ 72 h 72"/>
                    <a:gd name="T6" fmla="*/ 36 w 36"/>
                    <a:gd name="T7" fmla="*/ 72 h 72"/>
                    <a:gd name="T8" fmla="*/ 25 w 36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" h="72">
                      <a:moveTo>
                        <a:pt x="25" y="0"/>
                      </a:moveTo>
                      <a:lnTo>
                        <a:pt x="0" y="0"/>
                      </a:lnTo>
                      <a:lnTo>
                        <a:pt x="0" y="72"/>
                      </a:lnTo>
                      <a:lnTo>
                        <a:pt x="36" y="72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332" name="Rectangle 331"/>
          <p:cNvSpPr/>
          <p:nvPr/>
        </p:nvSpPr>
        <p:spPr>
          <a:xfrm>
            <a:off x="4351506" y="2274358"/>
            <a:ext cx="14072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516283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Ease of living</a:t>
            </a:r>
          </a:p>
        </p:txBody>
      </p:sp>
      <p:sp>
        <p:nvSpPr>
          <p:cNvPr id="334" name="Rectangle 333"/>
          <p:cNvSpPr/>
          <p:nvPr/>
        </p:nvSpPr>
        <p:spPr>
          <a:xfrm>
            <a:off x="6481863" y="2595374"/>
            <a:ext cx="17671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600000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Connected communities</a:t>
            </a:r>
          </a:p>
        </p:txBody>
      </p:sp>
      <p:sp>
        <p:nvSpPr>
          <p:cNvPr id="336" name="Rectangle 335"/>
          <p:cNvSpPr/>
          <p:nvPr/>
        </p:nvSpPr>
        <p:spPr>
          <a:xfrm>
            <a:off x="3813241" y="3967267"/>
            <a:ext cx="14786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113037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Sustainability</a:t>
            </a:r>
          </a:p>
        </p:txBody>
      </p:sp>
      <p:sp>
        <p:nvSpPr>
          <p:cNvPr id="337" name="Rectangle 336"/>
          <p:cNvSpPr/>
          <p:nvPr/>
        </p:nvSpPr>
        <p:spPr>
          <a:xfrm>
            <a:off x="5985752" y="4473107"/>
            <a:ext cx="158236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0097A7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Smart Governanc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573079" y="2626151"/>
            <a:ext cx="1602554" cy="660388"/>
          </a:xfrm>
          <a:prstGeom prst="rect">
            <a:avLst/>
          </a:prstGeom>
          <a:solidFill>
            <a:srgbClr val="CECFD1"/>
          </a:solidFill>
          <a:ln>
            <a:noFill/>
          </a:ln>
          <a:effectLst>
            <a:softEdge rad="6350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IN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ndara" panose="020E0502030303020204" pitchFamily="34" charset="0"/>
              </a:rPr>
              <a:t>Economic Ability </a:t>
            </a:r>
          </a:p>
        </p:txBody>
      </p:sp>
    </p:spTree>
    <p:extLst>
      <p:ext uri="{BB962C8B-B14F-4D97-AF65-F5344CB8AC3E}">
        <p14:creationId xmlns:p14="http://schemas.microsoft.com/office/powerpoint/2010/main" val="5695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281B13DB-871A-4CCA-86E1-88491AF2B2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62635706"/>
              </p:ext>
            </p:extLst>
          </p:nvPr>
        </p:nvGraphicFramePr>
        <p:xfrm>
          <a:off x="562707" y="1448973"/>
          <a:ext cx="11422966" cy="4378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64444" y="365125"/>
            <a:ext cx="11063112" cy="707319"/>
          </a:xfrm>
        </p:spPr>
        <p:txBody>
          <a:bodyPr/>
          <a:lstStyle/>
          <a:p>
            <a:r>
              <a:rPr lang="en-US" dirty="0"/>
              <a:t>Mission Strateg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6469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roup 122"/>
          <p:cNvGrpSpPr/>
          <p:nvPr/>
        </p:nvGrpSpPr>
        <p:grpSpPr>
          <a:xfrm>
            <a:off x="6697848" y="2231110"/>
            <a:ext cx="5189337" cy="3615508"/>
            <a:chOff x="3192663" y="2231110"/>
            <a:chExt cx="5802635" cy="4626890"/>
          </a:xfrm>
        </p:grpSpPr>
        <p:sp>
          <p:nvSpPr>
            <p:cNvPr id="124" name="Rectangle 123"/>
            <p:cNvSpPr/>
            <p:nvPr/>
          </p:nvSpPr>
          <p:spPr>
            <a:xfrm>
              <a:off x="5839449" y="275127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5836733" y="326555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5836733" y="378186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5836733" y="430452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5836733" y="482083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5836733" y="533714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5836733" y="585345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5836733" y="636342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4797765" y="326373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4797765" y="378004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4797765" y="4302703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4797765" y="4819015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688657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6886571" y="378639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6886571" y="4298177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6886571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4268765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4268765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4268765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Rectangle 142"/>
            <p:cNvSpPr/>
            <p:nvPr/>
          </p:nvSpPr>
          <p:spPr>
            <a:xfrm>
              <a:off x="4268765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Rectangle 143"/>
            <p:cNvSpPr/>
            <p:nvPr/>
          </p:nvSpPr>
          <p:spPr>
            <a:xfrm>
              <a:off x="3726188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3726188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3726188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3726188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4268765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3726188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4268765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3726188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Rectangle 151"/>
            <p:cNvSpPr/>
            <p:nvPr/>
          </p:nvSpPr>
          <p:spPr>
            <a:xfrm>
              <a:off x="3721662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3732532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Rectangle 153"/>
            <p:cNvSpPr/>
            <p:nvPr/>
          </p:nvSpPr>
          <p:spPr>
            <a:xfrm>
              <a:off x="3197189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Rectangle 154"/>
            <p:cNvSpPr/>
            <p:nvPr/>
          </p:nvSpPr>
          <p:spPr>
            <a:xfrm>
              <a:off x="3197189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3192663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3203532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3203532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3209876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7424622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7424622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Rectangle 161"/>
            <p:cNvSpPr/>
            <p:nvPr/>
          </p:nvSpPr>
          <p:spPr>
            <a:xfrm>
              <a:off x="7424622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7424622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7424622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7424622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7962673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7962673" y="3786391"/>
              <a:ext cx="494574" cy="494574"/>
            </a:xfrm>
            <a:prstGeom prst="rect">
              <a:avLst/>
            </a:prstGeom>
            <a:solidFill>
              <a:srgbClr val="F99D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7962673" y="4298177"/>
              <a:ext cx="494574" cy="494574"/>
            </a:xfrm>
            <a:prstGeom prst="rect">
              <a:avLst/>
            </a:prstGeom>
            <a:solidFill>
              <a:srgbClr val="41AD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7962673" y="4814489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Rectangle 169"/>
            <p:cNvSpPr/>
            <p:nvPr/>
          </p:nvSpPr>
          <p:spPr>
            <a:xfrm>
              <a:off x="7962673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Rectangle 170"/>
            <p:cNvSpPr/>
            <p:nvPr/>
          </p:nvSpPr>
          <p:spPr>
            <a:xfrm>
              <a:off x="7962673" y="533080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7958147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7969016" y="5847114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8494381" y="327007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8494381" y="2747422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Rectangle 175"/>
            <p:cNvSpPr/>
            <p:nvPr/>
          </p:nvSpPr>
          <p:spPr>
            <a:xfrm>
              <a:off x="8489855" y="2231110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8500724" y="4808146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8500724" y="5324458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Rectangle 178"/>
            <p:cNvSpPr/>
            <p:nvPr/>
          </p:nvSpPr>
          <p:spPr>
            <a:xfrm>
              <a:off x="8496198" y="5840771"/>
              <a:ext cx="494574" cy="494574"/>
            </a:xfrm>
            <a:prstGeom prst="rect">
              <a:avLst/>
            </a:prstGeom>
            <a:solidFill>
              <a:srgbClr val="7D7D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0" name="Rectangle 179"/>
          <p:cNvSpPr/>
          <p:nvPr/>
        </p:nvSpPr>
        <p:spPr>
          <a:xfrm>
            <a:off x="9050971" y="1990167"/>
            <a:ext cx="494574" cy="49457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Rectangle 180"/>
          <p:cNvSpPr/>
          <p:nvPr/>
        </p:nvSpPr>
        <p:spPr>
          <a:xfrm>
            <a:off x="8534658" y="1413164"/>
            <a:ext cx="494574" cy="494574"/>
          </a:xfrm>
          <a:prstGeom prst="rect">
            <a:avLst/>
          </a:prstGeom>
          <a:solidFill>
            <a:srgbClr val="F99D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2" name="Rectangle 181"/>
          <p:cNvSpPr/>
          <p:nvPr/>
        </p:nvSpPr>
        <p:spPr>
          <a:xfrm>
            <a:off x="9578153" y="1413164"/>
            <a:ext cx="494574" cy="494574"/>
          </a:xfrm>
          <a:prstGeom prst="rect">
            <a:avLst/>
          </a:prstGeom>
          <a:solidFill>
            <a:srgbClr val="41AD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Title 126"/>
          <p:cNvSpPr txBox="1">
            <a:spLocks/>
          </p:cNvSpPr>
          <p:nvPr/>
        </p:nvSpPr>
        <p:spPr>
          <a:xfrm>
            <a:off x="-7003" y="3187758"/>
            <a:ext cx="11063112" cy="7073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dirty="0">
                <a:solidFill>
                  <a:srgbClr val="516283"/>
                </a:solidFill>
              </a:rPr>
              <a:t>Smart Cities Mission - </a:t>
            </a:r>
            <a:r>
              <a:rPr lang="en-US" sz="3000" dirty="0">
                <a:solidFill>
                  <a:srgbClr val="516283"/>
                </a:solidFill>
              </a:rPr>
              <a:t>Achievements</a:t>
            </a:r>
            <a:r>
              <a:rPr lang="en-US" dirty="0">
                <a:solidFill>
                  <a:srgbClr val="516283"/>
                </a:solidFill>
              </a:rPr>
              <a:t> </a:t>
            </a:r>
          </a:p>
        </p:txBody>
      </p:sp>
      <p:sp>
        <p:nvSpPr>
          <p:cNvPr id="184" name="Rectangle 183"/>
          <p:cNvSpPr/>
          <p:nvPr/>
        </p:nvSpPr>
        <p:spPr>
          <a:xfrm>
            <a:off x="1035622" y="4225206"/>
            <a:ext cx="2610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516283"/>
                </a:solidFill>
              </a:rPr>
              <a:t>Mission Transform-Nation</a:t>
            </a:r>
            <a:endParaRPr lang="en-GB" dirty="0">
              <a:solidFill>
                <a:srgbClr val="5162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936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8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7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mart Cities Mission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half" idx="1"/>
          </p:nvPr>
        </p:nvSpPr>
        <p:spPr>
          <a:xfrm>
            <a:off x="564444" y="1724122"/>
            <a:ext cx="5466644" cy="3689542"/>
          </a:xfrm>
          <a:solidFill>
            <a:schemeClr val="bg1">
              <a:lumMod val="75000"/>
            </a:schemeClr>
          </a:solidFill>
        </p:spPr>
        <p:txBody>
          <a:bodyPr anchor="ctr"/>
          <a:lstStyle/>
          <a:p>
            <a:pPr marL="0" indent="0" algn="ctr">
              <a:buNone/>
            </a:pPr>
            <a:r>
              <a:rPr lang="en-US" sz="4000" dirty="0">
                <a:solidFill>
                  <a:srgbClr val="113037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100 Cities</a:t>
            </a:r>
          </a:p>
          <a:p>
            <a:pPr marL="0" indent="0" algn="ctr">
              <a:buNone/>
            </a:pPr>
            <a:endParaRPr lang="en-GB" sz="4000" dirty="0">
              <a:solidFill>
                <a:srgbClr val="113037"/>
              </a:solidFill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14" name="Content Placeholder 5"/>
          <p:cNvSpPr txBox="1">
            <a:spLocks/>
          </p:cNvSpPr>
          <p:nvPr/>
        </p:nvSpPr>
        <p:spPr>
          <a:xfrm>
            <a:off x="6172200" y="1724122"/>
            <a:ext cx="5466644" cy="368954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>
                <a:solidFill>
                  <a:srgbClr val="113037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100 million people</a:t>
            </a:r>
          </a:p>
          <a:p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561108" y="4229100"/>
            <a:ext cx="5486400" cy="1192643"/>
            <a:chOff x="-83128" y="3845169"/>
            <a:chExt cx="12357190" cy="2465577"/>
          </a:xfrm>
        </p:grpSpPr>
        <p:grpSp>
          <p:nvGrpSpPr>
            <p:cNvPr id="16" name="Group 41"/>
            <p:cNvGrpSpPr>
              <a:grpSpLocks noChangeAspect="1"/>
            </p:cNvGrpSpPr>
            <p:nvPr/>
          </p:nvGrpSpPr>
          <p:grpSpPr bwMode="auto">
            <a:xfrm>
              <a:off x="-83128" y="3845169"/>
              <a:ext cx="6239885" cy="2465577"/>
              <a:chOff x="-95" y="1253"/>
              <a:chExt cx="7661" cy="3175"/>
            </a:xfrm>
          </p:grpSpPr>
          <p:sp>
            <p:nvSpPr>
              <p:cNvPr id="126" name="AutoShape 40"/>
              <p:cNvSpPr>
                <a:spLocks noChangeAspect="1" noChangeArrowheads="1" noTextEdit="1"/>
              </p:cNvSpPr>
              <p:nvPr/>
            </p:nvSpPr>
            <p:spPr bwMode="auto">
              <a:xfrm>
                <a:off x="-95" y="1253"/>
                <a:ext cx="7661" cy="3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" name="Freeform 42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" name="Freeform 43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9" name="Freeform 44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0" name="Freeform 45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1" name="Freeform 46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close/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2" name="Freeform 47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3" name="Freeform 48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B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4" name="Freeform 49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5" name="Freeform 50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9F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6" name="Freeform 51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" name="Freeform 52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close/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close/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close/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close/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close/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close/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close/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close/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" name="Freeform 53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" name="Freeform 54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close/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close/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close/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close/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close/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close/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close/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close/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close/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close/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close/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close/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close/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" name="Freeform 55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" name="Freeform 56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close/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" name="Freeform 57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" name="Freeform 58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close/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4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" name="Freeform 59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5" name="Freeform 60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6" name="Freeform 61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7" name="Freeform 62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close/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close/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close/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close/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1F1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8" name="Freeform 63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9" name="Freeform 64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close/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close/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close/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0" name="Freeform 65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1" name="Freeform 66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close/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close/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EEE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2" name="Freeform 67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3" name="Freeform 68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close/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close/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close/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close/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close/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close/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close/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close/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close/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close/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DEC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4" name="Freeform 69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5" name="Freeform 70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6" name="Freeform 71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7" name="Freeform 72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close/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close/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close/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close/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8" name="Freeform 73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74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close/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close/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close/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close/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close/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close/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75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76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close/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close/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7E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77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78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close/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close/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6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79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80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close/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close/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close/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close/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close/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close/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close/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close/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close/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close/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81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82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close/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close/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close/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close/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close/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close/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close/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close/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close/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close/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3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84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close/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close/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close/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85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86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close/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close/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close/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close/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87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88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close/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DF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89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90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close/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91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92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C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93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94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close/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close/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close/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95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96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97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98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close/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close/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7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99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100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close/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101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102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close/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close/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close/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close/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close/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close/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close/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close/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close/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close/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  <a:close/>
                  </a:path>
                </a:pathLst>
              </a:custGeom>
              <a:solidFill>
                <a:srgbClr val="D5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103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104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105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106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close/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close/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107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108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close/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close/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close/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close/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close/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close/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close/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close/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close/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close/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109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5" name="Freeform 110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close/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6" name="Freeform 111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7" name="Freeform 112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E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8" name="Freeform 113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9" name="Freeform 114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0" name="Freeform 115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1" name="Freeform 116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close/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close/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2" name="Freeform 117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3" name="Freeform 118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close/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close/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close/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close/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close/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4" name="Freeform 119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" name="Freeform 120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close/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6" name="Freeform 121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7" name="Freeform 122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close/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close/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close/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close/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close/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7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" name="Freeform 123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9" name="Freeform 124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5C5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0" name="Freeform 125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1" name="Freeform 126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close/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4C3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2" name="Freeform 127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3" name="Freeform 128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close/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2C2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4" name="Freeform 129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5" name="Freeform 130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close/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close/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close/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close/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close/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close/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close/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close/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1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6" name="Freeform 131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7" name="Freeform 132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8" name="Freeform 133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9" name="Freeform 134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0" name="Freeform 135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1" name="Freeform 136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close/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close/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close/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close/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close/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close/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close/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close/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close/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close/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close/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close/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close/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close/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close/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close/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close/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close/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close/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close/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close/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close/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close/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close/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close/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close/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close/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BD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2" name="Freeform 137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3" name="Freeform 138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close/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close/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B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4" name="Freeform 139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5" name="Freeform 140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6" name="Freeform 141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7" name="Freeform 142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close/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close/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close/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B9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8" name="Freeform 143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9" name="Freeform 144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11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0" name="Freeform 145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1" name="Freeform 147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close/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2" name="Freeform 148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17" name="Group 41"/>
            <p:cNvGrpSpPr>
              <a:grpSpLocks noChangeAspect="1"/>
            </p:cNvGrpSpPr>
            <p:nvPr/>
          </p:nvGrpSpPr>
          <p:grpSpPr bwMode="auto">
            <a:xfrm flipH="1">
              <a:off x="6034177" y="3845169"/>
              <a:ext cx="6239885" cy="2465577"/>
              <a:chOff x="-95" y="1253"/>
              <a:chExt cx="7661" cy="3175"/>
            </a:xfrm>
          </p:grpSpPr>
          <p:sp>
            <p:nvSpPr>
              <p:cNvPr id="19" name="AutoShape 40"/>
              <p:cNvSpPr>
                <a:spLocks noChangeAspect="1" noChangeArrowheads="1" noTextEdit="1"/>
              </p:cNvSpPr>
              <p:nvPr/>
            </p:nvSpPr>
            <p:spPr bwMode="auto">
              <a:xfrm>
                <a:off x="-95" y="1253"/>
                <a:ext cx="7661" cy="3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42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Freeform 43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" name="Freeform 44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" name="Freeform 45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" name="Freeform 46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close/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" name="Freeform 47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" name="Freeform 48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B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Freeform 49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50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9F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51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52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close/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close/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close/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close/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close/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close/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close/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close/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53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" name="Freeform 54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close/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close/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close/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close/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close/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close/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close/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close/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close/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close/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close/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close/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close/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" name="Freeform 55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" name="Freeform 56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close/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" name="Freeform 57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" name="Freeform 58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close/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4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7" name="Freeform 59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8" name="Freeform 60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" name="Freeform 61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Freeform 62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close/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close/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close/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close/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1F1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Freeform 63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" name="Freeform 64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close/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close/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close/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3" name="Freeform 65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4" name="Freeform 66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close/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close/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EEE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5" name="Freeform 67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6" name="Freeform 68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close/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close/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close/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close/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close/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close/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close/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close/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close/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close/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DEC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7" name="Freeform 69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8" name="Freeform 70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9" name="Freeform 71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" name="Freeform 72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close/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close/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close/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close/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" name="Freeform 73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" name="Freeform 74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close/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close/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close/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close/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close/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close/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" name="Freeform 75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" name="Freeform 76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close/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close/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7E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" name="Freeform 77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" name="Freeform 78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close/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close/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6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" name="Freeform 79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8" name="Freeform 80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close/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close/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close/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close/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close/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close/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close/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close/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close/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close/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9" name="Freeform 81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0" name="Freeform 82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close/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close/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close/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close/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close/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close/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close/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close/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close/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close/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3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1" name="Freeform 83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2" name="Freeform 84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close/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close/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close/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3" name="Freeform 85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4" name="Freeform 86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close/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close/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close/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close/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5" name="Freeform 87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6" name="Freeform 88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close/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DF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7" name="Freeform 89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8" name="Freeform 90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close/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69" name="Freeform 91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0" name="Freeform 92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C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1" name="Freeform 93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2" name="Freeform 94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close/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close/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close/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3" name="Freeform 95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4" name="Freeform 96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5" name="Freeform 97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6" name="Freeform 98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close/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close/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7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7" name="Freeform 99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8" name="Freeform 100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close/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79" name="Freeform 101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0" name="Freeform 102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close/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close/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close/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close/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close/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close/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close/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close/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close/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close/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  <a:close/>
                  </a:path>
                </a:pathLst>
              </a:custGeom>
              <a:solidFill>
                <a:srgbClr val="D5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1" name="Freeform 103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2" name="Freeform 104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" name="Freeform 105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" name="Freeform 106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close/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close/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5" name="Freeform 107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6" name="Freeform 108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close/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close/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close/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close/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close/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close/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close/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close/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close/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close/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7" name="Freeform 109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8" name="Freeform 110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close/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9" name="Freeform 111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0" name="Freeform 112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E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1" name="Freeform 113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2" name="Freeform 114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3" name="Freeform 115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4" name="Freeform 116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close/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close/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5" name="Freeform 117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6" name="Freeform 118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close/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close/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close/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close/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close/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7" name="Freeform 119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8" name="Freeform 120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close/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9" name="Freeform 121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0" name="Freeform 122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close/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close/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close/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close/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close/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7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1" name="Freeform 123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2" name="Freeform 124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5C5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3" name="Freeform 125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4" name="Freeform 126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close/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4C3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5" name="Freeform 127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6" name="Freeform 128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close/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2C2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7" name="Freeform 129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8" name="Freeform 130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close/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close/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close/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close/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close/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close/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close/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close/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1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9" name="Freeform 131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0" name="Freeform 132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1" name="Freeform 133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2" name="Freeform 134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3" name="Freeform 135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4" name="Freeform 136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close/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close/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close/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close/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close/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close/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close/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close/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close/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close/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close/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close/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close/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close/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close/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close/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close/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close/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close/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close/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close/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close/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close/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close/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close/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close/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close/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BD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5" name="Freeform 137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6" name="Freeform 138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close/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close/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B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7" name="Freeform 139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8" name="Freeform 140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19" name="Freeform 141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0" name="Freeform 142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close/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close/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close/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B9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1" name="Freeform 143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2" name="Freeform 144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11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3" name="Freeform 145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" name="Freeform 147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close/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" name="Freeform 148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8" name="Rectangle 17"/>
            <p:cNvSpPr/>
            <p:nvPr/>
          </p:nvSpPr>
          <p:spPr>
            <a:xfrm>
              <a:off x="5895474" y="5339727"/>
              <a:ext cx="320842" cy="892631"/>
            </a:xfrm>
            <a:prstGeom prst="rect">
              <a:avLst/>
            </a:prstGeom>
            <a:solidFill>
              <a:srgbClr val="1130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436" name="Group 435"/>
          <p:cNvGrpSpPr/>
          <p:nvPr/>
        </p:nvGrpSpPr>
        <p:grpSpPr>
          <a:xfrm>
            <a:off x="6213763" y="4532277"/>
            <a:ext cx="5412092" cy="855620"/>
            <a:chOff x="6213763" y="4532277"/>
            <a:chExt cx="5412092" cy="855620"/>
          </a:xfrm>
        </p:grpSpPr>
        <p:sp>
          <p:nvSpPr>
            <p:cNvPr id="234" name="Freeform 153"/>
            <p:cNvSpPr>
              <a:spLocks/>
            </p:cNvSpPr>
            <p:nvPr/>
          </p:nvSpPr>
          <p:spPr bwMode="auto">
            <a:xfrm>
              <a:off x="6213763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5" name="Oval 154"/>
            <p:cNvSpPr>
              <a:spLocks noChangeArrowheads="1"/>
            </p:cNvSpPr>
            <p:nvPr/>
          </p:nvSpPr>
          <p:spPr bwMode="auto">
            <a:xfrm>
              <a:off x="6251973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6" name="Freeform 157"/>
            <p:cNvSpPr>
              <a:spLocks/>
            </p:cNvSpPr>
            <p:nvPr/>
          </p:nvSpPr>
          <p:spPr bwMode="auto">
            <a:xfrm>
              <a:off x="6930535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7" name="Oval 158"/>
            <p:cNvSpPr>
              <a:spLocks noChangeArrowheads="1"/>
            </p:cNvSpPr>
            <p:nvPr/>
          </p:nvSpPr>
          <p:spPr bwMode="auto">
            <a:xfrm>
              <a:off x="6968745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8" name="Freeform 159"/>
            <p:cNvSpPr>
              <a:spLocks/>
            </p:cNvSpPr>
            <p:nvPr/>
          </p:nvSpPr>
          <p:spPr bwMode="auto">
            <a:xfrm>
              <a:off x="6750571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9" name="Oval 160"/>
            <p:cNvSpPr>
              <a:spLocks noChangeArrowheads="1"/>
            </p:cNvSpPr>
            <p:nvPr/>
          </p:nvSpPr>
          <p:spPr bwMode="auto">
            <a:xfrm>
              <a:off x="6790014" y="453227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0" name="Oval 165"/>
            <p:cNvSpPr>
              <a:spLocks noChangeArrowheads="1"/>
            </p:cNvSpPr>
            <p:nvPr/>
          </p:nvSpPr>
          <p:spPr bwMode="auto">
            <a:xfrm>
              <a:off x="6614982" y="4532277"/>
              <a:ext cx="81353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1" name="Freeform 166"/>
            <p:cNvSpPr>
              <a:spLocks noEditPoints="1"/>
            </p:cNvSpPr>
            <p:nvPr/>
          </p:nvSpPr>
          <p:spPr bwMode="auto">
            <a:xfrm>
              <a:off x="6569375" y="462611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2" name="Oval 167"/>
            <p:cNvSpPr>
              <a:spLocks noChangeArrowheads="1"/>
            </p:cNvSpPr>
            <p:nvPr/>
          </p:nvSpPr>
          <p:spPr bwMode="auto">
            <a:xfrm>
              <a:off x="6436253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3" name="Freeform 168"/>
            <p:cNvSpPr>
              <a:spLocks noEditPoints="1"/>
            </p:cNvSpPr>
            <p:nvPr/>
          </p:nvSpPr>
          <p:spPr bwMode="auto">
            <a:xfrm>
              <a:off x="6390645" y="462611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4" name="Freeform 153"/>
            <p:cNvSpPr>
              <a:spLocks/>
            </p:cNvSpPr>
            <p:nvPr/>
          </p:nvSpPr>
          <p:spPr bwMode="auto">
            <a:xfrm>
              <a:off x="7115758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5" name="Oval 154"/>
            <p:cNvSpPr>
              <a:spLocks noChangeArrowheads="1"/>
            </p:cNvSpPr>
            <p:nvPr/>
          </p:nvSpPr>
          <p:spPr bwMode="auto">
            <a:xfrm>
              <a:off x="7153968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6" name="Freeform 157"/>
            <p:cNvSpPr>
              <a:spLocks/>
            </p:cNvSpPr>
            <p:nvPr/>
          </p:nvSpPr>
          <p:spPr bwMode="auto">
            <a:xfrm>
              <a:off x="7832528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7" name="Oval 158"/>
            <p:cNvSpPr>
              <a:spLocks noChangeArrowheads="1"/>
            </p:cNvSpPr>
            <p:nvPr/>
          </p:nvSpPr>
          <p:spPr bwMode="auto">
            <a:xfrm>
              <a:off x="7870740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8" name="Freeform 159"/>
            <p:cNvSpPr>
              <a:spLocks/>
            </p:cNvSpPr>
            <p:nvPr/>
          </p:nvSpPr>
          <p:spPr bwMode="auto">
            <a:xfrm>
              <a:off x="7652566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9" name="Oval 160"/>
            <p:cNvSpPr>
              <a:spLocks noChangeArrowheads="1"/>
            </p:cNvSpPr>
            <p:nvPr/>
          </p:nvSpPr>
          <p:spPr bwMode="auto">
            <a:xfrm>
              <a:off x="7692009" y="453227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0" name="Oval 165"/>
            <p:cNvSpPr>
              <a:spLocks noChangeArrowheads="1"/>
            </p:cNvSpPr>
            <p:nvPr/>
          </p:nvSpPr>
          <p:spPr bwMode="auto">
            <a:xfrm>
              <a:off x="7516977" y="4532277"/>
              <a:ext cx="81353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1" name="Freeform 166"/>
            <p:cNvSpPr>
              <a:spLocks noEditPoints="1"/>
            </p:cNvSpPr>
            <p:nvPr/>
          </p:nvSpPr>
          <p:spPr bwMode="auto">
            <a:xfrm>
              <a:off x="7471370" y="462611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2" name="Oval 167"/>
            <p:cNvSpPr>
              <a:spLocks noChangeArrowheads="1"/>
            </p:cNvSpPr>
            <p:nvPr/>
          </p:nvSpPr>
          <p:spPr bwMode="auto">
            <a:xfrm>
              <a:off x="7338247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3" name="Freeform 168"/>
            <p:cNvSpPr>
              <a:spLocks noEditPoints="1"/>
            </p:cNvSpPr>
            <p:nvPr/>
          </p:nvSpPr>
          <p:spPr bwMode="auto">
            <a:xfrm>
              <a:off x="7292640" y="462611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4" name="Freeform 153"/>
            <p:cNvSpPr>
              <a:spLocks/>
            </p:cNvSpPr>
            <p:nvPr/>
          </p:nvSpPr>
          <p:spPr bwMode="auto">
            <a:xfrm>
              <a:off x="8017751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5" name="Oval 154"/>
            <p:cNvSpPr>
              <a:spLocks noChangeArrowheads="1"/>
            </p:cNvSpPr>
            <p:nvPr/>
          </p:nvSpPr>
          <p:spPr bwMode="auto">
            <a:xfrm>
              <a:off x="8055963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6" name="Oval 165"/>
            <p:cNvSpPr>
              <a:spLocks noChangeArrowheads="1"/>
            </p:cNvSpPr>
            <p:nvPr/>
          </p:nvSpPr>
          <p:spPr bwMode="auto">
            <a:xfrm>
              <a:off x="8418970" y="4532277"/>
              <a:ext cx="81353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7" name="Freeform 166"/>
            <p:cNvSpPr>
              <a:spLocks noEditPoints="1"/>
            </p:cNvSpPr>
            <p:nvPr/>
          </p:nvSpPr>
          <p:spPr bwMode="auto">
            <a:xfrm>
              <a:off x="8373363" y="462611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8" name="Oval 167"/>
            <p:cNvSpPr>
              <a:spLocks noChangeArrowheads="1"/>
            </p:cNvSpPr>
            <p:nvPr/>
          </p:nvSpPr>
          <p:spPr bwMode="auto">
            <a:xfrm>
              <a:off x="8240241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9" name="Freeform 168"/>
            <p:cNvSpPr>
              <a:spLocks noEditPoints="1"/>
            </p:cNvSpPr>
            <p:nvPr/>
          </p:nvSpPr>
          <p:spPr bwMode="auto">
            <a:xfrm>
              <a:off x="8194633" y="462611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0" name="Freeform 153"/>
            <p:cNvSpPr>
              <a:spLocks/>
            </p:cNvSpPr>
            <p:nvPr/>
          </p:nvSpPr>
          <p:spPr bwMode="auto">
            <a:xfrm>
              <a:off x="6213763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1" name="Oval 154"/>
            <p:cNvSpPr>
              <a:spLocks noChangeArrowheads="1"/>
            </p:cNvSpPr>
            <p:nvPr/>
          </p:nvSpPr>
          <p:spPr bwMode="auto">
            <a:xfrm>
              <a:off x="6251973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2" name="Freeform 157"/>
            <p:cNvSpPr>
              <a:spLocks/>
            </p:cNvSpPr>
            <p:nvPr/>
          </p:nvSpPr>
          <p:spPr bwMode="auto">
            <a:xfrm>
              <a:off x="6930535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3" name="Oval 158"/>
            <p:cNvSpPr>
              <a:spLocks noChangeArrowheads="1"/>
            </p:cNvSpPr>
            <p:nvPr/>
          </p:nvSpPr>
          <p:spPr bwMode="auto">
            <a:xfrm>
              <a:off x="6968745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4" name="Freeform 159"/>
            <p:cNvSpPr>
              <a:spLocks/>
            </p:cNvSpPr>
            <p:nvPr/>
          </p:nvSpPr>
          <p:spPr bwMode="auto">
            <a:xfrm>
              <a:off x="6750571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5" name="Oval 160"/>
            <p:cNvSpPr>
              <a:spLocks noChangeArrowheads="1"/>
            </p:cNvSpPr>
            <p:nvPr/>
          </p:nvSpPr>
          <p:spPr bwMode="auto">
            <a:xfrm>
              <a:off x="6790014" y="497538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6" name="Oval 165"/>
            <p:cNvSpPr>
              <a:spLocks noChangeArrowheads="1"/>
            </p:cNvSpPr>
            <p:nvPr/>
          </p:nvSpPr>
          <p:spPr bwMode="auto">
            <a:xfrm>
              <a:off x="6614982" y="4975387"/>
              <a:ext cx="81353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7" name="Freeform 166"/>
            <p:cNvSpPr>
              <a:spLocks noEditPoints="1"/>
            </p:cNvSpPr>
            <p:nvPr/>
          </p:nvSpPr>
          <p:spPr bwMode="auto">
            <a:xfrm>
              <a:off x="6569375" y="506922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8" name="Oval 167"/>
            <p:cNvSpPr>
              <a:spLocks noChangeArrowheads="1"/>
            </p:cNvSpPr>
            <p:nvPr/>
          </p:nvSpPr>
          <p:spPr bwMode="auto">
            <a:xfrm>
              <a:off x="6436253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9" name="Freeform 168"/>
            <p:cNvSpPr>
              <a:spLocks noEditPoints="1"/>
            </p:cNvSpPr>
            <p:nvPr/>
          </p:nvSpPr>
          <p:spPr bwMode="auto">
            <a:xfrm>
              <a:off x="6390645" y="506922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0" name="Freeform 153"/>
            <p:cNvSpPr>
              <a:spLocks/>
            </p:cNvSpPr>
            <p:nvPr/>
          </p:nvSpPr>
          <p:spPr bwMode="auto">
            <a:xfrm>
              <a:off x="7115758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1" name="Oval 154"/>
            <p:cNvSpPr>
              <a:spLocks noChangeArrowheads="1"/>
            </p:cNvSpPr>
            <p:nvPr/>
          </p:nvSpPr>
          <p:spPr bwMode="auto">
            <a:xfrm>
              <a:off x="7153968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2" name="Freeform 157"/>
            <p:cNvSpPr>
              <a:spLocks/>
            </p:cNvSpPr>
            <p:nvPr/>
          </p:nvSpPr>
          <p:spPr bwMode="auto">
            <a:xfrm>
              <a:off x="7832528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3" name="Oval 158"/>
            <p:cNvSpPr>
              <a:spLocks noChangeArrowheads="1"/>
            </p:cNvSpPr>
            <p:nvPr/>
          </p:nvSpPr>
          <p:spPr bwMode="auto">
            <a:xfrm>
              <a:off x="7870740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4" name="Freeform 159"/>
            <p:cNvSpPr>
              <a:spLocks/>
            </p:cNvSpPr>
            <p:nvPr/>
          </p:nvSpPr>
          <p:spPr bwMode="auto">
            <a:xfrm>
              <a:off x="7652566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5" name="Oval 160"/>
            <p:cNvSpPr>
              <a:spLocks noChangeArrowheads="1"/>
            </p:cNvSpPr>
            <p:nvPr/>
          </p:nvSpPr>
          <p:spPr bwMode="auto">
            <a:xfrm>
              <a:off x="7692009" y="497538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6" name="Oval 165"/>
            <p:cNvSpPr>
              <a:spLocks noChangeArrowheads="1"/>
            </p:cNvSpPr>
            <p:nvPr/>
          </p:nvSpPr>
          <p:spPr bwMode="auto">
            <a:xfrm>
              <a:off x="7516977" y="4975387"/>
              <a:ext cx="81353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7" name="Freeform 166"/>
            <p:cNvSpPr>
              <a:spLocks noEditPoints="1"/>
            </p:cNvSpPr>
            <p:nvPr/>
          </p:nvSpPr>
          <p:spPr bwMode="auto">
            <a:xfrm>
              <a:off x="7471370" y="506922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8" name="Oval 167"/>
            <p:cNvSpPr>
              <a:spLocks noChangeArrowheads="1"/>
            </p:cNvSpPr>
            <p:nvPr/>
          </p:nvSpPr>
          <p:spPr bwMode="auto">
            <a:xfrm>
              <a:off x="7338247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9" name="Freeform 168"/>
            <p:cNvSpPr>
              <a:spLocks noEditPoints="1"/>
            </p:cNvSpPr>
            <p:nvPr/>
          </p:nvSpPr>
          <p:spPr bwMode="auto">
            <a:xfrm>
              <a:off x="7292640" y="506922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0" name="Freeform 153"/>
            <p:cNvSpPr>
              <a:spLocks/>
            </p:cNvSpPr>
            <p:nvPr/>
          </p:nvSpPr>
          <p:spPr bwMode="auto">
            <a:xfrm>
              <a:off x="8017751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Oval 154"/>
            <p:cNvSpPr>
              <a:spLocks noChangeArrowheads="1"/>
            </p:cNvSpPr>
            <p:nvPr/>
          </p:nvSpPr>
          <p:spPr bwMode="auto">
            <a:xfrm>
              <a:off x="8055963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2" name="Oval 165"/>
            <p:cNvSpPr>
              <a:spLocks noChangeArrowheads="1"/>
            </p:cNvSpPr>
            <p:nvPr/>
          </p:nvSpPr>
          <p:spPr bwMode="auto">
            <a:xfrm>
              <a:off x="8418970" y="4975387"/>
              <a:ext cx="81353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3" name="Freeform 166"/>
            <p:cNvSpPr>
              <a:spLocks noEditPoints="1"/>
            </p:cNvSpPr>
            <p:nvPr/>
          </p:nvSpPr>
          <p:spPr bwMode="auto">
            <a:xfrm>
              <a:off x="8373363" y="506922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4" name="Oval 167"/>
            <p:cNvSpPr>
              <a:spLocks noChangeArrowheads="1"/>
            </p:cNvSpPr>
            <p:nvPr/>
          </p:nvSpPr>
          <p:spPr bwMode="auto">
            <a:xfrm>
              <a:off x="8240241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68"/>
            <p:cNvSpPr>
              <a:spLocks noEditPoints="1"/>
            </p:cNvSpPr>
            <p:nvPr/>
          </p:nvSpPr>
          <p:spPr bwMode="auto">
            <a:xfrm>
              <a:off x="8194633" y="5069225"/>
              <a:ext cx="172568" cy="318671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2" name="Freeform 157"/>
            <p:cNvSpPr>
              <a:spLocks/>
            </p:cNvSpPr>
            <p:nvPr/>
          </p:nvSpPr>
          <p:spPr bwMode="auto">
            <a:xfrm>
              <a:off x="8734523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3" name="Oval 158"/>
            <p:cNvSpPr>
              <a:spLocks noChangeArrowheads="1"/>
            </p:cNvSpPr>
            <p:nvPr/>
          </p:nvSpPr>
          <p:spPr bwMode="auto">
            <a:xfrm>
              <a:off x="8772733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4" name="Freeform 159"/>
            <p:cNvSpPr>
              <a:spLocks/>
            </p:cNvSpPr>
            <p:nvPr/>
          </p:nvSpPr>
          <p:spPr bwMode="auto">
            <a:xfrm>
              <a:off x="8554559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5" name="Oval 160"/>
            <p:cNvSpPr>
              <a:spLocks noChangeArrowheads="1"/>
            </p:cNvSpPr>
            <p:nvPr/>
          </p:nvSpPr>
          <p:spPr bwMode="auto">
            <a:xfrm>
              <a:off x="8594003" y="453227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6" name="Freeform 153"/>
            <p:cNvSpPr>
              <a:spLocks/>
            </p:cNvSpPr>
            <p:nvPr/>
          </p:nvSpPr>
          <p:spPr bwMode="auto">
            <a:xfrm>
              <a:off x="8919746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7" name="Oval 154"/>
            <p:cNvSpPr>
              <a:spLocks noChangeArrowheads="1"/>
            </p:cNvSpPr>
            <p:nvPr/>
          </p:nvSpPr>
          <p:spPr bwMode="auto">
            <a:xfrm>
              <a:off x="8957956" y="453227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8" name="Freeform 159"/>
            <p:cNvSpPr>
              <a:spLocks/>
            </p:cNvSpPr>
            <p:nvPr/>
          </p:nvSpPr>
          <p:spPr bwMode="auto">
            <a:xfrm>
              <a:off x="9456553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9" name="Oval 160"/>
            <p:cNvSpPr>
              <a:spLocks noChangeArrowheads="1"/>
            </p:cNvSpPr>
            <p:nvPr/>
          </p:nvSpPr>
          <p:spPr bwMode="auto">
            <a:xfrm>
              <a:off x="9495997" y="453227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320" name="Group 319"/>
            <p:cNvGrpSpPr/>
            <p:nvPr/>
          </p:nvGrpSpPr>
          <p:grpSpPr>
            <a:xfrm>
              <a:off x="9096627" y="4532277"/>
              <a:ext cx="351297" cy="412509"/>
              <a:chOff x="629950" y="2421868"/>
              <a:chExt cx="514492" cy="591215"/>
            </a:xfrm>
            <a:solidFill>
              <a:srgbClr val="173F49"/>
            </a:solidFill>
          </p:grpSpPr>
          <p:sp>
            <p:nvSpPr>
              <p:cNvPr id="407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8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9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0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21" name="Freeform 157"/>
            <p:cNvSpPr>
              <a:spLocks/>
            </p:cNvSpPr>
            <p:nvPr/>
          </p:nvSpPr>
          <p:spPr bwMode="auto">
            <a:xfrm>
              <a:off x="8734523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2" name="Oval 158"/>
            <p:cNvSpPr>
              <a:spLocks noChangeArrowheads="1"/>
            </p:cNvSpPr>
            <p:nvPr/>
          </p:nvSpPr>
          <p:spPr bwMode="auto">
            <a:xfrm>
              <a:off x="8772733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3" name="Freeform 159"/>
            <p:cNvSpPr>
              <a:spLocks/>
            </p:cNvSpPr>
            <p:nvPr/>
          </p:nvSpPr>
          <p:spPr bwMode="auto">
            <a:xfrm>
              <a:off x="8554559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4" name="Oval 160"/>
            <p:cNvSpPr>
              <a:spLocks noChangeArrowheads="1"/>
            </p:cNvSpPr>
            <p:nvPr/>
          </p:nvSpPr>
          <p:spPr bwMode="auto">
            <a:xfrm>
              <a:off x="8594003" y="497538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5" name="Freeform 153"/>
            <p:cNvSpPr>
              <a:spLocks/>
            </p:cNvSpPr>
            <p:nvPr/>
          </p:nvSpPr>
          <p:spPr bwMode="auto">
            <a:xfrm>
              <a:off x="8919746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6" name="Oval 154"/>
            <p:cNvSpPr>
              <a:spLocks noChangeArrowheads="1"/>
            </p:cNvSpPr>
            <p:nvPr/>
          </p:nvSpPr>
          <p:spPr bwMode="auto">
            <a:xfrm>
              <a:off x="8957956" y="4975387"/>
              <a:ext cx="83202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7" name="Freeform 159"/>
            <p:cNvSpPr>
              <a:spLocks/>
            </p:cNvSpPr>
            <p:nvPr/>
          </p:nvSpPr>
          <p:spPr bwMode="auto">
            <a:xfrm>
              <a:off x="9456553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8" name="Oval 160"/>
            <p:cNvSpPr>
              <a:spLocks noChangeArrowheads="1"/>
            </p:cNvSpPr>
            <p:nvPr/>
          </p:nvSpPr>
          <p:spPr bwMode="auto">
            <a:xfrm>
              <a:off x="9495997" y="497538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329" name="Group 328"/>
            <p:cNvGrpSpPr/>
            <p:nvPr/>
          </p:nvGrpSpPr>
          <p:grpSpPr>
            <a:xfrm>
              <a:off x="9096627" y="4975387"/>
              <a:ext cx="351297" cy="412509"/>
              <a:chOff x="629950" y="2421868"/>
              <a:chExt cx="514492" cy="591215"/>
            </a:xfrm>
            <a:solidFill>
              <a:srgbClr val="173F49"/>
            </a:solidFill>
          </p:grpSpPr>
          <p:sp>
            <p:nvSpPr>
              <p:cNvPr id="403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4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5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6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341" name="Freeform 159"/>
            <p:cNvSpPr>
              <a:spLocks/>
            </p:cNvSpPr>
            <p:nvPr/>
          </p:nvSpPr>
          <p:spPr bwMode="auto">
            <a:xfrm>
              <a:off x="9651408" y="4626745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2" name="Oval 160"/>
            <p:cNvSpPr>
              <a:spLocks noChangeArrowheads="1"/>
            </p:cNvSpPr>
            <p:nvPr/>
          </p:nvSpPr>
          <p:spPr bwMode="auto">
            <a:xfrm>
              <a:off x="9690852" y="453227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0" name="Freeform 159"/>
            <p:cNvSpPr>
              <a:spLocks/>
            </p:cNvSpPr>
            <p:nvPr/>
          </p:nvSpPr>
          <p:spPr bwMode="auto">
            <a:xfrm>
              <a:off x="9651408" y="5069856"/>
              <a:ext cx="159625" cy="31804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1" name="Oval 160"/>
            <p:cNvSpPr>
              <a:spLocks noChangeArrowheads="1"/>
            </p:cNvSpPr>
            <p:nvPr/>
          </p:nvSpPr>
          <p:spPr bwMode="auto">
            <a:xfrm>
              <a:off x="9690852" y="4975387"/>
              <a:ext cx="81969" cy="83761"/>
            </a:xfrm>
            <a:prstGeom prst="ellipse">
              <a:avLst/>
            </a:prstGeom>
            <a:solidFill>
              <a:srgbClr val="173F4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12" name="Group 411"/>
            <p:cNvGrpSpPr/>
            <p:nvPr/>
          </p:nvGrpSpPr>
          <p:grpSpPr>
            <a:xfrm>
              <a:off x="9831372" y="4532277"/>
              <a:ext cx="881655" cy="855620"/>
              <a:chOff x="9831372" y="4532277"/>
              <a:chExt cx="881655" cy="855620"/>
            </a:xfrm>
          </p:grpSpPr>
          <p:sp>
            <p:nvSpPr>
              <p:cNvPr id="339" name="Freeform 157"/>
              <p:cNvSpPr>
                <a:spLocks/>
              </p:cNvSpPr>
              <p:nvPr/>
            </p:nvSpPr>
            <p:spPr bwMode="auto">
              <a:xfrm>
                <a:off x="9831372" y="4626745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19 w 109"/>
                  <a:gd name="T11" fmla="*/ 104 h 213"/>
                  <a:gd name="T12" fmla="*/ 19 w 109"/>
                  <a:gd name="T13" fmla="*/ 35 h 213"/>
                  <a:gd name="T14" fmla="*/ 21 w 109"/>
                  <a:gd name="T15" fmla="*/ 33 h 213"/>
                  <a:gd name="T16" fmla="*/ 21 w 109"/>
                  <a:gd name="T17" fmla="*/ 33 h 213"/>
                  <a:gd name="T18" fmla="*/ 23 w 109"/>
                  <a:gd name="T19" fmla="*/ 35 h 213"/>
                  <a:gd name="T20" fmla="*/ 23 w 109"/>
                  <a:gd name="T21" fmla="*/ 198 h 213"/>
                  <a:gd name="T22" fmla="*/ 37 w 109"/>
                  <a:gd name="T23" fmla="*/ 213 h 213"/>
                  <a:gd name="T24" fmla="*/ 52 w 109"/>
                  <a:gd name="T25" fmla="*/ 198 h 213"/>
                  <a:gd name="T26" fmla="*/ 52 w 109"/>
                  <a:gd name="T27" fmla="*/ 116 h 213"/>
                  <a:gd name="T28" fmla="*/ 54 w 109"/>
                  <a:gd name="T29" fmla="*/ 114 h 213"/>
                  <a:gd name="T30" fmla="*/ 54 w 109"/>
                  <a:gd name="T31" fmla="*/ 114 h 213"/>
                  <a:gd name="T32" fmla="*/ 56 w 109"/>
                  <a:gd name="T33" fmla="*/ 116 h 213"/>
                  <a:gd name="T34" fmla="*/ 56 w 109"/>
                  <a:gd name="T35" fmla="*/ 198 h 213"/>
                  <a:gd name="T36" fmla="*/ 70 w 109"/>
                  <a:gd name="T37" fmla="*/ 213 h 213"/>
                  <a:gd name="T38" fmla="*/ 85 w 109"/>
                  <a:gd name="T39" fmla="*/ 198 h 213"/>
                  <a:gd name="T40" fmla="*/ 85 w 109"/>
                  <a:gd name="T41" fmla="*/ 35 h 213"/>
                  <a:gd name="T42" fmla="*/ 87 w 109"/>
                  <a:gd name="T43" fmla="*/ 33 h 213"/>
                  <a:gd name="T44" fmla="*/ 87 w 109"/>
                  <a:gd name="T45" fmla="*/ 33 h 213"/>
                  <a:gd name="T46" fmla="*/ 89 w 109"/>
                  <a:gd name="T47" fmla="*/ 35 h 213"/>
                  <a:gd name="T48" fmla="*/ 89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6" y="100"/>
                      <a:pt x="16" y="106"/>
                    </a:cubicBezTo>
                    <a:cubicBezTo>
                      <a:pt x="17" y="107"/>
                      <a:pt x="19" y="105"/>
                      <a:pt x="19" y="104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9" y="34"/>
                      <a:pt x="20" y="33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3" y="33"/>
                      <a:pt x="23" y="34"/>
                      <a:pt x="23" y="35"/>
                    </a:cubicBezTo>
                    <a:cubicBezTo>
                      <a:pt x="23" y="198"/>
                      <a:pt x="23" y="198"/>
                      <a:pt x="23" y="198"/>
                    </a:cubicBezTo>
                    <a:cubicBezTo>
                      <a:pt x="23" y="206"/>
                      <a:pt x="30" y="213"/>
                      <a:pt x="37" y="213"/>
                    </a:cubicBezTo>
                    <a:cubicBezTo>
                      <a:pt x="46" y="213"/>
                      <a:pt x="52" y="207"/>
                      <a:pt x="52" y="198"/>
                    </a:cubicBezTo>
                    <a:cubicBezTo>
                      <a:pt x="52" y="116"/>
                      <a:pt x="52" y="116"/>
                      <a:pt x="52" y="116"/>
                    </a:cubicBezTo>
                    <a:cubicBezTo>
                      <a:pt x="52" y="115"/>
                      <a:pt x="53" y="114"/>
                      <a:pt x="54" y="114"/>
                    </a:cubicBezTo>
                    <a:cubicBezTo>
                      <a:pt x="54" y="114"/>
                      <a:pt x="54" y="114"/>
                      <a:pt x="54" y="114"/>
                    </a:cubicBezTo>
                    <a:cubicBezTo>
                      <a:pt x="55" y="114"/>
                      <a:pt x="56" y="115"/>
                      <a:pt x="56" y="116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206"/>
                      <a:pt x="62" y="213"/>
                      <a:pt x="70" y="213"/>
                    </a:cubicBezTo>
                    <a:cubicBezTo>
                      <a:pt x="79" y="213"/>
                      <a:pt x="85" y="207"/>
                      <a:pt x="85" y="198"/>
                    </a:cubicBezTo>
                    <a:cubicBezTo>
                      <a:pt x="85" y="35"/>
                      <a:pt x="85" y="35"/>
                      <a:pt x="85" y="35"/>
                    </a:cubicBezTo>
                    <a:cubicBezTo>
                      <a:pt x="85" y="34"/>
                      <a:pt x="86" y="33"/>
                      <a:pt x="87" y="33"/>
                    </a:cubicBezTo>
                    <a:cubicBezTo>
                      <a:pt x="87" y="33"/>
                      <a:pt x="87" y="33"/>
                      <a:pt x="87" y="33"/>
                    </a:cubicBezTo>
                    <a:cubicBezTo>
                      <a:pt x="88" y="33"/>
                      <a:pt x="89" y="34"/>
                      <a:pt x="89" y="35"/>
                    </a:cubicBezTo>
                    <a:cubicBezTo>
                      <a:pt x="89" y="103"/>
                      <a:pt x="89" y="103"/>
                      <a:pt x="89" y="103"/>
                    </a:cubicBezTo>
                    <a:cubicBezTo>
                      <a:pt x="89" y="105"/>
                      <a:pt x="91" y="106"/>
                      <a:pt x="93" y="105"/>
                    </a:cubicBezTo>
                    <a:cubicBezTo>
                      <a:pt x="102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4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0" name="Oval 158"/>
              <p:cNvSpPr>
                <a:spLocks noChangeArrowheads="1"/>
              </p:cNvSpPr>
              <p:nvPr/>
            </p:nvSpPr>
            <p:spPr bwMode="auto">
              <a:xfrm>
                <a:off x="9869582" y="453227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3" name="Freeform 153"/>
              <p:cNvSpPr>
                <a:spLocks/>
              </p:cNvSpPr>
              <p:nvPr/>
            </p:nvSpPr>
            <p:spPr bwMode="auto">
              <a:xfrm>
                <a:off x="10016595" y="4626745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3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4" name="Oval 154"/>
              <p:cNvSpPr>
                <a:spLocks noChangeArrowheads="1"/>
              </p:cNvSpPr>
              <p:nvPr/>
            </p:nvSpPr>
            <p:spPr bwMode="auto">
              <a:xfrm>
                <a:off x="10054805" y="453227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5" name="Freeform 159"/>
              <p:cNvSpPr>
                <a:spLocks/>
              </p:cNvSpPr>
              <p:nvPr/>
            </p:nvSpPr>
            <p:spPr bwMode="auto">
              <a:xfrm>
                <a:off x="10553402" y="4626745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4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4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6" name="Oval 160"/>
              <p:cNvSpPr>
                <a:spLocks noChangeArrowheads="1"/>
              </p:cNvSpPr>
              <p:nvPr/>
            </p:nvSpPr>
            <p:spPr bwMode="auto">
              <a:xfrm>
                <a:off x="10592846" y="4532277"/>
                <a:ext cx="81969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grpSp>
            <p:nvGrpSpPr>
              <p:cNvPr id="347" name="Group 346"/>
              <p:cNvGrpSpPr/>
              <p:nvPr/>
            </p:nvGrpSpPr>
            <p:grpSpPr>
              <a:xfrm>
                <a:off x="10193476" y="4532277"/>
                <a:ext cx="351297" cy="412509"/>
                <a:chOff x="629950" y="2421868"/>
                <a:chExt cx="514492" cy="591215"/>
              </a:xfrm>
              <a:solidFill>
                <a:srgbClr val="173F49"/>
              </a:solidFill>
            </p:grpSpPr>
            <p:sp>
              <p:nvSpPr>
                <p:cNvPr id="395" name="Oval 165"/>
                <p:cNvSpPr>
                  <a:spLocks noChangeArrowheads="1"/>
                </p:cNvSpPr>
                <p:nvPr/>
              </p:nvSpPr>
              <p:spPr bwMode="auto">
                <a:xfrm>
                  <a:off x="958503" y="2421868"/>
                  <a:ext cx="119146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96" name="Freeform 166"/>
                <p:cNvSpPr>
                  <a:spLocks noEditPoints="1"/>
                </p:cNvSpPr>
                <p:nvPr/>
              </p:nvSpPr>
              <p:spPr bwMode="auto">
                <a:xfrm>
                  <a:off x="891709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2 w 118"/>
                    <a:gd name="T3" fmla="*/ 102 h 213"/>
                    <a:gd name="T4" fmla="*/ 113 w 118"/>
                    <a:gd name="T5" fmla="*/ 78 h 213"/>
                    <a:gd name="T6" fmla="*/ 113 w 118"/>
                    <a:gd name="T7" fmla="*/ 32 h 213"/>
                    <a:gd name="T8" fmla="*/ 81 w 118"/>
                    <a:gd name="T9" fmla="*/ 0 h 213"/>
                    <a:gd name="T10" fmla="*/ 36 w 118"/>
                    <a:gd name="T11" fmla="*/ 0 h 213"/>
                    <a:gd name="T12" fmla="*/ 4 w 118"/>
                    <a:gd name="T13" fmla="*/ 32 h 213"/>
                    <a:gd name="T14" fmla="*/ 4 w 118"/>
                    <a:gd name="T15" fmla="*/ 78 h 213"/>
                    <a:gd name="T16" fmla="*/ 15 w 118"/>
                    <a:gd name="T17" fmla="*/ 102 h 213"/>
                    <a:gd name="T18" fmla="*/ 0 w 118"/>
                    <a:gd name="T19" fmla="*/ 142 h 213"/>
                    <a:gd name="T20" fmla="*/ 28 w 118"/>
                    <a:gd name="T21" fmla="*/ 142 h 213"/>
                    <a:gd name="T22" fmla="*/ 28 w 118"/>
                    <a:gd name="T23" fmla="*/ 198 h 213"/>
                    <a:gd name="T24" fmla="*/ 42 w 118"/>
                    <a:gd name="T25" fmla="*/ 213 h 213"/>
                    <a:gd name="T26" fmla="*/ 57 w 118"/>
                    <a:gd name="T27" fmla="*/ 198 h 213"/>
                    <a:gd name="T28" fmla="*/ 57 w 118"/>
                    <a:gd name="T29" fmla="*/ 142 h 213"/>
                    <a:gd name="T30" fmla="*/ 61 w 118"/>
                    <a:gd name="T31" fmla="*/ 142 h 213"/>
                    <a:gd name="T32" fmla="*/ 61 w 118"/>
                    <a:gd name="T33" fmla="*/ 198 h 213"/>
                    <a:gd name="T34" fmla="*/ 75 w 118"/>
                    <a:gd name="T35" fmla="*/ 213 h 213"/>
                    <a:gd name="T36" fmla="*/ 90 w 118"/>
                    <a:gd name="T37" fmla="*/ 198 h 213"/>
                    <a:gd name="T38" fmla="*/ 90 w 118"/>
                    <a:gd name="T39" fmla="*/ 142 h 213"/>
                    <a:gd name="T40" fmla="*/ 118 w 118"/>
                    <a:gd name="T41" fmla="*/ 142 h 213"/>
                    <a:gd name="T42" fmla="*/ 92 w 118"/>
                    <a:gd name="T43" fmla="*/ 33 h 213"/>
                    <a:gd name="T44" fmla="*/ 92 w 118"/>
                    <a:gd name="T45" fmla="*/ 33 h 213"/>
                    <a:gd name="T46" fmla="*/ 94 w 118"/>
                    <a:gd name="T47" fmla="*/ 35 h 213"/>
                    <a:gd name="T48" fmla="*/ 94 w 118"/>
                    <a:gd name="T49" fmla="*/ 81 h 213"/>
                    <a:gd name="T50" fmla="*/ 90 w 118"/>
                    <a:gd name="T51" fmla="*/ 70 h 213"/>
                    <a:gd name="T52" fmla="*/ 90 w 118"/>
                    <a:gd name="T53" fmla="*/ 35 h 213"/>
                    <a:gd name="T54" fmla="*/ 92 w 118"/>
                    <a:gd name="T55" fmla="*/ 33 h 213"/>
                    <a:gd name="T56" fmla="*/ 24 w 118"/>
                    <a:gd name="T57" fmla="*/ 80 h 213"/>
                    <a:gd name="T58" fmla="*/ 24 w 118"/>
                    <a:gd name="T59" fmla="*/ 35 h 213"/>
                    <a:gd name="T60" fmla="*/ 26 w 118"/>
                    <a:gd name="T61" fmla="*/ 33 h 213"/>
                    <a:gd name="T62" fmla="*/ 28 w 118"/>
                    <a:gd name="T63" fmla="*/ 35 h 213"/>
                    <a:gd name="T64" fmla="*/ 28 w 118"/>
                    <a:gd name="T65" fmla="*/ 69 h 213"/>
                    <a:gd name="T66" fmla="*/ 24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2" y="102"/>
                        <a:pt x="102" y="102"/>
                        <a:pt x="102" y="102"/>
                      </a:cubicBezTo>
                      <a:cubicBezTo>
                        <a:pt x="109" y="96"/>
                        <a:pt x="113" y="87"/>
                        <a:pt x="113" y="78"/>
                      </a:cubicBezTo>
                      <a:cubicBezTo>
                        <a:pt x="113" y="32"/>
                        <a:pt x="113" y="32"/>
                        <a:pt x="113" y="32"/>
                      </a:cubicBezTo>
                      <a:cubicBezTo>
                        <a:pt x="113" y="14"/>
                        <a:pt x="99" y="0"/>
                        <a:pt x="8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9" y="0"/>
                        <a:pt x="4" y="14"/>
                        <a:pt x="4" y="32"/>
                      </a:cubicBez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4" y="87"/>
                        <a:pt x="9" y="96"/>
                        <a:pt x="15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8" y="142"/>
                        <a:pt x="28" y="142"/>
                        <a:pt x="28" y="142"/>
                      </a:cubicBezTo>
                      <a:cubicBezTo>
                        <a:pt x="28" y="198"/>
                        <a:pt x="28" y="198"/>
                        <a:pt x="28" y="198"/>
                      </a:cubicBezTo>
                      <a:cubicBezTo>
                        <a:pt x="28" y="206"/>
                        <a:pt x="34" y="212"/>
                        <a:pt x="42" y="213"/>
                      </a:cubicBezTo>
                      <a:cubicBezTo>
                        <a:pt x="50" y="213"/>
                        <a:pt x="57" y="206"/>
                        <a:pt x="57" y="198"/>
                      </a:cubicBezTo>
                      <a:cubicBezTo>
                        <a:pt x="57" y="142"/>
                        <a:pt x="57" y="142"/>
                        <a:pt x="57" y="142"/>
                      </a:cubicBezTo>
                      <a:cubicBezTo>
                        <a:pt x="61" y="142"/>
                        <a:pt x="61" y="142"/>
                        <a:pt x="61" y="142"/>
                      </a:cubicBezTo>
                      <a:cubicBezTo>
                        <a:pt x="61" y="198"/>
                        <a:pt x="61" y="198"/>
                        <a:pt x="61" y="198"/>
                      </a:cubicBezTo>
                      <a:cubicBezTo>
                        <a:pt x="61" y="206"/>
                        <a:pt x="67" y="212"/>
                        <a:pt x="75" y="213"/>
                      </a:cubicBezTo>
                      <a:cubicBezTo>
                        <a:pt x="83" y="213"/>
                        <a:pt x="90" y="206"/>
                        <a:pt x="90" y="198"/>
                      </a:cubicBezTo>
                      <a:cubicBezTo>
                        <a:pt x="90" y="142"/>
                        <a:pt x="90" y="142"/>
                        <a:pt x="90" y="142"/>
                      </a:cubicBezTo>
                      <a:lnTo>
                        <a:pt x="118" y="142"/>
                      </a:lnTo>
                      <a:close/>
                      <a:moveTo>
                        <a:pt x="92" y="33"/>
                      </a:moveTo>
                      <a:cubicBezTo>
                        <a:pt x="92" y="33"/>
                        <a:pt x="92" y="33"/>
                        <a:pt x="92" y="33"/>
                      </a:cubicBezTo>
                      <a:cubicBezTo>
                        <a:pt x="93" y="33"/>
                        <a:pt x="94" y="34"/>
                        <a:pt x="94" y="35"/>
                      </a:cubicBezTo>
                      <a:cubicBezTo>
                        <a:pt x="94" y="81"/>
                        <a:pt x="94" y="81"/>
                        <a:pt x="94" y="81"/>
                      </a:cubicBezTo>
                      <a:cubicBezTo>
                        <a:pt x="90" y="70"/>
                        <a:pt x="90" y="70"/>
                        <a:pt x="90" y="70"/>
                      </a:cubicBezTo>
                      <a:cubicBezTo>
                        <a:pt x="90" y="35"/>
                        <a:pt x="90" y="35"/>
                        <a:pt x="90" y="35"/>
                      </a:cubicBezTo>
                      <a:cubicBezTo>
                        <a:pt x="90" y="34"/>
                        <a:pt x="91" y="33"/>
                        <a:pt x="92" y="33"/>
                      </a:cubicBezTo>
                      <a:close/>
                      <a:moveTo>
                        <a:pt x="24" y="80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34"/>
                        <a:pt x="25" y="33"/>
                        <a:pt x="26" y="33"/>
                      </a:cubicBezTo>
                      <a:cubicBezTo>
                        <a:pt x="27" y="33"/>
                        <a:pt x="28" y="34"/>
                        <a:pt x="28" y="35"/>
                      </a:cubicBezTo>
                      <a:cubicBezTo>
                        <a:pt x="28" y="69"/>
                        <a:pt x="28" y="69"/>
                        <a:pt x="28" y="69"/>
                      </a:cubicBezTo>
                      <a:lnTo>
                        <a:pt x="24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97" name="Oval 167"/>
                <p:cNvSpPr>
                  <a:spLocks noChangeArrowheads="1"/>
                </p:cNvSpPr>
                <p:nvPr/>
              </p:nvSpPr>
              <p:spPr bwMode="auto">
                <a:xfrm>
                  <a:off x="696744" y="2421868"/>
                  <a:ext cx="121854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98" name="Freeform 168"/>
                <p:cNvSpPr>
                  <a:spLocks noEditPoints="1"/>
                </p:cNvSpPr>
                <p:nvPr/>
              </p:nvSpPr>
              <p:spPr bwMode="auto">
                <a:xfrm>
                  <a:off x="629950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3 w 118"/>
                    <a:gd name="T3" fmla="*/ 102 h 213"/>
                    <a:gd name="T4" fmla="*/ 114 w 118"/>
                    <a:gd name="T5" fmla="*/ 78 h 213"/>
                    <a:gd name="T6" fmla="*/ 114 w 118"/>
                    <a:gd name="T7" fmla="*/ 32 h 213"/>
                    <a:gd name="T8" fmla="*/ 82 w 118"/>
                    <a:gd name="T9" fmla="*/ 0 h 213"/>
                    <a:gd name="T10" fmla="*/ 37 w 118"/>
                    <a:gd name="T11" fmla="*/ 0 h 213"/>
                    <a:gd name="T12" fmla="*/ 5 w 118"/>
                    <a:gd name="T13" fmla="*/ 32 h 213"/>
                    <a:gd name="T14" fmla="*/ 5 w 118"/>
                    <a:gd name="T15" fmla="*/ 78 h 213"/>
                    <a:gd name="T16" fmla="*/ 16 w 118"/>
                    <a:gd name="T17" fmla="*/ 102 h 213"/>
                    <a:gd name="T18" fmla="*/ 0 w 118"/>
                    <a:gd name="T19" fmla="*/ 142 h 213"/>
                    <a:gd name="T20" fmla="*/ 29 w 118"/>
                    <a:gd name="T21" fmla="*/ 142 h 213"/>
                    <a:gd name="T22" fmla="*/ 29 w 118"/>
                    <a:gd name="T23" fmla="*/ 198 h 213"/>
                    <a:gd name="T24" fmla="*/ 43 w 118"/>
                    <a:gd name="T25" fmla="*/ 213 h 213"/>
                    <a:gd name="T26" fmla="*/ 58 w 118"/>
                    <a:gd name="T27" fmla="*/ 198 h 213"/>
                    <a:gd name="T28" fmla="*/ 58 w 118"/>
                    <a:gd name="T29" fmla="*/ 142 h 213"/>
                    <a:gd name="T30" fmla="*/ 62 w 118"/>
                    <a:gd name="T31" fmla="*/ 142 h 213"/>
                    <a:gd name="T32" fmla="*/ 62 w 118"/>
                    <a:gd name="T33" fmla="*/ 198 h 213"/>
                    <a:gd name="T34" fmla="*/ 76 w 118"/>
                    <a:gd name="T35" fmla="*/ 213 h 213"/>
                    <a:gd name="T36" fmla="*/ 91 w 118"/>
                    <a:gd name="T37" fmla="*/ 198 h 213"/>
                    <a:gd name="T38" fmla="*/ 91 w 118"/>
                    <a:gd name="T39" fmla="*/ 142 h 213"/>
                    <a:gd name="T40" fmla="*/ 118 w 118"/>
                    <a:gd name="T41" fmla="*/ 142 h 213"/>
                    <a:gd name="T42" fmla="*/ 93 w 118"/>
                    <a:gd name="T43" fmla="*/ 33 h 213"/>
                    <a:gd name="T44" fmla="*/ 93 w 118"/>
                    <a:gd name="T45" fmla="*/ 33 h 213"/>
                    <a:gd name="T46" fmla="*/ 95 w 118"/>
                    <a:gd name="T47" fmla="*/ 35 h 213"/>
                    <a:gd name="T48" fmla="*/ 95 w 118"/>
                    <a:gd name="T49" fmla="*/ 81 h 213"/>
                    <a:gd name="T50" fmla="*/ 91 w 118"/>
                    <a:gd name="T51" fmla="*/ 70 h 213"/>
                    <a:gd name="T52" fmla="*/ 91 w 118"/>
                    <a:gd name="T53" fmla="*/ 35 h 213"/>
                    <a:gd name="T54" fmla="*/ 93 w 118"/>
                    <a:gd name="T55" fmla="*/ 33 h 213"/>
                    <a:gd name="T56" fmla="*/ 25 w 118"/>
                    <a:gd name="T57" fmla="*/ 80 h 213"/>
                    <a:gd name="T58" fmla="*/ 25 w 118"/>
                    <a:gd name="T59" fmla="*/ 35 h 213"/>
                    <a:gd name="T60" fmla="*/ 27 w 118"/>
                    <a:gd name="T61" fmla="*/ 33 h 213"/>
                    <a:gd name="T62" fmla="*/ 29 w 118"/>
                    <a:gd name="T63" fmla="*/ 35 h 213"/>
                    <a:gd name="T64" fmla="*/ 29 w 118"/>
                    <a:gd name="T65" fmla="*/ 69 h 213"/>
                    <a:gd name="T66" fmla="*/ 25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3" y="102"/>
                        <a:pt x="103" y="102"/>
                        <a:pt x="103" y="102"/>
                      </a:cubicBezTo>
                      <a:cubicBezTo>
                        <a:pt x="110" y="96"/>
                        <a:pt x="114" y="87"/>
                        <a:pt x="114" y="78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4" y="14"/>
                        <a:pt x="100" y="0"/>
                        <a:pt x="82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19" y="0"/>
                        <a:pt x="5" y="14"/>
                        <a:pt x="5" y="32"/>
                      </a:cubicBezTo>
                      <a:cubicBezTo>
                        <a:pt x="5" y="78"/>
                        <a:pt x="5" y="78"/>
                        <a:pt x="5" y="78"/>
                      </a:cubicBezTo>
                      <a:cubicBezTo>
                        <a:pt x="5" y="87"/>
                        <a:pt x="9" y="96"/>
                        <a:pt x="16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9" y="142"/>
                        <a:pt x="29" y="142"/>
                        <a:pt x="29" y="142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29" y="206"/>
                        <a:pt x="35" y="212"/>
                        <a:pt x="43" y="213"/>
                      </a:cubicBezTo>
                      <a:cubicBezTo>
                        <a:pt x="51" y="213"/>
                        <a:pt x="58" y="206"/>
                        <a:pt x="58" y="198"/>
                      </a:cubicBezTo>
                      <a:cubicBezTo>
                        <a:pt x="58" y="142"/>
                        <a:pt x="58" y="142"/>
                        <a:pt x="58" y="142"/>
                      </a:cubicBezTo>
                      <a:cubicBezTo>
                        <a:pt x="62" y="142"/>
                        <a:pt x="62" y="142"/>
                        <a:pt x="62" y="142"/>
                      </a:cubicBezTo>
                      <a:cubicBezTo>
                        <a:pt x="62" y="198"/>
                        <a:pt x="62" y="198"/>
                        <a:pt x="62" y="198"/>
                      </a:cubicBezTo>
                      <a:cubicBezTo>
                        <a:pt x="62" y="206"/>
                        <a:pt x="68" y="212"/>
                        <a:pt x="76" y="213"/>
                      </a:cubicBezTo>
                      <a:cubicBezTo>
                        <a:pt x="84" y="213"/>
                        <a:pt x="91" y="206"/>
                        <a:pt x="91" y="198"/>
                      </a:cubicBezTo>
                      <a:cubicBezTo>
                        <a:pt x="91" y="142"/>
                        <a:pt x="91" y="142"/>
                        <a:pt x="91" y="142"/>
                      </a:cubicBezTo>
                      <a:lnTo>
                        <a:pt x="118" y="142"/>
                      </a:lnTo>
                      <a:close/>
                      <a:moveTo>
                        <a:pt x="93" y="33"/>
                      </a:moveTo>
                      <a:cubicBezTo>
                        <a:pt x="93" y="33"/>
                        <a:pt x="93" y="33"/>
                        <a:pt x="93" y="33"/>
                      </a:cubicBezTo>
                      <a:cubicBezTo>
                        <a:pt x="94" y="33"/>
                        <a:pt x="95" y="34"/>
                        <a:pt x="95" y="35"/>
                      </a:cubicBezTo>
                      <a:cubicBezTo>
                        <a:pt x="95" y="81"/>
                        <a:pt x="95" y="81"/>
                        <a:pt x="95" y="81"/>
                      </a:cubicBezTo>
                      <a:cubicBezTo>
                        <a:pt x="91" y="70"/>
                        <a:pt x="91" y="70"/>
                        <a:pt x="91" y="70"/>
                      </a:cubicBezTo>
                      <a:cubicBezTo>
                        <a:pt x="91" y="35"/>
                        <a:pt x="91" y="35"/>
                        <a:pt x="91" y="35"/>
                      </a:cubicBezTo>
                      <a:cubicBezTo>
                        <a:pt x="91" y="34"/>
                        <a:pt x="91" y="33"/>
                        <a:pt x="93" y="33"/>
                      </a:cubicBezTo>
                      <a:close/>
                      <a:moveTo>
                        <a:pt x="25" y="80"/>
                      </a:moveTo>
                      <a:cubicBezTo>
                        <a:pt x="25" y="35"/>
                        <a:pt x="25" y="35"/>
                        <a:pt x="25" y="35"/>
                      </a:cubicBezTo>
                      <a:cubicBezTo>
                        <a:pt x="25" y="34"/>
                        <a:pt x="26" y="33"/>
                        <a:pt x="27" y="33"/>
                      </a:cubicBezTo>
                      <a:cubicBezTo>
                        <a:pt x="28" y="33"/>
                        <a:pt x="29" y="34"/>
                        <a:pt x="29" y="35"/>
                      </a:cubicBezTo>
                      <a:cubicBezTo>
                        <a:pt x="29" y="69"/>
                        <a:pt x="29" y="69"/>
                        <a:pt x="29" y="69"/>
                      </a:cubicBezTo>
                      <a:lnTo>
                        <a:pt x="25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348" name="Freeform 157"/>
              <p:cNvSpPr>
                <a:spLocks/>
              </p:cNvSpPr>
              <p:nvPr/>
            </p:nvSpPr>
            <p:spPr bwMode="auto">
              <a:xfrm>
                <a:off x="9831372" y="5069856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19 w 109"/>
                  <a:gd name="T11" fmla="*/ 104 h 213"/>
                  <a:gd name="T12" fmla="*/ 19 w 109"/>
                  <a:gd name="T13" fmla="*/ 35 h 213"/>
                  <a:gd name="T14" fmla="*/ 21 w 109"/>
                  <a:gd name="T15" fmla="*/ 33 h 213"/>
                  <a:gd name="T16" fmla="*/ 21 w 109"/>
                  <a:gd name="T17" fmla="*/ 33 h 213"/>
                  <a:gd name="T18" fmla="*/ 23 w 109"/>
                  <a:gd name="T19" fmla="*/ 35 h 213"/>
                  <a:gd name="T20" fmla="*/ 23 w 109"/>
                  <a:gd name="T21" fmla="*/ 198 h 213"/>
                  <a:gd name="T22" fmla="*/ 37 w 109"/>
                  <a:gd name="T23" fmla="*/ 213 h 213"/>
                  <a:gd name="T24" fmla="*/ 52 w 109"/>
                  <a:gd name="T25" fmla="*/ 198 h 213"/>
                  <a:gd name="T26" fmla="*/ 52 w 109"/>
                  <a:gd name="T27" fmla="*/ 116 h 213"/>
                  <a:gd name="T28" fmla="*/ 54 w 109"/>
                  <a:gd name="T29" fmla="*/ 114 h 213"/>
                  <a:gd name="T30" fmla="*/ 54 w 109"/>
                  <a:gd name="T31" fmla="*/ 114 h 213"/>
                  <a:gd name="T32" fmla="*/ 56 w 109"/>
                  <a:gd name="T33" fmla="*/ 116 h 213"/>
                  <a:gd name="T34" fmla="*/ 56 w 109"/>
                  <a:gd name="T35" fmla="*/ 198 h 213"/>
                  <a:gd name="T36" fmla="*/ 70 w 109"/>
                  <a:gd name="T37" fmla="*/ 213 h 213"/>
                  <a:gd name="T38" fmla="*/ 85 w 109"/>
                  <a:gd name="T39" fmla="*/ 198 h 213"/>
                  <a:gd name="T40" fmla="*/ 85 w 109"/>
                  <a:gd name="T41" fmla="*/ 35 h 213"/>
                  <a:gd name="T42" fmla="*/ 87 w 109"/>
                  <a:gd name="T43" fmla="*/ 33 h 213"/>
                  <a:gd name="T44" fmla="*/ 87 w 109"/>
                  <a:gd name="T45" fmla="*/ 33 h 213"/>
                  <a:gd name="T46" fmla="*/ 89 w 109"/>
                  <a:gd name="T47" fmla="*/ 35 h 213"/>
                  <a:gd name="T48" fmla="*/ 89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6" y="100"/>
                      <a:pt x="16" y="106"/>
                    </a:cubicBezTo>
                    <a:cubicBezTo>
                      <a:pt x="17" y="107"/>
                      <a:pt x="19" y="105"/>
                      <a:pt x="19" y="104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9" y="34"/>
                      <a:pt x="20" y="33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3" y="33"/>
                      <a:pt x="23" y="34"/>
                      <a:pt x="23" y="35"/>
                    </a:cubicBezTo>
                    <a:cubicBezTo>
                      <a:pt x="23" y="198"/>
                      <a:pt x="23" y="198"/>
                      <a:pt x="23" y="198"/>
                    </a:cubicBezTo>
                    <a:cubicBezTo>
                      <a:pt x="23" y="206"/>
                      <a:pt x="30" y="213"/>
                      <a:pt x="37" y="213"/>
                    </a:cubicBezTo>
                    <a:cubicBezTo>
                      <a:pt x="46" y="213"/>
                      <a:pt x="52" y="207"/>
                      <a:pt x="52" y="198"/>
                    </a:cubicBezTo>
                    <a:cubicBezTo>
                      <a:pt x="52" y="116"/>
                      <a:pt x="52" y="116"/>
                      <a:pt x="52" y="116"/>
                    </a:cubicBezTo>
                    <a:cubicBezTo>
                      <a:pt x="52" y="115"/>
                      <a:pt x="53" y="114"/>
                      <a:pt x="54" y="114"/>
                    </a:cubicBezTo>
                    <a:cubicBezTo>
                      <a:pt x="54" y="114"/>
                      <a:pt x="54" y="114"/>
                      <a:pt x="54" y="114"/>
                    </a:cubicBezTo>
                    <a:cubicBezTo>
                      <a:pt x="55" y="114"/>
                      <a:pt x="56" y="115"/>
                      <a:pt x="56" y="116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206"/>
                      <a:pt x="62" y="213"/>
                      <a:pt x="70" y="213"/>
                    </a:cubicBezTo>
                    <a:cubicBezTo>
                      <a:pt x="79" y="213"/>
                      <a:pt x="85" y="207"/>
                      <a:pt x="85" y="198"/>
                    </a:cubicBezTo>
                    <a:cubicBezTo>
                      <a:pt x="85" y="35"/>
                      <a:pt x="85" y="35"/>
                      <a:pt x="85" y="35"/>
                    </a:cubicBezTo>
                    <a:cubicBezTo>
                      <a:pt x="85" y="34"/>
                      <a:pt x="86" y="33"/>
                      <a:pt x="87" y="33"/>
                    </a:cubicBezTo>
                    <a:cubicBezTo>
                      <a:pt x="87" y="33"/>
                      <a:pt x="87" y="33"/>
                      <a:pt x="87" y="33"/>
                    </a:cubicBezTo>
                    <a:cubicBezTo>
                      <a:pt x="88" y="33"/>
                      <a:pt x="89" y="34"/>
                      <a:pt x="89" y="35"/>
                    </a:cubicBezTo>
                    <a:cubicBezTo>
                      <a:pt x="89" y="103"/>
                      <a:pt x="89" y="103"/>
                      <a:pt x="89" y="103"/>
                    </a:cubicBezTo>
                    <a:cubicBezTo>
                      <a:pt x="89" y="105"/>
                      <a:pt x="91" y="106"/>
                      <a:pt x="93" y="105"/>
                    </a:cubicBezTo>
                    <a:cubicBezTo>
                      <a:pt x="102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4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9" name="Oval 158"/>
              <p:cNvSpPr>
                <a:spLocks noChangeArrowheads="1"/>
              </p:cNvSpPr>
              <p:nvPr/>
            </p:nvSpPr>
            <p:spPr bwMode="auto">
              <a:xfrm>
                <a:off x="9869582" y="497538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2" name="Freeform 153"/>
              <p:cNvSpPr>
                <a:spLocks/>
              </p:cNvSpPr>
              <p:nvPr/>
            </p:nvSpPr>
            <p:spPr bwMode="auto">
              <a:xfrm>
                <a:off x="10016595" y="5069856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3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3" name="Oval 154"/>
              <p:cNvSpPr>
                <a:spLocks noChangeArrowheads="1"/>
              </p:cNvSpPr>
              <p:nvPr/>
            </p:nvSpPr>
            <p:spPr bwMode="auto">
              <a:xfrm>
                <a:off x="10054805" y="497538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4" name="Freeform 159"/>
              <p:cNvSpPr>
                <a:spLocks/>
              </p:cNvSpPr>
              <p:nvPr/>
            </p:nvSpPr>
            <p:spPr bwMode="auto">
              <a:xfrm>
                <a:off x="10553402" y="5069856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4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4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5" name="Oval 160"/>
              <p:cNvSpPr>
                <a:spLocks noChangeArrowheads="1"/>
              </p:cNvSpPr>
              <p:nvPr/>
            </p:nvSpPr>
            <p:spPr bwMode="auto">
              <a:xfrm>
                <a:off x="10592846" y="4975387"/>
                <a:ext cx="81969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grpSp>
            <p:nvGrpSpPr>
              <p:cNvPr id="356" name="Group 355"/>
              <p:cNvGrpSpPr/>
              <p:nvPr/>
            </p:nvGrpSpPr>
            <p:grpSpPr>
              <a:xfrm>
                <a:off x="10193476" y="4975387"/>
                <a:ext cx="351297" cy="412509"/>
                <a:chOff x="629950" y="2421868"/>
                <a:chExt cx="514492" cy="591215"/>
              </a:xfrm>
              <a:solidFill>
                <a:srgbClr val="173F49"/>
              </a:solidFill>
            </p:grpSpPr>
            <p:sp>
              <p:nvSpPr>
                <p:cNvPr id="391" name="Oval 165"/>
                <p:cNvSpPr>
                  <a:spLocks noChangeArrowheads="1"/>
                </p:cNvSpPr>
                <p:nvPr/>
              </p:nvSpPr>
              <p:spPr bwMode="auto">
                <a:xfrm>
                  <a:off x="958503" y="2421868"/>
                  <a:ext cx="119146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92" name="Freeform 166"/>
                <p:cNvSpPr>
                  <a:spLocks noEditPoints="1"/>
                </p:cNvSpPr>
                <p:nvPr/>
              </p:nvSpPr>
              <p:spPr bwMode="auto">
                <a:xfrm>
                  <a:off x="891709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2 w 118"/>
                    <a:gd name="T3" fmla="*/ 102 h 213"/>
                    <a:gd name="T4" fmla="*/ 113 w 118"/>
                    <a:gd name="T5" fmla="*/ 78 h 213"/>
                    <a:gd name="T6" fmla="*/ 113 w 118"/>
                    <a:gd name="T7" fmla="*/ 32 h 213"/>
                    <a:gd name="T8" fmla="*/ 81 w 118"/>
                    <a:gd name="T9" fmla="*/ 0 h 213"/>
                    <a:gd name="T10" fmla="*/ 36 w 118"/>
                    <a:gd name="T11" fmla="*/ 0 h 213"/>
                    <a:gd name="T12" fmla="*/ 4 w 118"/>
                    <a:gd name="T13" fmla="*/ 32 h 213"/>
                    <a:gd name="T14" fmla="*/ 4 w 118"/>
                    <a:gd name="T15" fmla="*/ 78 h 213"/>
                    <a:gd name="T16" fmla="*/ 15 w 118"/>
                    <a:gd name="T17" fmla="*/ 102 h 213"/>
                    <a:gd name="T18" fmla="*/ 0 w 118"/>
                    <a:gd name="T19" fmla="*/ 142 h 213"/>
                    <a:gd name="T20" fmla="*/ 28 w 118"/>
                    <a:gd name="T21" fmla="*/ 142 h 213"/>
                    <a:gd name="T22" fmla="*/ 28 w 118"/>
                    <a:gd name="T23" fmla="*/ 198 h 213"/>
                    <a:gd name="T24" fmla="*/ 42 w 118"/>
                    <a:gd name="T25" fmla="*/ 213 h 213"/>
                    <a:gd name="T26" fmla="*/ 57 w 118"/>
                    <a:gd name="T27" fmla="*/ 198 h 213"/>
                    <a:gd name="T28" fmla="*/ 57 w 118"/>
                    <a:gd name="T29" fmla="*/ 142 h 213"/>
                    <a:gd name="T30" fmla="*/ 61 w 118"/>
                    <a:gd name="T31" fmla="*/ 142 h 213"/>
                    <a:gd name="T32" fmla="*/ 61 w 118"/>
                    <a:gd name="T33" fmla="*/ 198 h 213"/>
                    <a:gd name="T34" fmla="*/ 75 w 118"/>
                    <a:gd name="T35" fmla="*/ 213 h 213"/>
                    <a:gd name="T36" fmla="*/ 90 w 118"/>
                    <a:gd name="T37" fmla="*/ 198 h 213"/>
                    <a:gd name="T38" fmla="*/ 90 w 118"/>
                    <a:gd name="T39" fmla="*/ 142 h 213"/>
                    <a:gd name="T40" fmla="*/ 118 w 118"/>
                    <a:gd name="T41" fmla="*/ 142 h 213"/>
                    <a:gd name="T42" fmla="*/ 92 w 118"/>
                    <a:gd name="T43" fmla="*/ 33 h 213"/>
                    <a:gd name="T44" fmla="*/ 92 w 118"/>
                    <a:gd name="T45" fmla="*/ 33 h 213"/>
                    <a:gd name="T46" fmla="*/ 94 w 118"/>
                    <a:gd name="T47" fmla="*/ 35 h 213"/>
                    <a:gd name="T48" fmla="*/ 94 w 118"/>
                    <a:gd name="T49" fmla="*/ 81 h 213"/>
                    <a:gd name="T50" fmla="*/ 90 w 118"/>
                    <a:gd name="T51" fmla="*/ 70 h 213"/>
                    <a:gd name="T52" fmla="*/ 90 w 118"/>
                    <a:gd name="T53" fmla="*/ 35 h 213"/>
                    <a:gd name="T54" fmla="*/ 92 w 118"/>
                    <a:gd name="T55" fmla="*/ 33 h 213"/>
                    <a:gd name="T56" fmla="*/ 24 w 118"/>
                    <a:gd name="T57" fmla="*/ 80 h 213"/>
                    <a:gd name="T58" fmla="*/ 24 w 118"/>
                    <a:gd name="T59" fmla="*/ 35 h 213"/>
                    <a:gd name="T60" fmla="*/ 26 w 118"/>
                    <a:gd name="T61" fmla="*/ 33 h 213"/>
                    <a:gd name="T62" fmla="*/ 28 w 118"/>
                    <a:gd name="T63" fmla="*/ 35 h 213"/>
                    <a:gd name="T64" fmla="*/ 28 w 118"/>
                    <a:gd name="T65" fmla="*/ 69 h 213"/>
                    <a:gd name="T66" fmla="*/ 24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2" y="102"/>
                        <a:pt x="102" y="102"/>
                        <a:pt x="102" y="102"/>
                      </a:cubicBezTo>
                      <a:cubicBezTo>
                        <a:pt x="109" y="96"/>
                        <a:pt x="113" y="87"/>
                        <a:pt x="113" y="78"/>
                      </a:cubicBezTo>
                      <a:cubicBezTo>
                        <a:pt x="113" y="32"/>
                        <a:pt x="113" y="32"/>
                        <a:pt x="113" y="32"/>
                      </a:cubicBezTo>
                      <a:cubicBezTo>
                        <a:pt x="113" y="14"/>
                        <a:pt x="99" y="0"/>
                        <a:pt x="8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9" y="0"/>
                        <a:pt x="4" y="14"/>
                        <a:pt x="4" y="32"/>
                      </a:cubicBez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4" y="87"/>
                        <a:pt x="9" y="96"/>
                        <a:pt x="15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8" y="142"/>
                        <a:pt x="28" y="142"/>
                        <a:pt x="28" y="142"/>
                      </a:cubicBezTo>
                      <a:cubicBezTo>
                        <a:pt x="28" y="198"/>
                        <a:pt x="28" y="198"/>
                        <a:pt x="28" y="198"/>
                      </a:cubicBezTo>
                      <a:cubicBezTo>
                        <a:pt x="28" y="206"/>
                        <a:pt x="34" y="212"/>
                        <a:pt x="42" y="213"/>
                      </a:cubicBezTo>
                      <a:cubicBezTo>
                        <a:pt x="50" y="213"/>
                        <a:pt x="57" y="206"/>
                        <a:pt x="57" y="198"/>
                      </a:cubicBezTo>
                      <a:cubicBezTo>
                        <a:pt x="57" y="142"/>
                        <a:pt x="57" y="142"/>
                        <a:pt x="57" y="142"/>
                      </a:cubicBezTo>
                      <a:cubicBezTo>
                        <a:pt x="61" y="142"/>
                        <a:pt x="61" y="142"/>
                        <a:pt x="61" y="142"/>
                      </a:cubicBezTo>
                      <a:cubicBezTo>
                        <a:pt x="61" y="198"/>
                        <a:pt x="61" y="198"/>
                        <a:pt x="61" y="198"/>
                      </a:cubicBezTo>
                      <a:cubicBezTo>
                        <a:pt x="61" y="206"/>
                        <a:pt x="67" y="212"/>
                        <a:pt x="75" y="213"/>
                      </a:cubicBezTo>
                      <a:cubicBezTo>
                        <a:pt x="83" y="213"/>
                        <a:pt x="90" y="206"/>
                        <a:pt x="90" y="198"/>
                      </a:cubicBezTo>
                      <a:cubicBezTo>
                        <a:pt x="90" y="142"/>
                        <a:pt x="90" y="142"/>
                        <a:pt x="90" y="142"/>
                      </a:cubicBezTo>
                      <a:lnTo>
                        <a:pt x="118" y="142"/>
                      </a:lnTo>
                      <a:close/>
                      <a:moveTo>
                        <a:pt x="92" y="33"/>
                      </a:moveTo>
                      <a:cubicBezTo>
                        <a:pt x="92" y="33"/>
                        <a:pt x="92" y="33"/>
                        <a:pt x="92" y="33"/>
                      </a:cubicBezTo>
                      <a:cubicBezTo>
                        <a:pt x="93" y="33"/>
                        <a:pt x="94" y="34"/>
                        <a:pt x="94" y="35"/>
                      </a:cubicBezTo>
                      <a:cubicBezTo>
                        <a:pt x="94" y="81"/>
                        <a:pt x="94" y="81"/>
                        <a:pt x="94" y="81"/>
                      </a:cubicBezTo>
                      <a:cubicBezTo>
                        <a:pt x="90" y="70"/>
                        <a:pt x="90" y="70"/>
                        <a:pt x="90" y="70"/>
                      </a:cubicBezTo>
                      <a:cubicBezTo>
                        <a:pt x="90" y="35"/>
                        <a:pt x="90" y="35"/>
                        <a:pt x="90" y="35"/>
                      </a:cubicBezTo>
                      <a:cubicBezTo>
                        <a:pt x="90" y="34"/>
                        <a:pt x="91" y="33"/>
                        <a:pt x="92" y="33"/>
                      </a:cubicBezTo>
                      <a:close/>
                      <a:moveTo>
                        <a:pt x="24" y="80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34"/>
                        <a:pt x="25" y="33"/>
                        <a:pt x="26" y="33"/>
                      </a:cubicBezTo>
                      <a:cubicBezTo>
                        <a:pt x="27" y="33"/>
                        <a:pt x="28" y="34"/>
                        <a:pt x="28" y="35"/>
                      </a:cubicBezTo>
                      <a:cubicBezTo>
                        <a:pt x="28" y="69"/>
                        <a:pt x="28" y="69"/>
                        <a:pt x="28" y="69"/>
                      </a:cubicBezTo>
                      <a:lnTo>
                        <a:pt x="24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93" name="Oval 167"/>
                <p:cNvSpPr>
                  <a:spLocks noChangeArrowheads="1"/>
                </p:cNvSpPr>
                <p:nvPr/>
              </p:nvSpPr>
              <p:spPr bwMode="auto">
                <a:xfrm>
                  <a:off x="696744" y="2421868"/>
                  <a:ext cx="121854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94" name="Freeform 168"/>
                <p:cNvSpPr>
                  <a:spLocks noEditPoints="1"/>
                </p:cNvSpPr>
                <p:nvPr/>
              </p:nvSpPr>
              <p:spPr bwMode="auto">
                <a:xfrm>
                  <a:off x="629950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3 w 118"/>
                    <a:gd name="T3" fmla="*/ 102 h 213"/>
                    <a:gd name="T4" fmla="*/ 114 w 118"/>
                    <a:gd name="T5" fmla="*/ 78 h 213"/>
                    <a:gd name="T6" fmla="*/ 114 w 118"/>
                    <a:gd name="T7" fmla="*/ 32 h 213"/>
                    <a:gd name="T8" fmla="*/ 82 w 118"/>
                    <a:gd name="T9" fmla="*/ 0 h 213"/>
                    <a:gd name="T10" fmla="*/ 37 w 118"/>
                    <a:gd name="T11" fmla="*/ 0 h 213"/>
                    <a:gd name="T12" fmla="*/ 5 w 118"/>
                    <a:gd name="T13" fmla="*/ 32 h 213"/>
                    <a:gd name="T14" fmla="*/ 5 w 118"/>
                    <a:gd name="T15" fmla="*/ 78 h 213"/>
                    <a:gd name="T16" fmla="*/ 16 w 118"/>
                    <a:gd name="T17" fmla="*/ 102 h 213"/>
                    <a:gd name="T18" fmla="*/ 0 w 118"/>
                    <a:gd name="T19" fmla="*/ 142 h 213"/>
                    <a:gd name="T20" fmla="*/ 29 w 118"/>
                    <a:gd name="T21" fmla="*/ 142 h 213"/>
                    <a:gd name="T22" fmla="*/ 29 w 118"/>
                    <a:gd name="T23" fmla="*/ 198 h 213"/>
                    <a:gd name="T24" fmla="*/ 43 w 118"/>
                    <a:gd name="T25" fmla="*/ 213 h 213"/>
                    <a:gd name="T26" fmla="*/ 58 w 118"/>
                    <a:gd name="T27" fmla="*/ 198 h 213"/>
                    <a:gd name="T28" fmla="*/ 58 w 118"/>
                    <a:gd name="T29" fmla="*/ 142 h 213"/>
                    <a:gd name="T30" fmla="*/ 62 w 118"/>
                    <a:gd name="T31" fmla="*/ 142 h 213"/>
                    <a:gd name="T32" fmla="*/ 62 w 118"/>
                    <a:gd name="T33" fmla="*/ 198 h 213"/>
                    <a:gd name="T34" fmla="*/ 76 w 118"/>
                    <a:gd name="T35" fmla="*/ 213 h 213"/>
                    <a:gd name="T36" fmla="*/ 91 w 118"/>
                    <a:gd name="T37" fmla="*/ 198 h 213"/>
                    <a:gd name="T38" fmla="*/ 91 w 118"/>
                    <a:gd name="T39" fmla="*/ 142 h 213"/>
                    <a:gd name="T40" fmla="*/ 118 w 118"/>
                    <a:gd name="T41" fmla="*/ 142 h 213"/>
                    <a:gd name="T42" fmla="*/ 93 w 118"/>
                    <a:gd name="T43" fmla="*/ 33 h 213"/>
                    <a:gd name="T44" fmla="*/ 93 w 118"/>
                    <a:gd name="T45" fmla="*/ 33 h 213"/>
                    <a:gd name="T46" fmla="*/ 95 w 118"/>
                    <a:gd name="T47" fmla="*/ 35 h 213"/>
                    <a:gd name="T48" fmla="*/ 95 w 118"/>
                    <a:gd name="T49" fmla="*/ 81 h 213"/>
                    <a:gd name="T50" fmla="*/ 91 w 118"/>
                    <a:gd name="T51" fmla="*/ 70 h 213"/>
                    <a:gd name="T52" fmla="*/ 91 w 118"/>
                    <a:gd name="T53" fmla="*/ 35 h 213"/>
                    <a:gd name="T54" fmla="*/ 93 w 118"/>
                    <a:gd name="T55" fmla="*/ 33 h 213"/>
                    <a:gd name="T56" fmla="*/ 25 w 118"/>
                    <a:gd name="T57" fmla="*/ 80 h 213"/>
                    <a:gd name="T58" fmla="*/ 25 w 118"/>
                    <a:gd name="T59" fmla="*/ 35 h 213"/>
                    <a:gd name="T60" fmla="*/ 27 w 118"/>
                    <a:gd name="T61" fmla="*/ 33 h 213"/>
                    <a:gd name="T62" fmla="*/ 29 w 118"/>
                    <a:gd name="T63" fmla="*/ 35 h 213"/>
                    <a:gd name="T64" fmla="*/ 29 w 118"/>
                    <a:gd name="T65" fmla="*/ 69 h 213"/>
                    <a:gd name="T66" fmla="*/ 25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3" y="102"/>
                        <a:pt x="103" y="102"/>
                        <a:pt x="103" y="102"/>
                      </a:cubicBezTo>
                      <a:cubicBezTo>
                        <a:pt x="110" y="96"/>
                        <a:pt x="114" y="87"/>
                        <a:pt x="114" y="78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4" y="14"/>
                        <a:pt x="100" y="0"/>
                        <a:pt x="82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19" y="0"/>
                        <a:pt x="5" y="14"/>
                        <a:pt x="5" y="32"/>
                      </a:cubicBezTo>
                      <a:cubicBezTo>
                        <a:pt x="5" y="78"/>
                        <a:pt x="5" y="78"/>
                        <a:pt x="5" y="78"/>
                      </a:cubicBezTo>
                      <a:cubicBezTo>
                        <a:pt x="5" y="87"/>
                        <a:pt x="9" y="96"/>
                        <a:pt x="16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9" y="142"/>
                        <a:pt x="29" y="142"/>
                        <a:pt x="29" y="142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29" y="206"/>
                        <a:pt x="35" y="212"/>
                        <a:pt x="43" y="213"/>
                      </a:cubicBezTo>
                      <a:cubicBezTo>
                        <a:pt x="51" y="213"/>
                        <a:pt x="58" y="206"/>
                        <a:pt x="58" y="198"/>
                      </a:cubicBezTo>
                      <a:cubicBezTo>
                        <a:pt x="58" y="142"/>
                        <a:pt x="58" y="142"/>
                        <a:pt x="58" y="142"/>
                      </a:cubicBezTo>
                      <a:cubicBezTo>
                        <a:pt x="62" y="142"/>
                        <a:pt x="62" y="142"/>
                        <a:pt x="62" y="142"/>
                      </a:cubicBezTo>
                      <a:cubicBezTo>
                        <a:pt x="62" y="198"/>
                        <a:pt x="62" y="198"/>
                        <a:pt x="62" y="198"/>
                      </a:cubicBezTo>
                      <a:cubicBezTo>
                        <a:pt x="62" y="206"/>
                        <a:pt x="68" y="212"/>
                        <a:pt x="76" y="213"/>
                      </a:cubicBezTo>
                      <a:cubicBezTo>
                        <a:pt x="84" y="213"/>
                        <a:pt x="91" y="206"/>
                        <a:pt x="91" y="198"/>
                      </a:cubicBezTo>
                      <a:cubicBezTo>
                        <a:pt x="91" y="142"/>
                        <a:pt x="91" y="142"/>
                        <a:pt x="91" y="142"/>
                      </a:cubicBezTo>
                      <a:lnTo>
                        <a:pt x="118" y="142"/>
                      </a:lnTo>
                      <a:close/>
                      <a:moveTo>
                        <a:pt x="93" y="33"/>
                      </a:moveTo>
                      <a:cubicBezTo>
                        <a:pt x="93" y="33"/>
                        <a:pt x="93" y="33"/>
                        <a:pt x="93" y="33"/>
                      </a:cubicBezTo>
                      <a:cubicBezTo>
                        <a:pt x="94" y="33"/>
                        <a:pt x="95" y="34"/>
                        <a:pt x="95" y="35"/>
                      </a:cubicBezTo>
                      <a:cubicBezTo>
                        <a:pt x="95" y="81"/>
                        <a:pt x="95" y="81"/>
                        <a:pt x="95" y="81"/>
                      </a:cubicBezTo>
                      <a:cubicBezTo>
                        <a:pt x="91" y="70"/>
                        <a:pt x="91" y="70"/>
                        <a:pt x="91" y="70"/>
                      </a:cubicBezTo>
                      <a:cubicBezTo>
                        <a:pt x="91" y="35"/>
                        <a:pt x="91" y="35"/>
                        <a:pt x="91" y="35"/>
                      </a:cubicBezTo>
                      <a:cubicBezTo>
                        <a:pt x="91" y="34"/>
                        <a:pt x="91" y="33"/>
                        <a:pt x="93" y="33"/>
                      </a:cubicBezTo>
                      <a:close/>
                      <a:moveTo>
                        <a:pt x="25" y="80"/>
                      </a:moveTo>
                      <a:cubicBezTo>
                        <a:pt x="25" y="35"/>
                        <a:pt x="25" y="35"/>
                        <a:pt x="25" y="35"/>
                      </a:cubicBezTo>
                      <a:cubicBezTo>
                        <a:pt x="25" y="34"/>
                        <a:pt x="26" y="33"/>
                        <a:pt x="27" y="33"/>
                      </a:cubicBezTo>
                      <a:cubicBezTo>
                        <a:pt x="28" y="33"/>
                        <a:pt x="29" y="34"/>
                        <a:pt x="29" y="35"/>
                      </a:cubicBezTo>
                      <a:cubicBezTo>
                        <a:pt x="29" y="69"/>
                        <a:pt x="29" y="69"/>
                        <a:pt x="29" y="69"/>
                      </a:cubicBezTo>
                      <a:lnTo>
                        <a:pt x="25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  <p:grpSp>
          <p:nvGrpSpPr>
            <p:cNvPr id="413" name="Group 412"/>
            <p:cNvGrpSpPr/>
            <p:nvPr/>
          </p:nvGrpSpPr>
          <p:grpSpPr>
            <a:xfrm>
              <a:off x="10744200" y="4532277"/>
              <a:ext cx="881655" cy="855620"/>
              <a:chOff x="9831372" y="4532277"/>
              <a:chExt cx="881655" cy="855620"/>
            </a:xfrm>
          </p:grpSpPr>
          <p:sp>
            <p:nvSpPr>
              <p:cNvPr id="414" name="Freeform 157"/>
              <p:cNvSpPr>
                <a:spLocks/>
              </p:cNvSpPr>
              <p:nvPr/>
            </p:nvSpPr>
            <p:spPr bwMode="auto">
              <a:xfrm>
                <a:off x="9831372" y="4626745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19 w 109"/>
                  <a:gd name="T11" fmla="*/ 104 h 213"/>
                  <a:gd name="T12" fmla="*/ 19 w 109"/>
                  <a:gd name="T13" fmla="*/ 35 h 213"/>
                  <a:gd name="T14" fmla="*/ 21 w 109"/>
                  <a:gd name="T15" fmla="*/ 33 h 213"/>
                  <a:gd name="T16" fmla="*/ 21 w 109"/>
                  <a:gd name="T17" fmla="*/ 33 h 213"/>
                  <a:gd name="T18" fmla="*/ 23 w 109"/>
                  <a:gd name="T19" fmla="*/ 35 h 213"/>
                  <a:gd name="T20" fmla="*/ 23 w 109"/>
                  <a:gd name="T21" fmla="*/ 198 h 213"/>
                  <a:gd name="T22" fmla="*/ 37 w 109"/>
                  <a:gd name="T23" fmla="*/ 213 h 213"/>
                  <a:gd name="T24" fmla="*/ 52 w 109"/>
                  <a:gd name="T25" fmla="*/ 198 h 213"/>
                  <a:gd name="T26" fmla="*/ 52 w 109"/>
                  <a:gd name="T27" fmla="*/ 116 h 213"/>
                  <a:gd name="T28" fmla="*/ 54 w 109"/>
                  <a:gd name="T29" fmla="*/ 114 h 213"/>
                  <a:gd name="T30" fmla="*/ 54 w 109"/>
                  <a:gd name="T31" fmla="*/ 114 h 213"/>
                  <a:gd name="T32" fmla="*/ 56 w 109"/>
                  <a:gd name="T33" fmla="*/ 116 h 213"/>
                  <a:gd name="T34" fmla="*/ 56 w 109"/>
                  <a:gd name="T35" fmla="*/ 198 h 213"/>
                  <a:gd name="T36" fmla="*/ 70 w 109"/>
                  <a:gd name="T37" fmla="*/ 213 h 213"/>
                  <a:gd name="T38" fmla="*/ 85 w 109"/>
                  <a:gd name="T39" fmla="*/ 198 h 213"/>
                  <a:gd name="T40" fmla="*/ 85 w 109"/>
                  <a:gd name="T41" fmla="*/ 35 h 213"/>
                  <a:gd name="T42" fmla="*/ 87 w 109"/>
                  <a:gd name="T43" fmla="*/ 33 h 213"/>
                  <a:gd name="T44" fmla="*/ 87 w 109"/>
                  <a:gd name="T45" fmla="*/ 33 h 213"/>
                  <a:gd name="T46" fmla="*/ 89 w 109"/>
                  <a:gd name="T47" fmla="*/ 35 h 213"/>
                  <a:gd name="T48" fmla="*/ 89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6" y="100"/>
                      <a:pt x="16" y="106"/>
                    </a:cubicBezTo>
                    <a:cubicBezTo>
                      <a:pt x="17" y="107"/>
                      <a:pt x="19" y="105"/>
                      <a:pt x="19" y="104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9" y="34"/>
                      <a:pt x="20" y="33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3" y="33"/>
                      <a:pt x="23" y="34"/>
                      <a:pt x="23" y="35"/>
                    </a:cubicBezTo>
                    <a:cubicBezTo>
                      <a:pt x="23" y="198"/>
                      <a:pt x="23" y="198"/>
                      <a:pt x="23" y="198"/>
                    </a:cubicBezTo>
                    <a:cubicBezTo>
                      <a:pt x="23" y="206"/>
                      <a:pt x="30" y="213"/>
                      <a:pt x="37" y="213"/>
                    </a:cubicBezTo>
                    <a:cubicBezTo>
                      <a:pt x="46" y="213"/>
                      <a:pt x="52" y="207"/>
                      <a:pt x="52" y="198"/>
                    </a:cubicBezTo>
                    <a:cubicBezTo>
                      <a:pt x="52" y="116"/>
                      <a:pt x="52" y="116"/>
                      <a:pt x="52" y="116"/>
                    </a:cubicBezTo>
                    <a:cubicBezTo>
                      <a:pt x="52" y="115"/>
                      <a:pt x="53" y="114"/>
                      <a:pt x="54" y="114"/>
                    </a:cubicBezTo>
                    <a:cubicBezTo>
                      <a:pt x="54" y="114"/>
                      <a:pt x="54" y="114"/>
                      <a:pt x="54" y="114"/>
                    </a:cubicBezTo>
                    <a:cubicBezTo>
                      <a:pt x="55" y="114"/>
                      <a:pt x="56" y="115"/>
                      <a:pt x="56" y="116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206"/>
                      <a:pt x="62" y="213"/>
                      <a:pt x="70" y="213"/>
                    </a:cubicBezTo>
                    <a:cubicBezTo>
                      <a:pt x="79" y="213"/>
                      <a:pt x="85" y="207"/>
                      <a:pt x="85" y="198"/>
                    </a:cubicBezTo>
                    <a:cubicBezTo>
                      <a:pt x="85" y="35"/>
                      <a:pt x="85" y="35"/>
                      <a:pt x="85" y="35"/>
                    </a:cubicBezTo>
                    <a:cubicBezTo>
                      <a:pt x="85" y="34"/>
                      <a:pt x="86" y="33"/>
                      <a:pt x="87" y="33"/>
                    </a:cubicBezTo>
                    <a:cubicBezTo>
                      <a:pt x="87" y="33"/>
                      <a:pt x="87" y="33"/>
                      <a:pt x="87" y="33"/>
                    </a:cubicBezTo>
                    <a:cubicBezTo>
                      <a:pt x="88" y="33"/>
                      <a:pt x="89" y="34"/>
                      <a:pt x="89" y="35"/>
                    </a:cubicBezTo>
                    <a:cubicBezTo>
                      <a:pt x="89" y="103"/>
                      <a:pt x="89" y="103"/>
                      <a:pt x="89" y="103"/>
                    </a:cubicBezTo>
                    <a:cubicBezTo>
                      <a:pt x="89" y="105"/>
                      <a:pt x="91" y="106"/>
                      <a:pt x="93" y="105"/>
                    </a:cubicBezTo>
                    <a:cubicBezTo>
                      <a:pt x="102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4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5" name="Oval 158"/>
              <p:cNvSpPr>
                <a:spLocks noChangeArrowheads="1"/>
              </p:cNvSpPr>
              <p:nvPr/>
            </p:nvSpPr>
            <p:spPr bwMode="auto">
              <a:xfrm>
                <a:off x="9869582" y="453227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6" name="Freeform 153"/>
              <p:cNvSpPr>
                <a:spLocks/>
              </p:cNvSpPr>
              <p:nvPr/>
            </p:nvSpPr>
            <p:spPr bwMode="auto">
              <a:xfrm>
                <a:off x="10016595" y="4626745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3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7" name="Oval 154"/>
              <p:cNvSpPr>
                <a:spLocks noChangeArrowheads="1"/>
              </p:cNvSpPr>
              <p:nvPr/>
            </p:nvSpPr>
            <p:spPr bwMode="auto">
              <a:xfrm>
                <a:off x="10054805" y="453227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8" name="Freeform 159"/>
              <p:cNvSpPr>
                <a:spLocks/>
              </p:cNvSpPr>
              <p:nvPr/>
            </p:nvSpPr>
            <p:spPr bwMode="auto">
              <a:xfrm>
                <a:off x="10553402" y="4626745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4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4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9" name="Oval 160"/>
              <p:cNvSpPr>
                <a:spLocks noChangeArrowheads="1"/>
              </p:cNvSpPr>
              <p:nvPr/>
            </p:nvSpPr>
            <p:spPr bwMode="auto">
              <a:xfrm>
                <a:off x="10592846" y="4532277"/>
                <a:ext cx="81969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grpSp>
            <p:nvGrpSpPr>
              <p:cNvPr id="420" name="Group 419"/>
              <p:cNvGrpSpPr/>
              <p:nvPr/>
            </p:nvGrpSpPr>
            <p:grpSpPr>
              <a:xfrm>
                <a:off x="10193476" y="4532277"/>
                <a:ext cx="351297" cy="412509"/>
                <a:chOff x="629950" y="2421868"/>
                <a:chExt cx="514492" cy="591215"/>
              </a:xfrm>
              <a:solidFill>
                <a:srgbClr val="173F49"/>
              </a:solidFill>
            </p:grpSpPr>
            <p:sp>
              <p:nvSpPr>
                <p:cNvPr id="432" name="Oval 165"/>
                <p:cNvSpPr>
                  <a:spLocks noChangeArrowheads="1"/>
                </p:cNvSpPr>
                <p:nvPr/>
              </p:nvSpPr>
              <p:spPr bwMode="auto">
                <a:xfrm>
                  <a:off x="958503" y="2421868"/>
                  <a:ext cx="119146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33" name="Freeform 166"/>
                <p:cNvSpPr>
                  <a:spLocks noEditPoints="1"/>
                </p:cNvSpPr>
                <p:nvPr/>
              </p:nvSpPr>
              <p:spPr bwMode="auto">
                <a:xfrm>
                  <a:off x="891709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2 w 118"/>
                    <a:gd name="T3" fmla="*/ 102 h 213"/>
                    <a:gd name="T4" fmla="*/ 113 w 118"/>
                    <a:gd name="T5" fmla="*/ 78 h 213"/>
                    <a:gd name="T6" fmla="*/ 113 w 118"/>
                    <a:gd name="T7" fmla="*/ 32 h 213"/>
                    <a:gd name="T8" fmla="*/ 81 w 118"/>
                    <a:gd name="T9" fmla="*/ 0 h 213"/>
                    <a:gd name="T10" fmla="*/ 36 w 118"/>
                    <a:gd name="T11" fmla="*/ 0 h 213"/>
                    <a:gd name="T12" fmla="*/ 4 w 118"/>
                    <a:gd name="T13" fmla="*/ 32 h 213"/>
                    <a:gd name="T14" fmla="*/ 4 w 118"/>
                    <a:gd name="T15" fmla="*/ 78 h 213"/>
                    <a:gd name="T16" fmla="*/ 15 w 118"/>
                    <a:gd name="T17" fmla="*/ 102 h 213"/>
                    <a:gd name="T18" fmla="*/ 0 w 118"/>
                    <a:gd name="T19" fmla="*/ 142 h 213"/>
                    <a:gd name="T20" fmla="*/ 28 w 118"/>
                    <a:gd name="T21" fmla="*/ 142 h 213"/>
                    <a:gd name="T22" fmla="*/ 28 w 118"/>
                    <a:gd name="T23" fmla="*/ 198 h 213"/>
                    <a:gd name="T24" fmla="*/ 42 w 118"/>
                    <a:gd name="T25" fmla="*/ 213 h 213"/>
                    <a:gd name="T26" fmla="*/ 57 w 118"/>
                    <a:gd name="T27" fmla="*/ 198 h 213"/>
                    <a:gd name="T28" fmla="*/ 57 w 118"/>
                    <a:gd name="T29" fmla="*/ 142 h 213"/>
                    <a:gd name="T30" fmla="*/ 61 w 118"/>
                    <a:gd name="T31" fmla="*/ 142 h 213"/>
                    <a:gd name="T32" fmla="*/ 61 w 118"/>
                    <a:gd name="T33" fmla="*/ 198 h 213"/>
                    <a:gd name="T34" fmla="*/ 75 w 118"/>
                    <a:gd name="T35" fmla="*/ 213 h 213"/>
                    <a:gd name="T36" fmla="*/ 90 w 118"/>
                    <a:gd name="T37" fmla="*/ 198 h 213"/>
                    <a:gd name="T38" fmla="*/ 90 w 118"/>
                    <a:gd name="T39" fmla="*/ 142 h 213"/>
                    <a:gd name="T40" fmla="*/ 118 w 118"/>
                    <a:gd name="T41" fmla="*/ 142 h 213"/>
                    <a:gd name="T42" fmla="*/ 92 w 118"/>
                    <a:gd name="T43" fmla="*/ 33 h 213"/>
                    <a:gd name="T44" fmla="*/ 92 w 118"/>
                    <a:gd name="T45" fmla="*/ 33 h 213"/>
                    <a:gd name="T46" fmla="*/ 94 w 118"/>
                    <a:gd name="T47" fmla="*/ 35 h 213"/>
                    <a:gd name="T48" fmla="*/ 94 w 118"/>
                    <a:gd name="T49" fmla="*/ 81 h 213"/>
                    <a:gd name="T50" fmla="*/ 90 w 118"/>
                    <a:gd name="T51" fmla="*/ 70 h 213"/>
                    <a:gd name="T52" fmla="*/ 90 w 118"/>
                    <a:gd name="T53" fmla="*/ 35 h 213"/>
                    <a:gd name="T54" fmla="*/ 92 w 118"/>
                    <a:gd name="T55" fmla="*/ 33 h 213"/>
                    <a:gd name="T56" fmla="*/ 24 w 118"/>
                    <a:gd name="T57" fmla="*/ 80 h 213"/>
                    <a:gd name="T58" fmla="*/ 24 w 118"/>
                    <a:gd name="T59" fmla="*/ 35 h 213"/>
                    <a:gd name="T60" fmla="*/ 26 w 118"/>
                    <a:gd name="T61" fmla="*/ 33 h 213"/>
                    <a:gd name="T62" fmla="*/ 28 w 118"/>
                    <a:gd name="T63" fmla="*/ 35 h 213"/>
                    <a:gd name="T64" fmla="*/ 28 w 118"/>
                    <a:gd name="T65" fmla="*/ 69 h 213"/>
                    <a:gd name="T66" fmla="*/ 24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2" y="102"/>
                        <a:pt x="102" y="102"/>
                        <a:pt x="102" y="102"/>
                      </a:cubicBezTo>
                      <a:cubicBezTo>
                        <a:pt x="109" y="96"/>
                        <a:pt x="113" y="87"/>
                        <a:pt x="113" y="78"/>
                      </a:cubicBezTo>
                      <a:cubicBezTo>
                        <a:pt x="113" y="32"/>
                        <a:pt x="113" y="32"/>
                        <a:pt x="113" y="32"/>
                      </a:cubicBezTo>
                      <a:cubicBezTo>
                        <a:pt x="113" y="14"/>
                        <a:pt x="99" y="0"/>
                        <a:pt x="8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9" y="0"/>
                        <a:pt x="4" y="14"/>
                        <a:pt x="4" y="32"/>
                      </a:cubicBez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4" y="87"/>
                        <a:pt x="9" y="96"/>
                        <a:pt x="15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8" y="142"/>
                        <a:pt x="28" y="142"/>
                        <a:pt x="28" y="142"/>
                      </a:cubicBezTo>
                      <a:cubicBezTo>
                        <a:pt x="28" y="198"/>
                        <a:pt x="28" y="198"/>
                        <a:pt x="28" y="198"/>
                      </a:cubicBezTo>
                      <a:cubicBezTo>
                        <a:pt x="28" y="206"/>
                        <a:pt x="34" y="212"/>
                        <a:pt x="42" y="213"/>
                      </a:cubicBezTo>
                      <a:cubicBezTo>
                        <a:pt x="50" y="213"/>
                        <a:pt x="57" y="206"/>
                        <a:pt x="57" y="198"/>
                      </a:cubicBezTo>
                      <a:cubicBezTo>
                        <a:pt x="57" y="142"/>
                        <a:pt x="57" y="142"/>
                        <a:pt x="57" y="142"/>
                      </a:cubicBezTo>
                      <a:cubicBezTo>
                        <a:pt x="61" y="142"/>
                        <a:pt x="61" y="142"/>
                        <a:pt x="61" y="142"/>
                      </a:cubicBezTo>
                      <a:cubicBezTo>
                        <a:pt x="61" y="198"/>
                        <a:pt x="61" y="198"/>
                        <a:pt x="61" y="198"/>
                      </a:cubicBezTo>
                      <a:cubicBezTo>
                        <a:pt x="61" y="206"/>
                        <a:pt x="67" y="212"/>
                        <a:pt x="75" y="213"/>
                      </a:cubicBezTo>
                      <a:cubicBezTo>
                        <a:pt x="83" y="213"/>
                        <a:pt x="90" y="206"/>
                        <a:pt x="90" y="198"/>
                      </a:cubicBezTo>
                      <a:cubicBezTo>
                        <a:pt x="90" y="142"/>
                        <a:pt x="90" y="142"/>
                        <a:pt x="90" y="142"/>
                      </a:cubicBezTo>
                      <a:lnTo>
                        <a:pt x="118" y="142"/>
                      </a:lnTo>
                      <a:close/>
                      <a:moveTo>
                        <a:pt x="92" y="33"/>
                      </a:moveTo>
                      <a:cubicBezTo>
                        <a:pt x="92" y="33"/>
                        <a:pt x="92" y="33"/>
                        <a:pt x="92" y="33"/>
                      </a:cubicBezTo>
                      <a:cubicBezTo>
                        <a:pt x="93" y="33"/>
                        <a:pt x="94" y="34"/>
                        <a:pt x="94" y="35"/>
                      </a:cubicBezTo>
                      <a:cubicBezTo>
                        <a:pt x="94" y="81"/>
                        <a:pt x="94" y="81"/>
                        <a:pt x="94" y="81"/>
                      </a:cubicBezTo>
                      <a:cubicBezTo>
                        <a:pt x="90" y="70"/>
                        <a:pt x="90" y="70"/>
                        <a:pt x="90" y="70"/>
                      </a:cubicBezTo>
                      <a:cubicBezTo>
                        <a:pt x="90" y="35"/>
                        <a:pt x="90" y="35"/>
                        <a:pt x="90" y="35"/>
                      </a:cubicBezTo>
                      <a:cubicBezTo>
                        <a:pt x="90" y="34"/>
                        <a:pt x="91" y="33"/>
                        <a:pt x="92" y="33"/>
                      </a:cubicBezTo>
                      <a:close/>
                      <a:moveTo>
                        <a:pt x="24" y="80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34"/>
                        <a:pt x="25" y="33"/>
                        <a:pt x="26" y="33"/>
                      </a:cubicBezTo>
                      <a:cubicBezTo>
                        <a:pt x="27" y="33"/>
                        <a:pt x="28" y="34"/>
                        <a:pt x="28" y="35"/>
                      </a:cubicBezTo>
                      <a:cubicBezTo>
                        <a:pt x="28" y="69"/>
                        <a:pt x="28" y="69"/>
                        <a:pt x="28" y="69"/>
                      </a:cubicBezTo>
                      <a:lnTo>
                        <a:pt x="24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34" name="Oval 167"/>
                <p:cNvSpPr>
                  <a:spLocks noChangeArrowheads="1"/>
                </p:cNvSpPr>
                <p:nvPr/>
              </p:nvSpPr>
              <p:spPr bwMode="auto">
                <a:xfrm>
                  <a:off x="696744" y="2421868"/>
                  <a:ext cx="121854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35" name="Freeform 168"/>
                <p:cNvSpPr>
                  <a:spLocks noEditPoints="1"/>
                </p:cNvSpPr>
                <p:nvPr/>
              </p:nvSpPr>
              <p:spPr bwMode="auto">
                <a:xfrm>
                  <a:off x="629950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3 w 118"/>
                    <a:gd name="T3" fmla="*/ 102 h 213"/>
                    <a:gd name="T4" fmla="*/ 114 w 118"/>
                    <a:gd name="T5" fmla="*/ 78 h 213"/>
                    <a:gd name="T6" fmla="*/ 114 w 118"/>
                    <a:gd name="T7" fmla="*/ 32 h 213"/>
                    <a:gd name="T8" fmla="*/ 82 w 118"/>
                    <a:gd name="T9" fmla="*/ 0 h 213"/>
                    <a:gd name="T10" fmla="*/ 37 w 118"/>
                    <a:gd name="T11" fmla="*/ 0 h 213"/>
                    <a:gd name="T12" fmla="*/ 5 w 118"/>
                    <a:gd name="T13" fmla="*/ 32 h 213"/>
                    <a:gd name="T14" fmla="*/ 5 w 118"/>
                    <a:gd name="T15" fmla="*/ 78 h 213"/>
                    <a:gd name="T16" fmla="*/ 16 w 118"/>
                    <a:gd name="T17" fmla="*/ 102 h 213"/>
                    <a:gd name="T18" fmla="*/ 0 w 118"/>
                    <a:gd name="T19" fmla="*/ 142 h 213"/>
                    <a:gd name="T20" fmla="*/ 29 w 118"/>
                    <a:gd name="T21" fmla="*/ 142 h 213"/>
                    <a:gd name="T22" fmla="*/ 29 w 118"/>
                    <a:gd name="T23" fmla="*/ 198 h 213"/>
                    <a:gd name="T24" fmla="*/ 43 w 118"/>
                    <a:gd name="T25" fmla="*/ 213 h 213"/>
                    <a:gd name="T26" fmla="*/ 58 w 118"/>
                    <a:gd name="T27" fmla="*/ 198 h 213"/>
                    <a:gd name="T28" fmla="*/ 58 w 118"/>
                    <a:gd name="T29" fmla="*/ 142 h 213"/>
                    <a:gd name="T30" fmla="*/ 62 w 118"/>
                    <a:gd name="T31" fmla="*/ 142 h 213"/>
                    <a:gd name="T32" fmla="*/ 62 w 118"/>
                    <a:gd name="T33" fmla="*/ 198 h 213"/>
                    <a:gd name="T34" fmla="*/ 76 w 118"/>
                    <a:gd name="T35" fmla="*/ 213 h 213"/>
                    <a:gd name="T36" fmla="*/ 91 w 118"/>
                    <a:gd name="T37" fmla="*/ 198 h 213"/>
                    <a:gd name="T38" fmla="*/ 91 w 118"/>
                    <a:gd name="T39" fmla="*/ 142 h 213"/>
                    <a:gd name="T40" fmla="*/ 118 w 118"/>
                    <a:gd name="T41" fmla="*/ 142 h 213"/>
                    <a:gd name="T42" fmla="*/ 93 w 118"/>
                    <a:gd name="T43" fmla="*/ 33 h 213"/>
                    <a:gd name="T44" fmla="*/ 93 w 118"/>
                    <a:gd name="T45" fmla="*/ 33 h 213"/>
                    <a:gd name="T46" fmla="*/ 95 w 118"/>
                    <a:gd name="T47" fmla="*/ 35 h 213"/>
                    <a:gd name="T48" fmla="*/ 95 w 118"/>
                    <a:gd name="T49" fmla="*/ 81 h 213"/>
                    <a:gd name="T50" fmla="*/ 91 w 118"/>
                    <a:gd name="T51" fmla="*/ 70 h 213"/>
                    <a:gd name="T52" fmla="*/ 91 w 118"/>
                    <a:gd name="T53" fmla="*/ 35 h 213"/>
                    <a:gd name="T54" fmla="*/ 93 w 118"/>
                    <a:gd name="T55" fmla="*/ 33 h 213"/>
                    <a:gd name="T56" fmla="*/ 25 w 118"/>
                    <a:gd name="T57" fmla="*/ 80 h 213"/>
                    <a:gd name="T58" fmla="*/ 25 w 118"/>
                    <a:gd name="T59" fmla="*/ 35 h 213"/>
                    <a:gd name="T60" fmla="*/ 27 w 118"/>
                    <a:gd name="T61" fmla="*/ 33 h 213"/>
                    <a:gd name="T62" fmla="*/ 29 w 118"/>
                    <a:gd name="T63" fmla="*/ 35 h 213"/>
                    <a:gd name="T64" fmla="*/ 29 w 118"/>
                    <a:gd name="T65" fmla="*/ 69 h 213"/>
                    <a:gd name="T66" fmla="*/ 25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3" y="102"/>
                        <a:pt x="103" y="102"/>
                        <a:pt x="103" y="102"/>
                      </a:cubicBezTo>
                      <a:cubicBezTo>
                        <a:pt x="110" y="96"/>
                        <a:pt x="114" y="87"/>
                        <a:pt x="114" y="78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4" y="14"/>
                        <a:pt x="100" y="0"/>
                        <a:pt x="82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19" y="0"/>
                        <a:pt x="5" y="14"/>
                        <a:pt x="5" y="32"/>
                      </a:cubicBezTo>
                      <a:cubicBezTo>
                        <a:pt x="5" y="78"/>
                        <a:pt x="5" y="78"/>
                        <a:pt x="5" y="78"/>
                      </a:cubicBezTo>
                      <a:cubicBezTo>
                        <a:pt x="5" y="87"/>
                        <a:pt x="9" y="96"/>
                        <a:pt x="16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9" y="142"/>
                        <a:pt x="29" y="142"/>
                        <a:pt x="29" y="142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29" y="206"/>
                        <a:pt x="35" y="212"/>
                        <a:pt x="43" y="213"/>
                      </a:cubicBezTo>
                      <a:cubicBezTo>
                        <a:pt x="51" y="213"/>
                        <a:pt x="58" y="206"/>
                        <a:pt x="58" y="198"/>
                      </a:cubicBezTo>
                      <a:cubicBezTo>
                        <a:pt x="58" y="142"/>
                        <a:pt x="58" y="142"/>
                        <a:pt x="58" y="142"/>
                      </a:cubicBezTo>
                      <a:cubicBezTo>
                        <a:pt x="62" y="142"/>
                        <a:pt x="62" y="142"/>
                        <a:pt x="62" y="142"/>
                      </a:cubicBezTo>
                      <a:cubicBezTo>
                        <a:pt x="62" y="198"/>
                        <a:pt x="62" y="198"/>
                        <a:pt x="62" y="198"/>
                      </a:cubicBezTo>
                      <a:cubicBezTo>
                        <a:pt x="62" y="206"/>
                        <a:pt x="68" y="212"/>
                        <a:pt x="76" y="213"/>
                      </a:cubicBezTo>
                      <a:cubicBezTo>
                        <a:pt x="84" y="213"/>
                        <a:pt x="91" y="206"/>
                        <a:pt x="91" y="198"/>
                      </a:cubicBezTo>
                      <a:cubicBezTo>
                        <a:pt x="91" y="142"/>
                        <a:pt x="91" y="142"/>
                        <a:pt x="91" y="142"/>
                      </a:cubicBezTo>
                      <a:lnTo>
                        <a:pt x="118" y="142"/>
                      </a:lnTo>
                      <a:close/>
                      <a:moveTo>
                        <a:pt x="93" y="33"/>
                      </a:moveTo>
                      <a:cubicBezTo>
                        <a:pt x="93" y="33"/>
                        <a:pt x="93" y="33"/>
                        <a:pt x="93" y="33"/>
                      </a:cubicBezTo>
                      <a:cubicBezTo>
                        <a:pt x="94" y="33"/>
                        <a:pt x="95" y="34"/>
                        <a:pt x="95" y="35"/>
                      </a:cubicBezTo>
                      <a:cubicBezTo>
                        <a:pt x="95" y="81"/>
                        <a:pt x="95" y="81"/>
                        <a:pt x="95" y="81"/>
                      </a:cubicBezTo>
                      <a:cubicBezTo>
                        <a:pt x="91" y="70"/>
                        <a:pt x="91" y="70"/>
                        <a:pt x="91" y="70"/>
                      </a:cubicBezTo>
                      <a:cubicBezTo>
                        <a:pt x="91" y="35"/>
                        <a:pt x="91" y="35"/>
                        <a:pt x="91" y="35"/>
                      </a:cubicBezTo>
                      <a:cubicBezTo>
                        <a:pt x="91" y="34"/>
                        <a:pt x="91" y="33"/>
                        <a:pt x="93" y="33"/>
                      </a:cubicBezTo>
                      <a:close/>
                      <a:moveTo>
                        <a:pt x="25" y="80"/>
                      </a:moveTo>
                      <a:cubicBezTo>
                        <a:pt x="25" y="35"/>
                        <a:pt x="25" y="35"/>
                        <a:pt x="25" y="35"/>
                      </a:cubicBezTo>
                      <a:cubicBezTo>
                        <a:pt x="25" y="34"/>
                        <a:pt x="26" y="33"/>
                        <a:pt x="27" y="33"/>
                      </a:cubicBezTo>
                      <a:cubicBezTo>
                        <a:pt x="28" y="33"/>
                        <a:pt x="29" y="34"/>
                        <a:pt x="29" y="35"/>
                      </a:cubicBezTo>
                      <a:cubicBezTo>
                        <a:pt x="29" y="69"/>
                        <a:pt x="29" y="69"/>
                        <a:pt x="29" y="69"/>
                      </a:cubicBezTo>
                      <a:lnTo>
                        <a:pt x="25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  <p:sp>
            <p:nvSpPr>
              <p:cNvPr id="421" name="Freeform 157"/>
              <p:cNvSpPr>
                <a:spLocks/>
              </p:cNvSpPr>
              <p:nvPr/>
            </p:nvSpPr>
            <p:spPr bwMode="auto">
              <a:xfrm>
                <a:off x="9831372" y="5069856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19 w 109"/>
                  <a:gd name="T11" fmla="*/ 104 h 213"/>
                  <a:gd name="T12" fmla="*/ 19 w 109"/>
                  <a:gd name="T13" fmla="*/ 35 h 213"/>
                  <a:gd name="T14" fmla="*/ 21 w 109"/>
                  <a:gd name="T15" fmla="*/ 33 h 213"/>
                  <a:gd name="T16" fmla="*/ 21 w 109"/>
                  <a:gd name="T17" fmla="*/ 33 h 213"/>
                  <a:gd name="T18" fmla="*/ 23 w 109"/>
                  <a:gd name="T19" fmla="*/ 35 h 213"/>
                  <a:gd name="T20" fmla="*/ 23 w 109"/>
                  <a:gd name="T21" fmla="*/ 198 h 213"/>
                  <a:gd name="T22" fmla="*/ 37 w 109"/>
                  <a:gd name="T23" fmla="*/ 213 h 213"/>
                  <a:gd name="T24" fmla="*/ 52 w 109"/>
                  <a:gd name="T25" fmla="*/ 198 h 213"/>
                  <a:gd name="T26" fmla="*/ 52 w 109"/>
                  <a:gd name="T27" fmla="*/ 116 h 213"/>
                  <a:gd name="T28" fmla="*/ 54 w 109"/>
                  <a:gd name="T29" fmla="*/ 114 h 213"/>
                  <a:gd name="T30" fmla="*/ 54 w 109"/>
                  <a:gd name="T31" fmla="*/ 114 h 213"/>
                  <a:gd name="T32" fmla="*/ 56 w 109"/>
                  <a:gd name="T33" fmla="*/ 116 h 213"/>
                  <a:gd name="T34" fmla="*/ 56 w 109"/>
                  <a:gd name="T35" fmla="*/ 198 h 213"/>
                  <a:gd name="T36" fmla="*/ 70 w 109"/>
                  <a:gd name="T37" fmla="*/ 213 h 213"/>
                  <a:gd name="T38" fmla="*/ 85 w 109"/>
                  <a:gd name="T39" fmla="*/ 198 h 213"/>
                  <a:gd name="T40" fmla="*/ 85 w 109"/>
                  <a:gd name="T41" fmla="*/ 35 h 213"/>
                  <a:gd name="T42" fmla="*/ 87 w 109"/>
                  <a:gd name="T43" fmla="*/ 33 h 213"/>
                  <a:gd name="T44" fmla="*/ 87 w 109"/>
                  <a:gd name="T45" fmla="*/ 33 h 213"/>
                  <a:gd name="T46" fmla="*/ 89 w 109"/>
                  <a:gd name="T47" fmla="*/ 35 h 213"/>
                  <a:gd name="T48" fmla="*/ 89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4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6" y="100"/>
                      <a:pt x="16" y="106"/>
                    </a:cubicBezTo>
                    <a:cubicBezTo>
                      <a:pt x="17" y="107"/>
                      <a:pt x="19" y="105"/>
                      <a:pt x="19" y="104"/>
                    </a:cubicBezTo>
                    <a:cubicBezTo>
                      <a:pt x="19" y="35"/>
                      <a:pt x="19" y="35"/>
                      <a:pt x="19" y="35"/>
                    </a:cubicBezTo>
                    <a:cubicBezTo>
                      <a:pt x="19" y="34"/>
                      <a:pt x="20" y="33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3" y="33"/>
                      <a:pt x="23" y="34"/>
                      <a:pt x="23" y="35"/>
                    </a:cubicBezTo>
                    <a:cubicBezTo>
                      <a:pt x="23" y="198"/>
                      <a:pt x="23" y="198"/>
                      <a:pt x="23" y="198"/>
                    </a:cubicBezTo>
                    <a:cubicBezTo>
                      <a:pt x="23" y="206"/>
                      <a:pt x="30" y="213"/>
                      <a:pt x="37" y="213"/>
                    </a:cubicBezTo>
                    <a:cubicBezTo>
                      <a:pt x="46" y="213"/>
                      <a:pt x="52" y="207"/>
                      <a:pt x="52" y="198"/>
                    </a:cubicBezTo>
                    <a:cubicBezTo>
                      <a:pt x="52" y="116"/>
                      <a:pt x="52" y="116"/>
                      <a:pt x="52" y="116"/>
                    </a:cubicBezTo>
                    <a:cubicBezTo>
                      <a:pt x="52" y="115"/>
                      <a:pt x="53" y="114"/>
                      <a:pt x="54" y="114"/>
                    </a:cubicBezTo>
                    <a:cubicBezTo>
                      <a:pt x="54" y="114"/>
                      <a:pt x="54" y="114"/>
                      <a:pt x="54" y="114"/>
                    </a:cubicBezTo>
                    <a:cubicBezTo>
                      <a:pt x="55" y="114"/>
                      <a:pt x="56" y="115"/>
                      <a:pt x="56" y="116"/>
                    </a:cubicBezTo>
                    <a:cubicBezTo>
                      <a:pt x="56" y="198"/>
                      <a:pt x="56" y="198"/>
                      <a:pt x="56" y="198"/>
                    </a:cubicBezTo>
                    <a:cubicBezTo>
                      <a:pt x="56" y="206"/>
                      <a:pt x="62" y="213"/>
                      <a:pt x="70" y="213"/>
                    </a:cubicBezTo>
                    <a:cubicBezTo>
                      <a:pt x="79" y="213"/>
                      <a:pt x="85" y="207"/>
                      <a:pt x="85" y="198"/>
                    </a:cubicBezTo>
                    <a:cubicBezTo>
                      <a:pt x="85" y="35"/>
                      <a:pt x="85" y="35"/>
                      <a:pt x="85" y="35"/>
                    </a:cubicBezTo>
                    <a:cubicBezTo>
                      <a:pt x="85" y="34"/>
                      <a:pt x="86" y="33"/>
                      <a:pt x="87" y="33"/>
                    </a:cubicBezTo>
                    <a:cubicBezTo>
                      <a:pt x="87" y="33"/>
                      <a:pt x="87" y="33"/>
                      <a:pt x="87" y="33"/>
                    </a:cubicBezTo>
                    <a:cubicBezTo>
                      <a:pt x="88" y="33"/>
                      <a:pt x="89" y="34"/>
                      <a:pt x="89" y="35"/>
                    </a:cubicBezTo>
                    <a:cubicBezTo>
                      <a:pt x="89" y="103"/>
                      <a:pt x="89" y="103"/>
                      <a:pt x="89" y="103"/>
                    </a:cubicBezTo>
                    <a:cubicBezTo>
                      <a:pt x="89" y="105"/>
                      <a:pt x="91" y="106"/>
                      <a:pt x="93" y="105"/>
                    </a:cubicBezTo>
                    <a:cubicBezTo>
                      <a:pt x="102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4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2" name="Oval 158"/>
              <p:cNvSpPr>
                <a:spLocks noChangeArrowheads="1"/>
              </p:cNvSpPr>
              <p:nvPr/>
            </p:nvSpPr>
            <p:spPr bwMode="auto">
              <a:xfrm>
                <a:off x="9869582" y="497538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3" name="Freeform 153"/>
              <p:cNvSpPr>
                <a:spLocks/>
              </p:cNvSpPr>
              <p:nvPr/>
            </p:nvSpPr>
            <p:spPr bwMode="auto">
              <a:xfrm>
                <a:off x="10016595" y="5069856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3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3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4" name="Oval 154"/>
              <p:cNvSpPr>
                <a:spLocks noChangeArrowheads="1"/>
              </p:cNvSpPr>
              <p:nvPr/>
            </p:nvSpPr>
            <p:spPr bwMode="auto">
              <a:xfrm>
                <a:off x="10054805" y="4975387"/>
                <a:ext cx="83202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5" name="Freeform 159"/>
              <p:cNvSpPr>
                <a:spLocks/>
              </p:cNvSpPr>
              <p:nvPr/>
            </p:nvSpPr>
            <p:spPr bwMode="auto">
              <a:xfrm>
                <a:off x="10553402" y="5069856"/>
                <a:ext cx="159625" cy="318041"/>
              </a:xfrm>
              <a:custGeom>
                <a:avLst/>
                <a:gdLst>
                  <a:gd name="T0" fmla="*/ 77 w 109"/>
                  <a:gd name="T1" fmla="*/ 0 h 213"/>
                  <a:gd name="T2" fmla="*/ 32 w 109"/>
                  <a:gd name="T3" fmla="*/ 0 h 213"/>
                  <a:gd name="T4" fmla="*/ 0 w 109"/>
                  <a:gd name="T5" fmla="*/ 32 h 213"/>
                  <a:gd name="T6" fmla="*/ 0 w 109"/>
                  <a:gd name="T7" fmla="*/ 78 h 213"/>
                  <a:gd name="T8" fmla="*/ 16 w 109"/>
                  <a:gd name="T9" fmla="*/ 106 h 213"/>
                  <a:gd name="T10" fmla="*/ 20 w 109"/>
                  <a:gd name="T11" fmla="*/ 104 h 213"/>
                  <a:gd name="T12" fmla="*/ 20 w 109"/>
                  <a:gd name="T13" fmla="*/ 35 h 213"/>
                  <a:gd name="T14" fmla="*/ 22 w 109"/>
                  <a:gd name="T15" fmla="*/ 33 h 213"/>
                  <a:gd name="T16" fmla="*/ 22 w 109"/>
                  <a:gd name="T17" fmla="*/ 33 h 213"/>
                  <a:gd name="T18" fmla="*/ 24 w 109"/>
                  <a:gd name="T19" fmla="*/ 35 h 213"/>
                  <a:gd name="T20" fmla="*/ 24 w 109"/>
                  <a:gd name="T21" fmla="*/ 198 h 213"/>
                  <a:gd name="T22" fmla="*/ 38 w 109"/>
                  <a:gd name="T23" fmla="*/ 213 h 213"/>
                  <a:gd name="T24" fmla="*/ 53 w 109"/>
                  <a:gd name="T25" fmla="*/ 198 h 213"/>
                  <a:gd name="T26" fmla="*/ 53 w 109"/>
                  <a:gd name="T27" fmla="*/ 116 h 213"/>
                  <a:gd name="T28" fmla="*/ 55 w 109"/>
                  <a:gd name="T29" fmla="*/ 114 h 213"/>
                  <a:gd name="T30" fmla="*/ 55 w 109"/>
                  <a:gd name="T31" fmla="*/ 114 h 213"/>
                  <a:gd name="T32" fmla="*/ 57 w 109"/>
                  <a:gd name="T33" fmla="*/ 116 h 213"/>
                  <a:gd name="T34" fmla="*/ 57 w 109"/>
                  <a:gd name="T35" fmla="*/ 198 h 213"/>
                  <a:gd name="T36" fmla="*/ 71 w 109"/>
                  <a:gd name="T37" fmla="*/ 213 h 213"/>
                  <a:gd name="T38" fmla="*/ 86 w 109"/>
                  <a:gd name="T39" fmla="*/ 198 h 213"/>
                  <a:gd name="T40" fmla="*/ 86 w 109"/>
                  <a:gd name="T41" fmla="*/ 35 h 213"/>
                  <a:gd name="T42" fmla="*/ 88 w 109"/>
                  <a:gd name="T43" fmla="*/ 33 h 213"/>
                  <a:gd name="T44" fmla="*/ 88 w 109"/>
                  <a:gd name="T45" fmla="*/ 33 h 213"/>
                  <a:gd name="T46" fmla="*/ 90 w 109"/>
                  <a:gd name="T47" fmla="*/ 35 h 213"/>
                  <a:gd name="T48" fmla="*/ 90 w 109"/>
                  <a:gd name="T49" fmla="*/ 103 h 213"/>
                  <a:gd name="T50" fmla="*/ 94 w 109"/>
                  <a:gd name="T51" fmla="*/ 105 h 213"/>
                  <a:gd name="T52" fmla="*/ 109 w 109"/>
                  <a:gd name="T53" fmla="*/ 78 h 213"/>
                  <a:gd name="T54" fmla="*/ 109 w 109"/>
                  <a:gd name="T55" fmla="*/ 32 h 213"/>
                  <a:gd name="T56" fmla="*/ 77 w 109"/>
                  <a:gd name="T57" fmla="*/ 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9" h="213">
                    <a:moveTo>
                      <a:pt x="77" y="0"/>
                    </a:moveTo>
                    <a:cubicBezTo>
                      <a:pt x="32" y="0"/>
                      <a:pt x="32" y="0"/>
                      <a:pt x="32" y="0"/>
                    </a:cubicBezTo>
                    <a:cubicBezTo>
                      <a:pt x="15" y="0"/>
                      <a:pt x="0" y="15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90"/>
                      <a:pt x="7" y="100"/>
                      <a:pt x="16" y="106"/>
                    </a:cubicBezTo>
                    <a:cubicBezTo>
                      <a:pt x="18" y="107"/>
                      <a:pt x="20" y="105"/>
                      <a:pt x="20" y="104"/>
                    </a:cubicBezTo>
                    <a:cubicBezTo>
                      <a:pt x="20" y="35"/>
                      <a:pt x="20" y="35"/>
                      <a:pt x="20" y="35"/>
                    </a:cubicBezTo>
                    <a:cubicBezTo>
                      <a:pt x="20" y="34"/>
                      <a:pt x="21" y="33"/>
                      <a:pt x="22" y="33"/>
                    </a:cubicBezTo>
                    <a:cubicBezTo>
                      <a:pt x="22" y="33"/>
                      <a:pt x="22" y="33"/>
                      <a:pt x="22" y="33"/>
                    </a:cubicBezTo>
                    <a:cubicBezTo>
                      <a:pt x="23" y="33"/>
                      <a:pt x="24" y="34"/>
                      <a:pt x="24" y="35"/>
                    </a:cubicBezTo>
                    <a:cubicBezTo>
                      <a:pt x="24" y="198"/>
                      <a:pt x="24" y="198"/>
                      <a:pt x="24" y="198"/>
                    </a:cubicBezTo>
                    <a:cubicBezTo>
                      <a:pt x="24" y="206"/>
                      <a:pt x="30" y="213"/>
                      <a:pt x="38" y="213"/>
                    </a:cubicBezTo>
                    <a:cubicBezTo>
                      <a:pt x="46" y="213"/>
                      <a:pt x="53" y="207"/>
                      <a:pt x="53" y="198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3" y="115"/>
                      <a:pt x="54" y="114"/>
                      <a:pt x="55" y="114"/>
                    </a:cubicBezTo>
                    <a:cubicBezTo>
                      <a:pt x="55" y="114"/>
                      <a:pt x="55" y="114"/>
                      <a:pt x="55" y="114"/>
                    </a:cubicBezTo>
                    <a:cubicBezTo>
                      <a:pt x="56" y="114"/>
                      <a:pt x="57" y="115"/>
                      <a:pt x="57" y="116"/>
                    </a:cubicBezTo>
                    <a:cubicBezTo>
                      <a:pt x="57" y="198"/>
                      <a:pt x="57" y="198"/>
                      <a:pt x="57" y="198"/>
                    </a:cubicBezTo>
                    <a:cubicBezTo>
                      <a:pt x="57" y="206"/>
                      <a:pt x="63" y="213"/>
                      <a:pt x="71" y="213"/>
                    </a:cubicBezTo>
                    <a:cubicBezTo>
                      <a:pt x="79" y="213"/>
                      <a:pt x="86" y="207"/>
                      <a:pt x="86" y="198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7" y="33"/>
                      <a:pt x="88" y="33"/>
                    </a:cubicBezTo>
                    <a:cubicBezTo>
                      <a:pt x="88" y="33"/>
                      <a:pt x="88" y="33"/>
                      <a:pt x="88" y="33"/>
                    </a:cubicBezTo>
                    <a:cubicBezTo>
                      <a:pt x="89" y="33"/>
                      <a:pt x="90" y="34"/>
                      <a:pt x="90" y="35"/>
                    </a:cubicBezTo>
                    <a:cubicBezTo>
                      <a:pt x="90" y="103"/>
                      <a:pt x="90" y="103"/>
                      <a:pt x="90" y="103"/>
                    </a:cubicBezTo>
                    <a:cubicBezTo>
                      <a:pt x="90" y="105"/>
                      <a:pt x="92" y="106"/>
                      <a:pt x="94" y="105"/>
                    </a:cubicBezTo>
                    <a:cubicBezTo>
                      <a:pt x="103" y="100"/>
                      <a:pt x="109" y="90"/>
                      <a:pt x="109" y="78"/>
                    </a:cubicBezTo>
                    <a:cubicBezTo>
                      <a:pt x="109" y="32"/>
                      <a:pt x="109" y="32"/>
                      <a:pt x="109" y="32"/>
                    </a:cubicBezTo>
                    <a:cubicBezTo>
                      <a:pt x="109" y="15"/>
                      <a:pt x="95" y="0"/>
                      <a:pt x="77" y="0"/>
                    </a:cubicBezTo>
                    <a:close/>
                  </a:path>
                </a:pathLst>
              </a:cu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6" name="Oval 160"/>
              <p:cNvSpPr>
                <a:spLocks noChangeArrowheads="1"/>
              </p:cNvSpPr>
              <p:nvPr/>
            </p:nvSpPr>
            <p:spPr bwMode="auto">
              <a:xfrm>
                <a:off x="10592846" y="4975387"/>
                <a:ext cx="81969" cy="83761"/>
              </a:xfrm>
              <a:prstGeom prst="ellipse">
                <a:avLst/>
              </a:prstGeom>
              <a:solidFill>
                <a:srgbClr val="173F4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grpSp>
            <p:nvGrpSpPr>
              <p:cNvPr id="427" name="Group 426"/>
              <p:cNvGrpSpPr/>
              <p:nvPr/>
            </p:nvGrpSpPr>
            <p:grpSpPr>
              <a:xfrm>
                <a:off x="10193476" y="4975387"/>
                <a:ext cx="351297" cy="412509"/>
                <a:chOff x="629950" y="2421868"/>
                <a:chExt cx="514492" cy="591215"/>
              </a:xfrm>
              <a:solidFill>
                <a:srgbClr val="173F49"/>
              </a:solidFill>
            </p:grpSpPr>
            <p:sp>
              <p:nvSpPr>
                <p:cNvPr id="428" name="Oval 165"/>
                <p:cNvSpPr>
                  <a:spLocks noChangeArrowheads="1"/>
                </p:cNvSpPr>
                <p:nvPr/>
              </p:nvSpPr>
              <p:spPr bwMode="auto">
                <a:xfrm>
                  <a:off x="958503" y="2421868"/>
                  <a:ext cx="119146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29" name="Freeform 166"/>
                <p:cNvSpPr>
                  <a:spLocks noEditPoints="1"/>
                </p:cNvSpPr>
                <p:nvPr/>
              </p:nvSpPr>
              <p:spPr bwMode="auto">
                <a:xfrm>
                  <a:off x="891709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2 w 118"/>
                    <a:gd name="T3" fmla="*/ 102 h 213"/>
                    <a:gd name="T4" fmla="*/ 113 w 118"/>
                    <a:gd name="T5" fmla="*/ 78 h 213"/>
                    <a:gd name="T6" fmla="*/ 113 w 118"/>
                    <a:gd name="T7" fmla="*/ 32 h 213"/>
                    <a:gd name="T8" fmla="*/ 81 w 118"/>
                    <a:gd name="T9" fmla="*/ 0 h 213"/>
                    <a:gd name="T10" fmla="*/ 36 w 118"/>
                    <a:gd name="T11" fmla="*/ 0 h 213"/>
                    <a:gd name="T12" fmla="*/ 4 w 118"/>
                    <a:gd name="T13" fmla="*/ 32 h 213"/>
                    <a:gd name="T14" fmla="*/ 4 w 118"/>
                    <a:gd name="T15" fmla="*/ 78 h 213"/>
                    <a:gd name="T16" fmla="*/ 15 w 118"/>
                    <a:gd name="T17" fmla="*/ 102 h 213"/>
                    <a:gd name="T18" fmla="*/ 0 w 118"/>
                    <a:gd name="T19" fmla="*/ 142 h 213"/>
                    <a:gd name="T20" fmla="*/ 28 w 118"/>
                    <a:gd name="T21" fmla="*/ 142 h 213"/>
                    <a:gd name="T22" fmla="*/ 28 w 118"/>
                    <a:gd name="T23" fmla="*/ 198 h 213"/>
                    <a:gd name="T24" fmla="*/ 42 w 118"/>
                    <a:gd name="T25" fmla="*/ 213 h 213"/>
                    <a:gd name="T26" fmla="*/ 57 w 118"/>
                    <a:gd name="T27" fmla="*/ 198 h 213"/>
                    <a:gd name="T28" fmla="*/ 57 w 118"/>
                    <a:gd name="T29" fmla="*/ 142 h 213"/>
                    <a:gd name="T30" fmla="*/ 61 w 118"/>
                    <a:gd name="T31" fmla="*/ 142 h 213"/>
                    <a:gd name="T32" fmla="*/ 61 w 118"/>
                    <a:gd name="T33" fmla="*/ 198 h 213"/>
                    <a:gd name="T34" fmla="*/ 75 w 118"/>
                    <a:gd name="T35" fmla="*/ 213 h 213"/>
                    <a:gd name="T36" fmla="*/ 90 w 118"/>
                    <a:gd name="T37" fmla="*/ 198 h 213"/>
                    <a:gd name="T38" fmla="*/ 90 w 118"/>
                    <a:gd name="T39" fmla="*/ 142 h 213"/>
                    <a:gd name="T40" fmla="*/ 118 w 118"/>
                    <a:gd name="T41" fmla="*/ 142 h 213"/>
                    <a:gd name="T42" fmla="*/ 92 w 118"/>
                    <a:gd name="T43" fmla="*/ 33 h 213"/>
                    <a:gd name="T44" fmla="*/ 92 w 118"/>
                    <a:gd name="T45" fmla="*/ 33 h 213"/>
                    <a:gd name="T46" fmla="*/ 94 w 118"/>
                    <a:gd name="T47" fmla="*/ 35 h 213"/>
                    <a:gd name="T48" fmla="*/ 94 w 118"/>
                    <a:gd name="T49" fmla="*/ 81 h 213"/>
                    <a:gd name="T50" fmla="*/ 90 w 118"/>
                    <a:gd name="T51" fmla="*/ 70 h 213"/>
                    <a:gd name="T52" fmla="*/ 90 w 118"/>
                    <a:gd name="T53" fmla="*/ 35 h 213"/>
                    <a:gd name="T54" fmla="*/ 92 w 118"/>
                    <a:gd name="T55" fmla="*/ 33 h 213"/>
                    <a:gd name="T56" fmla="*/ 24 w 118"/>
                    <a:gd name="T57" fmla="*/ 80 h 213"/>
                    <a:gd name="T58" fmla="*/ 24 w 118"/>
                    <a:gd name="T59" fmla="*/ 35 h 213"/>
                    <a:gd name="T60" fmla="*/ 26 w 118"/>
                    <a:gd name="T61" fmla="*/ 33 h 213"/>
                    <a:gd name="T62" fmla="*/ 28 w 118"/>
                    <a:gd name="T63" fmla="*/ 35 h 213"/>
                    <a:gd name="T64" fmla="*/ 28 w 118"/>
                    <a:gd name="T65" fmla="*/ 69 h 213"/>
                    <a:gd name="T66" fmla="*/ 24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2" y="102"/>
                        <a:pt x="102" y="102"/>
                        <a:pt x="102" y="102"/>
                      </a:cubicBezTo>
                      <a:cubicBezTo>
                        <a:pt x="109" y="96"/>
                        <a:pt x="113" y="87"/>
                        <a:pt x="113" y="78"/>
                      </a:cubicBezTo>
                      <a:cubicBezTo>
                        <a:pt x="113" y="32"/>
                        <a:pt x="113" y="32"/>
                        <a:pt x="113" y="32"/>
                      </a:cubicBezTo>
                      <a:cubicBezTo>
                        <a:pt x="113" y="14"/>
                        <a:pt x="99" y="0"/>
                        <a:pt x="81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19" y="0"/>
                        <a:pt x="4" y="14"/>
                        <a:pt x="4" y="32"/>
                      </a:cubicBezTo>
                      <a:cubicBezTo>
                        <a:pt x="4" y="78"/>
                        <a:pt x="4" y="78"/>
                        <a:pt x="4" y="78"/>
                      </a:cubicBezTo>
                      <a:cubicBezTo>
                        <a:pt x="4" y="87"/>
                        <a:pt x="9" y="96"/>
                        <a:pt x="15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8" y="142"/>
                        <a:pt x="28" y="142"/>
                        <a:pt x="28" y="142"/>
                      </a:cubicBezTo>
                      <a:cubicBezTo>
                        <a:pt x="28" y="198"/>
                        <a:pt x="28" y="198"/>
                        <a:pt x="28" y="198"/>
                      </a:cubicBezTo>
                      <a:cubicBezTo>
                        <a:pt x="28" y="206"/>
                        <a:pt x="34" y="212"/>
                        <a:pt x="42" y="213"/>
                      </a:cubicBezTo>
                      <a:cubicBezTo>
                        <a:pt x="50" y="213"/>
                        <a:pt x="57" y="206"/>
                        <a:pt x="57" y="198"/>
                      </a:cubicBezTo>
                      <a:cubicBezTo>
                        <a:pt x="57" y="142"/>
                        <a:pt x="57" y="142"/>
                        <a:pt x="57" y="142"/>
                      </a:cubicBezTo>
                      <a:cubicBezTo>
                        <a:pt x="61" y="142"/>
                        <a:pt x="61" y="142"/>
                        <a:pt x="61" y="142"/>
                      </a:cubicBezTo>
                      <a:cubicBezTo>
                        <a:pt x="61" y="198"/>
                        <a:pt x="61" y="198"/>
                        <a:pt x="61" y="198"/>
                      </a:cubicBezTo>
                      <a:cubicBezTo>
                        <a:pt x="61" y="206"/>
                        <a:pt x="67" y="212"/>
                        <a:pt x="75" y="213"/>
                      </a:cubicBezTo>
                      <a:cubicBezTo>
                        <a:pt x="83" y="213"/>
                        <a:pt x="90" y="206"/>
                        <a:pt x="90" y="198"/>
                      </a:cubicBezTo>
                      <a:cubicBezTo>
                        <a:pt x="90" y="142"/>
                        <a:pt x="90" y="142"/>
                        <a:pt x="90" y="142"/>
                      </a:cubicBezTo>
                      <a:lnTo>
                        <a:pt x="118" y="142"/>
                      </a:lnTo>
                      <a:close/>
                      <a:moveTo>
                        <a:pt x="92" y="33"/>
                      </a:moveTo>
                      <a:cubicBezTo>
                        <a:pt x="92" y="33"/>
                        <a:pt x="92" y="33"/>
                        <a:pt x="92" y="33"/>
                      </a:cubicBezTo>
                      <a:cubicBezTo>
                        <a:pt x="93" y="33"/>
                        <a:pt x="94" y="34"/>
                        <a:pt x="94" y="35"/>
                      </a:cubicBezTo>
                      <a:cubicBezTo>
                        <a:pt x="94" y="81"/>
                        <a:pt x="94" y="81"/>
                        <a:pt x="94" y="81"/>
                      </a:cubicBezTo>
                      <a:cubicBezTo>
                        <a:pt x="90" y="70"/>
                        <a:pt x="90" y="70"/>
                        <a:pt x="90" y="70"/>
                      </a:cubicBezTo>
                      <a:cubicBezTo>
                        <a:pt x="90" y="35"/>
                        <a:pt x="90" y="35"/>
                        <a:pt x="90" y="35"/>
                      </a:cubicBezTo>
                      <a:cubicBezTo>
                        <a:pt x="90" y="34"/>
                        <a:pt x="91" y="33"/>
                        <a:pt x="92" y="33"/>
                      </a:cubicBezTo>
                      <a:close/>
                      <a:moveTo>
                        <a:pt x="24" y="80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34"/>
                        <a:pt x="25" y="33"/>
                        <a:pt x="26" y="33"/>
                      </a:cubicBezTo>
                      <a:cubicBezTo>
                        <a:pt x="27" y="33"/>
                        <a:pt x="28" y="34"/>
                        <a:pt x="28" y="35"/>
                      </a:cubicBezTo>
                      <a:cubicBezTo>
                        <a:pt x="28" y="69"/>
                        <a:pt x="28" y="69"/>
                        <a:pt x="28" y="69"/>
                      </a:cubicBezTo>
                      <a:lnTo>
                        <a:pt x="24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30" name="Oval 167"/>
                <p:cNvSpPr>
                  <a:spLocks noChangeArrowheads="1"/>
                </p:cNvSpPr>
                <p:nvPr/>
              </p:nvSpPr>
              <p:spPr bwMode="auto">
                <a:xfrm>
                  <a:off x="696744" y="2421868"/>
                  <a:ext cx="121854" cy="12004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431" name="Freeform 168"/>
                <p:cNvSpPr>
                  <a:spLocks noEditPoints="1"/>
                </p:cNvSpPr>
                <p:nvPr/>
              </p:nvSpPr>
              <p:spPr bwMode="auto">
                <a:xfrm>
                  <a:off x="629950" y="2556358"/>
                  <a:ext cx="252733" cy="456725"/>
                </a:xfrm>
                <a:custGeom>
                  <a:avLst/>
                  <a:gdLst>
                    <a:gd name="T0" fmla="*/ 118 w 118"/>
                    <a:gd name="T1" fmla="*/ 142 h 213"/>
                    <a:gd name="T2" fmla="*/ 103 w 118"/>
                    <a:gd name="T3" fmla="*/ 102 h 213"/>
                    <a:gd name="T4" fmla="*/ 114 w 118"/>
                    <a:gd name="T5" fmla="*/ 78 h 213"/>
                    <a:gd name="T6" fmla="*/ 114 w 118"/>
                    <a:gd name="T7" fmla="*/ 32 h 213"/>
                    <a:gd name="T8" fmla="*/ 82 w 118"/>
                    <a:gd name="T9" fmla="*/ 0 h 213"/>
                    <a:gd name="T10" fmla="*/ 37 w 118"/>
                    <a:gd name="T11" fmla="*/ 0 h 213"/>
                    <a:gd name="T12" fmla="*/ 5 w 118"/>
                    <a:gd name="T13" fmla="*/ 32 h 213"/>
                    <a:gd name="T14" fmla="*/ 5 w 118"/>
                    <a:gd name="T15" fmla="*/ 78 h 213"/>
                    <a:gd name="T16" fmla="*/ 16 w 118"/>
                    <a:gd name="T17" fmla="*/ 102 h 213"/>
                    <a:gd name="T18" fmla="*/ 0 w 118"/>
                    <a:gd name="T19" fmla="*/ 142 h 213"/>
                    <a:gd name="T20" fmla="*/ 29 w 118"/>
                    <a:gd name="T21" fmla="*/ 142 h 213"/>
                    <a:gd name="T22" fmla="*/ 29 w 118"/>
                    <a:gd name="T23" fmla="*/ 198 h 213"/>
                    <a:gd name="T24" fmla="*/ 43 w 118"/>
                    <a:gd name="T25" fmla="*/ 213 h 213"/>
                    <a:gd name="T26" fmla="*/ 58 w 118"/>
                    <a:gd name="T27" fmla="*/ 198 h 213"/>
                    <a:gd name="T28" fmla="*/ 58 w 118"/>
                    <a:gd name="T29" fmla="*/ 142 h 213"/>
                    <a:gd name="T30" fmla="*/ 62 w 118"/>
                    <a:gd name="T31" fmla="*/ 142 h 213"/>
                    <a:gd name="T32" fmla="*/ 62 w 118"/>
                    <a:gd name="T33" fmla="*/ 198 h 213"/>
                    <a:gd name="T34" fmla="*/ 76 w 118"/>
                    <a:gd name="T35" fmla="*/ 213 h 213"/>
                    <a:gd name="T36" fmla="*/ 91 w 118"/>
                    <a:gd name="T37" fmla="*/ 198 h 213"/>
                    <a:gd name="T38" fmla="*/ 91 w 118"/>
                    <a:gd name="T39" fmla="*/ 142 h 213"/>
                    <a:gd name="T40" fmla="*/ 118 w 118"/>
                    <a:gd name="T41" fmla="*/ 142 h 213"/>
                    <a:gd name="T42" fmla="*/ 93 w 118"/>
                    <a:gd name="T43" fmla="*/ 33 h 213"/>
                    <a:gd name="T44" fmla="*/ 93 w 118"/>
                    <a:gd name="T45" fmla="*/ 33 h 213"/>
                    <a:gd name="T46" fmla="*/ 95 w 118"/>
                    <a:gd name="T47" fmla="*/ 35 h 213"/>
                    <a:gd name="T48" fmla="*/ 95 w 118"/>
                    <a:gd name="T49" fmla="*/ 81 h 213"/>
                    <a:gd name="T50" fmla="*/ 91 w 118"/>
                    <a:gd name="T51" fmla="*/ 70 h 213"/>
                    <a:gd name="T52" fmla="*/ 91 w 118"/>
                    <a:gd name="T53" fmla="*/ 35 h 213"/>
                    <a:gd name="T54" fmla="*/ 93 w 118"/>
                    <a:gd name="T55" fmla="*/ 33 h 213"/>
                    <a:gd name="T56" fmla="*/ 25 w 118"/>
                    <a:gd name="T57" fmla="*/ 80 h 213"/>
                    <a:gd name="T58" fmla="*/ 25 w 118"/>
                    <a:gd name="T59" fmla="*/ 35 h 213"/>
                    <a:gd name="T60" fmla="*/ 27 w 118"/>
                    <a:gd name="T61" fmla="*/ 33 h 213"/>
                    <a:gd name="T62" fmla="*/ 29 w 118"/>
                    <a:gd name="T63" fmla="*/ 35 h 213"/>
                    <a:gd name="T64" fmla="*/ 29 w 118"/>
                    <a:gd name="T65" fmla="*/ 69 h 213"/>
                    <a:gd name="T66" fmla="*/ 25 w 118"/>
                    <a:gd name="T67" fmla="*/ 80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18" h="213">
                      <a:moveTo>
                        <a:pt x="118" y="142"/>
                      </a:moveTo>
                      <a:cubicBezTo>
                        <a:pt x="103" y="102"/>
                        <a:pt x="103" y="102"/>
                        <a:pt x="103" y="102"/>
                      </a:cubicBezTo>
                      <a:cubicBezTo>
                        <a:pt x="110" y="96"/>
                        <a:pt x="114" y="87"/>
                        <a:pt x="114" y="78"/>
                      </a:cubicBezTo>
                      <a:cubicBezTo>
                        <a:pt x="114" y="32"/>
                        <a:pt x="114" y="32"/>
                        <a:pt x="114" y="32"/>
                      </a:cubicBezTo>
                      <a:cubicBezTo>
                        <a:pt x="114" y="14"/>
                        <a:pt x="100" y="0"/>
                        <a:pt x="82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19" y="0"/>
                        <a:pt x="5" y="14"/>
                        <a:pt x="5" y="32"/>
                      </a:cubicBezTo>
                      <a:cubicBezTo>
                        <a:pt x="5" y="78"/>
                        <a:pt x="5" y="78"/>
                        <a:pt x="5" y="78"/>
                      </a:cubicBezTo>
                      <a:cubicBezTo>
                        <a:pt x="5" y="87"/>
                        <a:pt x="9" y="96"/>
                        <a:pt x="16" y="102"/>
                      </a:cubicBezTo>
                      <a:cubicBezTo>
                        <a:pt x="0" y="142"/>
                        <a:pt x="0" y="142"/>
                        <a:pt x="0" y="142"/>
                      </a:cubicBezTo>
                      <a:cubicBezTo>
                        <a:pt x="29" y="142"/>
                        <a:pt x="29" y="142"/>
                        <a:pt x="29" y="142"/>
                      </a:cubicBezTo>
                      <a:cubicBezTo>
                        <a:pt x="29" y="198"/>
                        <a:pt x="29" y="198"/>
                        <a:pt x="29" y="198"/>
                      </a:cubicBezTo>
                      <a:cubicBezTo>
                        <a:pt x="29" y="206"/>
                        <a:pt x="35" y="212"/>
                        <a:pt x="43" y="213"/>
                      </a:cubicBezTo>
                      <a:cubicBezTo>
                        <a:pt x="51" y="213"/>
                        <a:pt x="58" y="206"/>
                        <a:pt x="58" y="198"/>
                      </a:cubicBezTo>
                      <a:cubicBezTo>
                        <a:pt x="58" y="142"/>
                        <a:pt x="58" y="142"/>
                        <a:pt x="58" y="142"/>
                      </a:cubicBezTo>
                      <a:cubicBezTo>
                        <a:pt x="62" y="142"/>
                        <a:pt x="62" y="142"/>
                        <a:pt x="62" y="142"/>
                      </a:cubicBezTo>
                      <a:cubicBezTo>
                        <a:pt x="62" y="198"/>
                        <a:pt x="62" y="198"/>
                        <a:pt x="62" y="198"/>
                      </a:cubicBezTo>
                      <a:cubicBezTo>
                        <a:pt x="62" y="206"/>
                        <a:pt x="68" y="212"/>
                        <a:pt x="76" y="213"/>
                      </a:cubicBezTo>
                      <a:cubicBezTo>
                        <a:pt x="84" y="213"/>
                        <a:pt x="91" y="206"/>
                        <a:pt x="91" y="198"/>
                      </a:cubicBezTo>
                      <a:cubicBezTo>
                        <a:pt x="91" y="142"/>
                        <a:pt x="91" y="142"/>
                        <a:pt x="91" y="142"/>
                      </a:cubicBezTo>
                      <a:lnTo>
                        <a:pt x="118" y="142"/>
                      </a:lnTo>
                      <a:close/>
                      <a:moveTo>
                        <a:pt x="93" y="33"/>
                      </a:moveTo>
                      <a:cubicBezTo>
                        <a:pt x="93" y="33"/>
                        <a:pt x="93" y="33"/>
                        <a:pt x="93" y="33"/>
                      </a:cubicBezTo>
                      <a:cubicBezTo>
                        <a:pt x="94" y="33"/>
                        <a:pt x="95" y="34"/>
                        <a:pt x="95" y="35"/>
                      </a:cubicBezTo>
                      <a:cubicBezTo>
                        <a:pt x="95" y="81"/>
                        <a:pt x="95" y="81"/>
                        <a:pt x="95" y="81"/>
                      </a:cubicBezTo>
                      <a:cubicBezTo>
                        <a:pt x="91" y="70"/>
                        <a:pt x="91" y="70"/>
                        <a:pt x="91" y="70"/>
                      </a:cubicBezTo>
                      <a:cubicBezTo>
                        <a:pt x="91" y="35"/>
                        <a:pt x="91" y="35"/>
                        <a:pt x="91" y="35"/>
                      </a:cubicBezTo>
                      <a:cubicBezTo>
                        <a:pt x="91" y="34"/>
                        <a:pt x="91" y="33"/>
                        <a:pt x="93" y="33"/>
                      </a:cubicBezTo>
                      <a:close/>
                      <a:moveTo>
                        <a:pt x="25" y="80"/>
                      </a:moveTo>
                      <a:cubicBezTo>
                        <a:pt x="25" y="35"/>
                        <a:pt x="25" y="35"/>
                        <a:pt x="25" y="35"/>
                      </a:cubicBezTo>
                      <a:cubicBezTo>
                        <a:pt x="25" y="34"/>
                        <a:pt x="26" y="33"/>
                        <a:pt x="27" y="33"/>
                      </a:cubicBezTo>
                      <a:cubicBezTo>
                        <a:pt x="28" y="33"/>
                        <a:pt x="29" y="34"/>
                        <a:pt x="29" y="35"/>
                      </a:cubicBezTo>
                      <a:cubicBezTo>
                        <a:pt x="29" y="69"/>
                        <a:pt x="29" y="69"/>
                        <a:pt x="29" y="69"/>
                      </a:cubicBezTo>
                      <a:lnTo>
                        <a:pt x="25" y="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39176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1509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5617" y="365125"/>
            <a:ext cx="11063112" cy="707319"/>
          </a:xfrm>
        </p:spPr>
        <p:txBody>
          <a:bodyPr>
            <a:normAutofit/>
          </a:bodyPr>
          <a:lstStyle/>
          <a:p>
            <a:r>
              <a:rPr lang="en-US" dirty="0"/>
              <a:t>Contribution to Economic Growth</a:t>
            </a:r>
            <a:endParaRPr lang="en-GB" dirty="0"/>
          </a:p>
        </p:txBody>
      </p:sp>
      <p:sp>
        <p:nvSpPr>
          <p:cNvPr id="272" name="Freeform 353"/>
          <p:cNvSpPr>
            <a:spLocks noEditPoints="1"/>
          </p:cNvSpPr>
          <p:nvPr/>
        </p:nvSpPr>
        <p:spPr bwMode="black">
          <a:xfrm>
            <a:off x="11066721" y="4611542"/>
            <a:ext cx="515512" cy="261793"/>
          </a:xfrm>
          <a:custGeom>
            <a:avLst/>
            <a:gdLst>
              <a:gd name="T0" fmla="*/ 236 w 284"/>
              <a:gd name="T1" fmla="*/ 88 h 144"/>
              <a:gd name="T2" fmla="*/ 176 w 284"/>
              <a:gd name="T3" fmla="*/ 88 h 144"/>
              <a:gd name="T4" fmla="*/ 96 w 284"/>
              <a:gd name="T5" fmla="*/ 0 h 144"/>
              <a:gd name="T6" fmla="*/ 47 w 284"/>
              <a:gd name="T7" fmla="*/ 0 h 144"/>
              <a:gd name="T8" fmla="*/ 95 w 284"/>
              <a:gd name="T9" fmla="*/ 88 h 144"/>
              <a:gd name="T10" fmla="*/ 63 w 284"/>
              <a:gd name="T11" fmla="*/ 88 h 144"/>
              <a:gd name="T12" fmla="*/ 39 w 284"/>
              <a:gd name="T13" fmla="*/ 64 h 144"/>
              <a:gd name="T14" fmla="*/ 0 w 284"/>
              <a:gd name="T15" fmla="*/ 64 h 144"/>
              <a:gd name="T16" fmla="*/ 30 w 284"/>
              <a:gd name="T17" fmla="*/ 144 h 144"/>
              <a:gd name="T18" fmla="*/ 284 w 284"/>
              <a:gd name="T19" fmla="*/ 144 h 144"/>
              <a:gd name="T20" fmla="*/ 284 w 284"/>
              <a:gd name="T21" fmla="*/ 136 h 144"/>
              <a:gd name="T22" fmla="*/ 236 w 284"/>
              <a:gd name="T23" fmla="*/ 88 h 144"/>
              <a:gd name="T24" fmla="*/ 42 w 284"/>
              <a:gd name="T25" fmla="*/ 128 h 144"/>
              <a:gd name="T26" fmla="*/ 24 w 284"/>
              <a:gd name="T27" fmla="*/ 80 h 144"/>
              <a:gd name="T28" fmla="*/ 33 w 284"/>
              <a:gd name="T29" fmla="*/ 80 h 144"/>
              <a:gd name="T30" fmla="*/ 57 w 284"/>
              <a:gd name="T31" fmla="*/ 104 h 144"/>
              <a:gd name="T32" fmla="*/ 121 w 284"/>
              <a:gd name="T33" fmla="*/ 104 h 144"/>
              <a:gd name="T34" fmla="*/ 73 w 284"/>
              <a:gd name="T35" fmla="*/ 16 h 144"/>
              <a:gd name="T36" fmla="*/ 88 w 284"/>
              <a:gd name="T37" fmla="*/ 16 h 144"/>
              <a:gd name="T38" fmla="*/ 168 w 284"/>
              <a:gd name="T39" fmla="*/ 104 h 144"/>
              <a:gd name="T40" fmla="*/ 236 w 284"/>
              <a:gd name="T41" fmla="*/ 104 h 144"/>
              <a:gd name="T42" fmla="*/ 267 w 284"/>
              <a:gd name="T43" fmla="*/ 128 h 144"/>
              <a:gd name="T44" fmla="*/ 42 w 284"/>
              <a:gd name="T45" fmla="*/ 12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84" h="144">
                <a:moveTo>
                  <a:pt x="236" y="88"/>
                </a:moveTo>
                <a:cubicBezTo>
                  <a:pt x="176" y="88"/>
                  <a:pt x="176" y="88"/>
                  <a:pt x="176" y="88"/>
                </a:cubicBezTo>
                <a:cubicBezTo>
                  <a:pt x="96" y="0"/>
                  <a:pt x="96" y="0"/>
                  <a:pt x="96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95" y="88"/>
                  <a:pt x="95" y="88"/>
                  <a:pt x="95" y="88"/>
                </a:cubicBezTo>
                <a:cubicBezTo>
                  <a:pt x="63" y="88"/>
                  <a:pt x="63" y="88"/>
                  <a:pt x="63" y="88"/>
                </a:cubicBezTo>
                <a:cubicBezTo>
                  <a:pt x="39" y="64"/>
                  <a:pt x="39" y="64"/>
                  <a:pt x="39" y="64"/>
                </a:cubicBezTo>
                <a:cubicBezTo>
                  <a:pt x="0" y="64"/>
                  <a:pt x="0" y="64"/>
                  <a:pt x="0" y="64"/>
                </a:cubicBezTo>
                <a:cubicBezTo>
                  <a:pt x="30" y="144"/>
                  <a:pt x="30" y="144"/>
                  <a:pt x="30" y="144"/>
                </a:cubicBezTo>
                <a:cubicBezTo>
                  <a:pt x="284" y="144"/>
                  <a:pt x="284" y="144"/>
                  <a:pt x="284" y="144"/>
                </a:cubicBezTo>
                <a:cubicBezTo>
                  <a:pt x="284" y="136"/>
                  <a:pt x="284" y="136"/>
                  <a:pt x="284" y="136"/>
                </a:cubicBezTo>
                <a:cubicBezTo>
                  <a:pt x="284" y="110"/>
                  <a:pt x="262" y="88"/>
                  <a:pt x="236" y="88"/>
                </a:cubicBezTo>
                <a:moveTo>
                  <a:pt x="42" y="128"/>
                </a:moveTo>
                <a:cubicBezTo>
                  <a:pt x="24" y="80"/>
                  <a:pt x="24" y="80"/>
                  <a:pt x="24" y="80"/>
                </a:cubicBezTo>
                <a:cubicBezTo>
                  <a:pt x="33" y="80"/>
                  <a:pt x="33" y="80"/>
                  <a:pt x="33" y="80"/>
                </a:cubicBezTo>
                <a:cubicBezTo>
                  <a:pt x="57" y="104"/>
                  <a:pt x="57" y="104"/>
                  <a:pt x="57" y="104"/>
                </a:cubicBezTo>
                <a:cubicBezTo>
                  <a:pt x="121" y="104"/>
                  <a:pt x="121" y="104"/>
                  <a:pt x="121" y="104"/>
                </a:cubicBezTo>
                <a:cubicBezTo>
                  <a:pt x="73" y="16"/>
                  <a:pt x="73" y="16"/>
                  <a:pt x="73" y="16"/>
                </a:cubicBezTo>
                <a:cubicBezTo>
                  <a:pt x="88" y="16"/>
                  <a:pt x="88" y="16"/>
                  <a:pt x="88" y="16"/>
                </a:cubicBezTo>
                <a:cubicBezTo>
                  <a:pt x="168" y="104"/>
                  <a:pt x="168" y="104"/>
                  <a:pt x="168" y="104"/>
                </a:cubicBezTo>
                <a:cubicBezTo>
                  <a:pt x="236" y="104"/>
                  <a:pt x="236" y="104"/>
                  <a:pt x="236" y="104"/>
                </a:cubicBezTo>
                <a:cubicBezTo>
                  <a:pt x="251" y="104"/>
                  <a:pt x="263" y="114"/>
                  <a:pt x="267" y="128"/>
                </a:cubicBezTo>
                <a:lnTo>
                  <a:pt x="42" y="128"/>
                </a:lnTo>
                <a:close/>
              </a:path>
            </a:pathLst>
          </a:custGeom>
          <a:solidFill>
            <a:srgbClr val="173F49"/>
          </a:solidFill>
          <a:ln w="3175"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71" name="Freeform 153"/>
          <p:cNvSpPr>
            <a:spLocks/>
          </p:cNvSpPr>
          <p:nvPr/>
        </p:nvSpPr>
        <p:spPr bwMode="auto">
          <a:xfrm>
            <a:off x="31173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3" name="Oval 154"/>
          <p:cNvSpPr>
            <a:spLocks noChangeArrowheads="1"/>
          </p:cNvSpPr>
          <p:nvPr/>
        </p:nvSpPr>
        <p:spPr bwMode="auto">
          <a:xfrm>
            <a:off x="74818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6" name="Freeform 157"/>
          <p:cNvSpPr>
            <a:spLocks/>
          </p:cNvSpPr>
          <p:nvPr/>
        </p:nvSpPr>
        <p:spPr bwMode="auto">
          <a:xfrm>
            <a:off x="849882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7" name="Oval 158"/>
          <p:cNvSpPr>
            <a:spLocks noChangeArrowheads="1"/>
          </p:cNvSpPr>
          <p:nvPr/>
        </p:nvSpPr>
        <p:spPr bwMode="auto">
          <a:xfrm>
            <a:off x="893527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8" name="Freeform 159"/>
          <p:cNvSpPr>
            <a:spLocks/>
          </p:cNvSpPr>
          <p:nvPr/>
        </p:nvSpPr>
        <p:spPr bwMode="auto">
          <a:xfrm>
            <a:off x="644325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9" name="Oval 160"/>
          <p:cNvSpPr>
            <a:spLocks noChangeArrowheads="1"/>
          </p:cNvSpPr>
          <p:nvPr/>
        </p:nvSpPr>
        <p:spPr bwMode="auto">
          <a:xfrm>
            <a:off x="689378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4468" name="Group 14467"/>
          <p:cNvGrpSpPr/>
          <p:nvPr/>
        </p:nvGrpSpPr>
        <p:grpSpPr>
          <a:xfrm>
            <a:off x="233211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28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99" name="Freeform 153"/>
          <p:cNvSpPr>
            <a:spLocks/>
          </p:cNvSpPr>
          <p:nvPr/>
        </p:nvSpPr>
        <p:spPr bwMode="auto">
          <a:xfrm>
            <a:off x="1061447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0" name="Oval 154"/>
          <p:cNvSpPr>
            <a:spLocks noChangeArrowheads="1"/>
          </p:cNvSpPr>
          <p:nvPr/>
        </p:nvSpPr>
        <p:spPr bwMode="auto">
          <a:xfrm>
            <a:off x="1105092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1" name="Freeform 157"/>
          <p:cNvSpPr>
            <a:spLocks/>
          </p:cNvSpPr>
          <p:nvPr/>
        </p:nvSpPr>
        <p:spPr bwMode="auto">
          <a:xfrm>
            <a:off x="1880156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2" name="Oval 158"/>
          <p:cNvSpPr>
            <a:spLocks noChangeArrowheads="1"/>
          </p:cNvSpPr>
          <p:nvPr/>
        </p:nvSpPr>
        <p:spPr bwMode="auto">
          <a:xfrm>
            <a:off x="1923801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3" name="Freeform 159"/>
          <p:cNvSpPr>
            <a:spLocks/>
          </p:cNvSpPr>
          <p:nvPr/>
        </p:nvSpPr>
        <p:spPr bwMode="auto">
          <a:xfrm>
            <a:off x="1674599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04" name="Oval 160"/>
          <p:cNvSpPr>
            <a:spLocks noChangeArrowheads="1"/>
          </p:cNvSpPr>
          <p:nvPr/>
        </p:nvSpPr>
        <p:spPr bwMode="auto">
          <a:xfrm>
            <a:off x="1719652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05" name="Group 304"/>
          <p:cNvGrpSpPr/>
          <p:nvPr/>
        </p:nvGrpSpPr>
        <p:grpSpPr>
          <a:xfrm>
            <a:off x="1263485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306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7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8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9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11" name="Freeform 153"/>
          <p:cNvSpPr>
            <a:spLocks/>
          </p:cNvSpPr>
          <p:nvPr/>
        </p:nvSpPr>
        <p:spPr bwMode="auto">
          <a:xfrm>
            <a:off x="2091721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2" name="Oval 154"/>
          <p:cNvSpPr>
            <a:spLocks noChangeArrowheads="1"/>
          </p:cNvSpPr>
          <p:nvPr/>
        </p:nvSpPr>
        <p:spPr bwMode="auto">
          <a:xfrm>
            <a:off x="2135366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3" name="Freeform 157"/>
          <p:cNvSpPr>
            <a:spLocks/>
          </p:cNvSpPr>
          <p:nvPr/>
        </p:nvSpPr>
        <p:spPr bwMode="auto">
          <a:xfrm>
            <a:off x="2910430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4" name="Oval 158"/>
          <p:cNvSpPr>
            <a:spLocks noChangeArrowheads="1"/>
          </p:cNvSpPr>
          <p:nvPr/>
        </p:nvSpPr>
        <p:spPr bwMode="auto">
          <a:xfrm>
            <a:off x="2954075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5" name="Freeform 159"/>
          <p:cNvSpPr>
            <a:spLocks/>
          </p:cNvSpPr>
          <p:nvPr/>
        </p:nvSpPr>
        <p:spPr bwMode="auto">
          <a:xfrm>
            <a:off x="2704873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6" name="Oval 160"/>
          <p:cNvSpPr>
            <a:spLocks noChangeArrowheads="1"/>
          </p:cNvSpPr>
          <p:nvPr/>
        </p:nvSpPr>
        <p:spPr bwMode="auto">
          <a:xfrm>
            <a:off x="2749926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17" name="Group 316"/>
          <p:cNvGrpSpPr/>
          <p:nvPr/>
        </p:nvGrpSpPr>
        <p:grpSpPr>
          <a:xfrm>
            <a:off x="2293759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31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23" name="Freeform 153"/>
          <p:cNvSpPr>
            <a:spLocks/>
          </p:cNvSpPr>
          <p:nvPr/>
        </p:nvSpPr>
        <p:spPr bwMode="auto">
          <a:xfrm>
            <a:off x="3121995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4" name="Oval 154"/>
          <p:cNvSpPr>
            <a:spLocks noChangeArrowheads="1"/>
          </p:cNvSpPr>
          <p:nvPr/>
        </p:nvSpPr>
        <p:spPr bwMode="auto">
          <a:xfrm>
            <a:off x="3165640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5" name="Freeform 157"/>
          <p:cNvSpPr>
            <a:spLocks/>
          </p:cNvSpPr>
          <p:nvPr/>
        </p:nvSpPr>
        <p:spPr bwMode="auto">
          <a:xfrm>
            <a:off x="3940704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6" name="Oval 158"/>
          <p:cNvSpPr>
            <a:spLocks noChangeArrowheads="1"/>
          </p:cNvSpPr>
          <p:nvPr/>
        </p:nvSpPr>
        <p:spPr bwMode="auto">
          <a:xfrm>
            <a:off x="3984349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7" name="Freeform 159"/>
          <p:cNvSpPr>
            <a:spLocks/>
          </p:cNvSpPr>
          <p:nvPr/>
        </p:nvSpPr>
        <p:spPr bwMode="auto">
          <a:xfrm>
            <a:off x="3735147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8" name="Oval 160"/>
          <p:cNvSpPr>
            <a:spLocks noChangeArrowheads="1"/>
          </p:cNvSpPr>
          <p:nvPr/>
        </p:nvSpPr>
        <p:spPr bwMode="auto">
          <a:xfrm>
            <a:off x="3780200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29" name="Group 328"/>
          <p:cNvGrpSpPr/>
          <p:nvPr/>
        </p:nvGrpSpPr>
        <p:grpSpPr>
          <a:xfrm>
            <a:off x="3324033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33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5" name="Freeform 153"/>
          <p:cNvSpPr>
            <a:spLocks/>
          </p:cNvSpPr>
          <p:nvPr/>
        </p:nvSpPr>
        <p:spPr bwMode="auto">
          <a:xfrm>
            <a:off x="4152269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36" name="Oval 154"/>
          <p:cNvSpPr>
            <a:spLocks noChangeArrowheads="1"/>
          </p:cNvSpPr>
          <p:nvPr/>
        </p:nvSpPr>
        <p:spPr bwMode="auto">
          <a:xfrm>
            <a:off x="4195914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37" name="Freeform 157"/>
          <p:cNvSpPr>
            <a:spLocks/>
          </p:cNvSpPr>
          <p:nvPr/>
        </p:nvSpPr>
        <p:spPr bwMode="auto">
          <a:xfrm>
            <a:off x="4970978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38" name="Oval 158"/>
          <p:cNvSpPr>
            <a:spLocks noChangeArrowheads="1"/>
          </p:cNvSpPr>
          <p:nvPr/>
        </p:nvSpPr>
        <p:spPr bwMode="auto">
          <a:xfrm>
            <a:off x="5014623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39" name="Freeform 159"/>
          <p:cNvSpPr>
            <a:spLocks/>
          </p:cNvSpPr>
          <p:nvPr/>
        </p:nvSpPr>
        <p:spPr bwMode="auto">
          <a:xfrm>
            <a:off x="4765421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40" name="Oval 160"/>
          <p:cNvSpPr>
            <a:spLocks noChangeArrowheads="1"/>
          </p:cNvSpPr>
          <p:nvPr/>
        </p:nvSpPr>
        <p:spPr bwMode="auto">
          <a:xfrm>
            <a:off x="4810474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1" name="Group 340"/>
          <p:cNvGrpSpPr/>
          <p:nvPr/>
        </p:nvGrpSpPr>
        <p:grpSpPr>
          <a:xfrm>
            <a:off x="4354307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34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47" name="Freeform 153"/>
          <p:cNvSpPr>
            <a:spLocks/>
          </p:cNvSpPr>
          <p:nvPr/>
        </p:nvSpPr>
        <p:spPr bwMode="auto">
          <a:xfrm>
            <a:off x="5182543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48" name="Oval 154"/>
          <p:cNvSpPr>
            <a:spLocks noChangeArrowheads="1"/>
          </p:cNvSpPr>
          <p:nvPr/>
        </p:nvSpPr>
        <p:spPr bwMode="auto">
          <a:xfrm>
            <a:off x="5226188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49" name="Freeform 157"/>
          <p:cNvSpPr>
            <a:spLocks/>
          </p:cNvSpPr>
          <p:nvPr/>
        </p:nvSpPr>
        <p:spPr bwMode="auto">
          <a:xfrm>
            <a:off x="6001252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50" name="Oval 158"/>
          <p:cNvSpPr>
            <a:spLocks noChangeArrowheads="1"/>
          </p:cNvSpPr>
          <p:nvPr/>
        </p:nvSpPr>
        <p:spPr bwMode="auto">
          <a:xfrm>
            <a:off x="6044897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51" name="Freeform 159"/>
          <p:cNvSpPr>
            <a:spLocks/>
          </p:cNvSpPr>
          <p:nvPr/>
        </p:nvSpPr>
        <p:spPr bwMode="auto">
          <a:xfrm>
            <a:off x="5795695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52" name="Oval 160"/>
          <p:cNvSpPr>
            <a:spLocks noChangeArrowheads="1"/>
          </p:cNvSpPr>
          <p:nvPr/>
        </p:nvSpPr>
        <p:spPr bwMode="auto">
          <a:xfrm>
            <a:off x="5840748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53" name="Group 352"/>
          <p:cNvGrpSpPr/>
          <p:nvPr/>
        </p:nvGrpSpPr>
        <p:grpSpPr>
          <a:xfrm>
            <a:off x="5384581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35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71" name="Freeform 153"/>
          <p:cNvSpPr>
            <a:spLocks/>
          </p:cNvSpPr>
          <p:nvPr/>
        </p:nvSpPr>
        <p:spPr bwMode="auto">
          <a:xfrm>
            <a:off x="6212817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2" name="Oval 154"/>
          <p:cNvSpPr>
            <a:spLocks noChangeArrowheads="1"/>
          </p:cNvSpPr>
          <p:nvPr/>
        </p:nvSpPr>
        <p:spPr bwMode="auto">
          <a:xfrm>
            <a:off x="6256462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3" name="Freeform 157"/>
          <p:cNvSpPr>
            <a:spLocks/>
          </p:cNvSpPr>
          <p:nvPr/>
        </p:nvSpPr>
        <p:spPr bwMode="auto">
          <a:xfrm>
            <a:off x="7031526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4" name="Oval 158"/>
          <p:cNvSpPr>
            <a:spLocks noChangeArrowheads="1"/>
          </p:cNvSpPr>
          <p:nvPr/>
        </p:nvSpPr>
        <p:spPr bwMode="auto">
          <a:xfrm>
            <a:off x="7075171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5" name="Freeform 159"/>
          <p:cNvSpPr>
            <a:spLocks/>
          </p:cNvSpPr>
          <p:nvPr/>
        </p:nvSpPr>
        <p:spPr bwMode="auto">
          <a:xfrm>
            <a:off x="6825969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76" name="Oval 160"/>
          <p:cNvSpPr>
            <a:spLocks noChangeArrowheads="1"/>
          </p:cNvSpPr>
          <p:nvPr/>
        </p:nvSpPr>
        <p:spPr bwMode="auto">
          <a:xfrm>
            <a:off x="6871022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77" name="Group 376"/>
          <p:cNvGrpSpPr/>
          <p:nvPr/>
        </p:nvGrpSpPr>
        <p:grpSpPr>
          <a:xfrm>
            <a:off x="6414855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37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83" name="Freeform 153"/>
          <p:cNvSpPr>
            <a:spLocks/>
          </p:cNvSpPr>
          <p:nvPr/>
        </p:nvSpPr>
        <p:spPr bwMode="auto">
          <a:xfrm>
            <a:off x="7243091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4" name="Oval 154"/>
          <p:cNvSpPr>
            <a:spLocks noChangeArrowheads="1"/>
          </p:cNvSpPr>
          <p:nvPr/>
        </p:nvSpPr>
        <p:spPr bwMode="auto">
          <a:xfrm>
            <a:off x="7286736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5" name="Freeform 157"/>
          <p:cNvSpPr>
            <a:spLocks/>
          </p:cNvSpPr>
          <p:nvPr/>
        </p:nvSpPr>
        <p:spPr bwMode="auto">
          <a:xfrm>
            <a:off x="8061800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6" name="Oval 158"/>
          <p:cNvSpPr>
            <a:spLocks noChangeArrowheads="1"/>
          </p:cNvSpPr>
          <p:nvPr/>
        </p:nvSpPr>
        <p:spPr bwMode="auto">
          <a:xfrm>
            <a:off x="8105445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7" name="Freeform 159"/>
          <p:cNvSpPr>
            <a:spLocks/>
          </p:cNvSpPr>
          <p:nvPr/>
        </p:nvSpPr>
        <p:spPr bwMode="auto">
          <a:xfrm>
            <a:off x="7856243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88" name="Oval 160"/>
          <p:cNvSpPr>
            <a:spLocks noChangeArrowheads="1"/>
          </p:cNvSpPr>
          <p:nvPr/>
        </p:nvSpPr>
        <p:spPr bwMode="auto">
          <a:xfrm>
            <a:off x="7901296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89" name="Group 388"/>
          <p:cNvGrpSpPr/>
          <p:nvPr/>
        </p:nvGrpSpPr>
        <p:grpSpPr>
          <a:xfrm>
            <a:off x="7445129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39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95" name="Freeform 153"/>
          <p:cNvSpPr>
            <a:spLocks/>
          </p:cNvSpPr>
          <p:nvPr/>
        </p:nvSpPr>
        <p:spPr bwMode="auto">
          <a:xfrm>
            <a:off x="8273365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96" name="Oval 154"/>
          <p:cNvSpPr>
            <a:spLocks noChangeArrowheads="1"/>
          </p:cNvSpPr>
          <p:nvPr/>
        </p:nvSpPr>
        <p:spPr bwMode="auto">
          <a:xfrm>
            <a:off x="8317010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97" name="Freeform 157"/>
          <p:cNvSpPr>
            <a:spLocks/>
          </p:cNvSpPr>
          <p:nvPr/>
        </p:nvSpPr>
        <p:spPr bwMode="auto">
          <a:xfrm>
            <a:off x="9092074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98" name="Oval 158"/>
          <p:cNvSpPr>
            <a:spLocks noChangeArrowheads="1"/>
          </p:cNvSpPr>
          <p:nvPr/>
        </p:nvSpPr>
        <p:spPr bwMode="auto">
          <a:xfrm>
            <a:off x="9135719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99" name="Freeform 159"/>
          <p:cNvSpPr>
            <a:spLocks/>
          </p:cNvSpPr>
          <p:nvPr/>
        </p:nvSpPr>
        <p:spPr bwMode="auto">
          <a:xfrm>
            <a:off x="8886517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00" name="Oval 160"/>
          <p:cNvSpPr>
            <a:spLocks noChangeArrowheads="1"/>
          </p:cNvSpPr>
          <p:nvPr/>
        </p:nvSpPr>
        <p:spPr bwMode="auto">
          <a:xfrm>
            <a:off x="8931570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01" name="Group 400"/>
          <p:cNvGrpSpPr/>
          <p:nvPr/>
        </p:nvGrpSpPr>
        <p:grpSpPr>
          <a:xfrm>
            <a:off x="8475403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0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07" name="Freeform 153"/>
          <p:cNvSpPr>
            <a:spLocks/>
          </p:cNvSpPr>
          <p:nvPr/>
        </p:nvSpPr>
        <p:spPr bwMode="auto">
          <a:xfrm>
            <a:off x="9303639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08" name="Oval 154"/>
          <p:cNvSpPr>
            <a:spLocks noChangeArrowheads="1"/>
          </p:cNvSpPr>
          <p:nvPr/>
        </p:nvSpPr>
        <p:spPr bwMode="auto">
          <a:xfrm>
            <a:off x="9347284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09" name="Freeform 157"/>
          <p:cNvSpPr>
            <a:spLocks/>
          </p:cNvSpPr>
          <p:nvPr/>
        </p:nvSpPr>
        <p:spPr bwMode="auto">
          <a:xfrm>
            <a:off x="10122348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10" name="Oval 158"/>
          <p:cNvSpPr>
            <a:spLocks noChangeArrowheads="1"/>
          </p:cNvSpPr>
          <p:nvPr/>
        </p:nvSpPr>
        <p:spPr bwMode="auto">
          <a:xfrm>
            <a:off x="10165993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11" name="Freeform 159"/>
          <p:cNvSpPr>
            <a:spLocks/>
          </p:cNvSpPr>
          <p:nvPr/>
        </p:nvSpPr>
        <p:spPr bwMode="auto">
          <a:xfrm>
            <a:off x="9916791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12" name="Oval 160"/>
          <p:cNvSpPr>
            <a:spLocks noChangeArrowheads="1"/>
          </p:cNvSpPr>
          <p:nvPr/>
        </p:nvSpPr>
        <p:spPr bwMode="auto">
          <a:xfrm>
            <a:off x="9961844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13" name="Group 412"/>
          <p:cNvGrpSpPr/>
          <p:nvPr/>
        </p:nvGrpSpPr>
        <p:grpSpPr>
          <a:xfrm>
            <a:off x="9505677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1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19" name="Freeform 153"/>
          <p:cNvSpPr>
            <a:spLocks/>
          </p:cNvSpPr>
          <p:nvPr/>
        </p:nvSpPr>
        <p:spPr bwMode="auto">
          <a:xfrm>
            <a:off x="10333913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0" name="Oval 154"/>
          <p:cNvSpPr>
            <a:spLocks noChangeArrowheads="1"/>
          </p:cNvSpPr>
          <p:nvPr/>
        </p:nvSpPr>
        <p:spPr bwMode="auto">
          <a:xfrm>
            <a:off x="10377558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1" name="Freeform 157"/>
          <p:cNvSpPr>
            <a:spLocks/>
          </p:cNvSpPr>
          <p:nvPr/>
        </p:nvSpPr>
        <p:spPr bwMode="auto">
          <a:xfrm>
            <a:off x="11152622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2" name="Oval 158"/>
          <p:cNvSpPr>
            <a:spLocks noChangeArrowheads="1"/>
          </p:cNvSpPr>
          <p:nvPr/>
        </p:nvSpPr>
        <p:spPr bwMode="auto">
          <a:xfrm>
            <a:off x="11196267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3" name="Freeform 159"/>
          <p:cNvSpPr>
            <a:spLocks/>
          </p:cNvSpPr>
          <p:nvPr/>
        </p:nvSpPr>
        <p:spPr bwMode="auto">
          <a:xfrm>
            <a:off x="10947065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4" name="Oval 160"/>
          <p:cNvSpPr>
            <a:spLocks noChangeArrowheads="1"/>
          </p:cNvSpPr>
          <p:nvPr/>
        </p:nvSpPr>
        <p:spPr bwMode="auto">
          <a:xfrm>
            <a:off x="10992118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25" name="Group 424"/>
          <p:cNvGrpSpPr/>
          <p:nvPr/>
        </p:nvGrpSpPr>
        <p:grpSpPr>
          <a:xfrm>
            <a:off x="10535951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26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7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8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9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31" name="Freeform 153"/>
          <p:cNvSpPr>
            <a:spLocks/>
          </p:cNvSpPr>
          <p:nvPr/>
        </p:nvSpPr>
        <p:spPr bwMode="auto">
          <a:xfrm>
            <a:off x="11364191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32" name="Oval 154"/>
          <p:cNvSpPr>
            <a:spLocks noChangeArrowheads="1"/>
          </p:cNvSpPr>
          <p:nvPr/>
        </p:nvSpPr>
        <p:spPr bwMode="auto">
          <a:xfrm>
            <a:off x="11407836" y="144043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35" name="Freeform 159"/>
          <p:cNvSpPr>
            <a:spLocks/>
          </p:cNvSpPr>
          <p:nvPr/>
        </p:nvSpPr>
        <p:spPr bwMode="auto">
          <a:xfrm>
            <a:off x="11977343" y="154603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36" name="Oval 160"/>
          <p:cNvSpPr>
            <a:spLocks noChangeArrowheads="1"/>
          </p:cNvSpPr>
          <p:nvPr/>
        </p:nvSpPr>
        <p:spPr bwMode="auto">
          <a:xfrm>
            <a:off x="12022397" y="144043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37" name="Group 436"/>
          <p:cNvGrpSpPr/>
          <p:nvPr/>
        </p:nvGrpSpPr>
        <p:grpSpPr>
          <a:xfrm>
            <a:off x="11566229" y="144043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3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75" name="Freeform 153"/>
          <p:cNvSpPr>
            <a:spLocks/>
          </p:cNvSpPr>
          <p:nvPr/>
        </p:nvSpPr>
        <p:spPr bwMode="auto">
          <a:xfrm>
            <a:off x="31173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76" name="Oval 154"/>
          <p:cNvSpPr>
            <a:spLocks noChangeArrowheads="1"/>
          </p:cNvSpPr>
          <p:nvPr/>
        </p:nvSpPr>
        <p:spPr bwMode="auto">
          <a:xfrm>
            <a:off x="74818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77" name="Freeform 157"/>
          <p:cNvSpPr>
            <a:spLocks/>
          </p:cNvSpPr>
          <p:nvPr/>
        </p:nvSpPr>
        <p:spPr bwMode="auto">
          <a:xfrm>
            <a:off x="849882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78" name="Oval 158"/>
          <p:cNvSpPr>
            <a:spLocks noChangeArrowheads="1"/>
          </p:cNvSpPr>
          <p:nvPr/>
        </p:nvSpPr>
        <p:spPr bwMode="auto">
          <a:xfrm>
            <a:off x="893527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79" name="Freeform 159"/>
          <p:cNvSpPr>
            <a:spLocks/>
          </p:cNvSpPr>
          <p:nvPr/>
        </p:nvSpPr>
        <p:spPr bwMode="auto">
          <a:xfrm>
            <a:off x="644325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80" name="Oval 160"/>
          <p:cNvSpPr>
            <a:spLocks noChangeArrowheads="1"/>
          </p:cNvSpPr>
          <p:nvPr/>
        </p:nvSpPr>
        <p:spPr bwMode="auto">
          <a:xfrm>
            <a:off x="689378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81" name="Group 580"/>
          <p:cNvGrpSpPr/>
          <p:nvPr/>
        </p:nvGrpSpPr>
        <p:grpSpPr>
          <a:xfrm>
            <a:off x="233211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8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64" name="Freeform 153"/>
          <p:cNvSpPr>
            <a:spLocks/>
          </p:cNvSpPr>
          <p:nvPr/>
        </p:nvSpPr>
        <p:spPr bwMode="auto">
          <a:xfrm>
            <a:off x="1061447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65" name="Oval 154"/>
          <p:cNvSpPr>
            <a:spLocks noChangeArrowheads="1"/>
          </p:cNvSpPr>
          <p:nvPr/>
        </p:nvSpPr>
        <p:spPr bwMode="auto">
          <a:xfrm>
            <a:off x="1105092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66" name="Freeform 157"/>
          <p:cNvSpPr>
            <a:spLocks/>
          </p:cNvSpPr>
          <p:nvPr/>
        </p:nvSpPr>
        <p:spPr bwMode="auto">
          <a:xfrm>
            <a:off x="1880156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67" name="Oval 158"/>
          <p:cNvSpPr>
            <a:spLocks noChangeArrowheads="1"/>
          </p:cNvSpPr>
          <p:nvPr/>
        </p:nvSpPr>
        <p:spPr bwMode="auto">
          <a:xfrm>
            <a:off x="1923801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68" name="Freeform 159"/>
          <p:cNvSpPr>
            <a:spLocks/>
          </p:cNvSpPr>
          <p:nvPr/>
        </p:nvSpPr>
        <p:spPr bwMode="auto">
          <a:xfrm>
            <a:off x="1674599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69" name="Oval 160"/>
          <p:cNvSpPr>
            <a:spLocks noChangeArrowheads="1"/>
          </p:cNvSpPr>
          <p:nvPr/>
        </p:nvSpPr>
        <p:spPr bwMode="auto">
          <a:xfrm>
            <a:off x="1719652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70" name="Group 569"/>
          <p:cNvGrpSpPr/>
          <p:nvPr/>
        </p:nvGrpSpPr>
        <p:grpSpPr>
          <a:xfrm>
            <a:off x="1263485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71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2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3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4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3" name="Freeform 153"/>
          <p:cNvSpPr>
            <a:spLocks/>
          </p:cNvSpPr>
          <p:nvPr/>
        </p:nvSpPr>
        <p:spPr bwMode="auto">
          <a:xfrm>
            <a:off x="2091721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4" name="Oval 154"/>
          <p:cNvSpPr>
            <a:spLocks noChangeArrowheads="1"/>
          </p:cNvSpPr>
          <p:nvPr/>
        </p:nvSpPr>
        <p:spPr bwMode="auto">
          <a:xfrm>
            <a:off x="2135366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5" name="Freeform 157"/>
          <p:cNvSpPr>
            <a:spLocks/>
          </p:cNvSpPr>
          <p:nvPr/>
        </p:nvSpPr>
        <p:spPr bwMode="auto">
          <a:xfrm>
            <a:off x="2910430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6" name="Oval 158"/>
          <p:cNvSpPr>
            <a:spLocks noChangeArrowheads="1"/>
          </p:cNvSpPr>
          <p:nvPr/>
        </p:nvSpPr>
        <p:spPr bwMode="auto">
          <a:xfrm>
            <a:off x="2954075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7" name="Freeform 159"/>
          <p:cNvSpPr>
            <a:spLocks/>
          </p:cNvSpPr>
          <p:nvPr/>
        </p:nvSpPr>
        <p:spPr bwMode="auto">
          <a:xfrm>
            <a:off x="2704873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8" name="Oval 160"/>
          <p:cNvSpPr>
            <a:spLocks noChangeArrowheads="1"/>
          </p:cNvSpPr>
          <p:nvPr/>
        </p:nvSpPr>
        <p:spPr bwMode="auto">
          <a:xfrm>
            <a:off x="2749926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9" name="Group 558"/>
          <p:cNvGrpSpPr/>
          <p:nvPr/>
        </p:nvGrpSpPr>
        <p:grpSpPr>
          <a:xfrm>
            <a:off x="2293759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6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42" name="Freeform 153"/>
          <p:cNvSpPr>
            <a:spLocks/>
          </p:cNvSpPr>
          <p:nvPr/>
        </p:nvSpPr>
        <p:spPr bwMode="auto">
          <a:xfrm>
            <a:off x="3121995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3" name="Oval 154"/>
          <p:cNvSpPr>
            <a:spLocks noChangeArrowheads="1"/>
          </p:cNvSpPr>
          <p:nvPr/>
        </p:nvSpPr>
        <p:spPr bwMode="auto">
          <a:xfrm>
            <a:off x="3165640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4" name="Freeform 157"/>
          <p:cNvSpPr>
            <a:spLocks/>
          </p:cNvSpPr>
          <p:nvPr/>
        </p:nvSpPr>
        <p:spPr bwMode="auto">
          <a:xfrm>
            <a:off x="3940704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5" name="Oval 158"/>
          <p:cNvSpPr>
            <a:spLocks noChangeArrowheads="1"/>
          </p:cNvSpPr>
          <p:nvPr/>
        </p:nvSpPr>
        <p:spPr bwMode="auto">
          <a:xfrm>
            <a:off x="3984349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6" name="Freeform 159"/>
          <p:cNvSpPr>
            <a:spLocks/>
          </p:cNvSpPr>
          <p:nvPr/>
        </p:nvSpPr>
        <p:spPr bwMode="auto">
          <a:xfrm>
            <a:off x="3735147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7" name="Oval 160"/>
          <p:cNvSpPr>
            <a:spLocks noChangeArrowheads="1"/>
          </p:cNvSpPr>
          <p:nvPr/>
        </p:nvSpPr>
        <p:spPr bwMode="auto">
          <a:xfrm>
            <a:off x="3780200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48" name="Group 547"/>
          <p:cNvGrpSpPr/>
          <p:nvPr/>
        </p:nvGrpSpPr>
        <p:grpSpPr>
          <a:xfrm>
            <a:off x="3324033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49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0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1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2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31" name="Freeform 153"/>
          <p:cNvSpPr>
            <a:spLocks/>
          </p:cNvSpPr>
          <p:nvPr/>
        </p:nvSpPr>
        <p:spPr bwMode="auto">
          <a:xfrm>
            <a:off x="4152269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2" name="Oval 154"/>
          <p:cNvSpPr>
            <a:spLocks noChangeArrowheads="1"/>
          </p:cNvSpPr>
          <p:nvPr/>
        </p:nvSpPr>
        <p:spPr bwMode="auto">
          <a:xfrm>
            <a:off x="4195914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3" name="Freeform 157"/>
          <p:cNvSpPr>
            <a:spLocks/>
          </p:cNvSpPr>
          <p:nvPr/>
        </p:nvSpPr>
        <p:spPr bwMode="auto">
          <a:xfrm>
            <a:off x="4970978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4" name="Oval 158"/>
          <p:cNvSpPr>
            <a:spLocks noChangeArrowheads="1"/>
          </p:cNvSpPr>
          <p:nvPr/>
        </p:nvSpPr>
        <p:spPr bwMode="auto">
          <a:xfrm>
            <a:off x="5014623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5" name="Freeform 159"/>
          <p:cNvSpPr>
            <a:spLocks/>
          </p:cNvSpPr>
          <p:nvPr/>
        </p:nvSpPr>
        <p:spPr bwMode="auto">
          <a:xfrm>
            <a:off x="4765421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6" name="Oval 160"/>
          <p:cNvSpPr>
            <a:spLocks noChangeArrowheads="1"/>
          </p:cNvSpPr>
          <p:nvPr/>
        </p:nvSpPr>
        <p:spPr bwMode="auto">
          <a:xfrm>
            <a:off x="4810474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37" name="Group 536"/>
          <p:cNvGrpSpPr/>
          <p:nvPr/>
        </p:nvGrpSpPr>
        <p:grpSpPr>
          <a:xfrm>
            <a:off x="4354307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3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20" name="Freeform 153"/>
          <p:cNvSpPr>
            <a:spLocks/>
          </p:cNvSpPr>
          <p:nvPr/>
        </p:nvSpPr>
        <p:spPr bwMode="auto">
          <a:xfrm>
            <a:off x="5182543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1" name="Oval 154"/>
          <p:cNvSpPr>
            <a:spLocks noChangeArrowheads="1"/>
          </p:cNvSpPr>
          <p:nvPr/>
        </p:nvSpPr>
        <p:spPr bwMode="auto">
          <a:xfrm>
            <a:off x="5226188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2" name="Freeform 157"/>
          <p:cNvSpPr>
            <a:spLocks/>
          </p:cNvSpPr>
          <p:nvPr/>
        </p:nvSpPr>
        <p:spPr bwMode="auto">
          <a:xfrm>
            <a:off x="6001252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3" name="Oval 158"/>
          <p:cNvSpPr>
            <a:spLocks noChangeArrowheads="1"/>
          </p:cNvSpPr>
          <p:nvPr/>
        </p:nvSpPr>
        <p:spPr bwMode="auto">
          <a:xfrm>
            <a:off x="6044897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4" name="Freeform 159"/>
          <p:cNvSpPr>
            <a:spLocks/>
          </p:cNvSpPr>
          <p:nvPr/>
        </p:nvSpPr>
        <p:spPr bwMode="auto">
          <a:xfrm>
            <a:off x="5795695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5" name="Oval 160"/>
          <p:cNvSpPr>
            <a:spLocks noChangeArrowheads="1"/>
          </p:cNvSpPr>
          <p:nvPr/>
        </p:nvSpPr>
        <p:spPr bwMode="auto">
          <a:xfrm>
            <a:off x="5840748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26" name="Group 525"/>
          <p:cNvGrpSpPr/>
          <p:nvPr/>
        </p:nvGrpSpPr>
        <p:grpSpPr>
          <a:xfrm>
            <a:off x="5384581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27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8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9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0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9" name="Freeform 153"/>
          <p:cNvSpPr>
            <a:spLocks/>
          </p:cNvSpPr>
          <p:nvPr/>
        </p:nvSpPr>
        <p:spPr bwMode="auto">
          <a:xfrm>
            <a:off x="6212817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0" name="Oval 154"/>
          <p:cNvSpPr>
            <a:spLocks noChangeArrowheads="1"/>
          </p:cNvSpPr>
          <p:nvPr/>
        </p:nvSpPr>
        <p:spPr bwMode="auto">
          <a:xfrm>
            <a:off x="6256462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1" name="Freeform 157"/>
          <p:cNvSpPr>
            <a:spLocks/>
          </p:cNvSpPr>
          <p:nvPr/>
        </p:nvSpPr>
        <p:spPr bwMode="auto">
          <a:xfrm>
            <a:off x="7031526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2" name="Oval 158"/>
          <p:cNvSpPr>
            <a:spLocks noChangeArrowheads="1"/>
          </p:cNvSpPr>
          <p:nvPr/>
        </p:nvSpPr>
        <p:spPr bwMode="auto">
          <a:xfrm>
            <a:off x="7075171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3" name="Freeform 159"/>
          <p:cNvSpPr>
            <a:spLocks/>
          </p:cNvSpPr>
          <p:nvPr/>
        </p:nvSpPr>
        <p:spPr bwMode="auto">
          <a:xfrm>
            <a:off x="6825969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4" name="Oval 160"/>
          <p:cNvSpPr>
            <a:spLocks noChangeArrowheads="1"/>
          </p:cNvSpPr>
          <p:nvPr/>
        </p:nvSpPr>
        <p:spPr bwMode="auto">
          <a:xfrm>
            <a:off x="6871022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15" name="Group 514"/>
          <p:cNvGrpSpPr/>
          <p:nvPr/>
        </p:nvGrpSpPr>
        <p:grpSpPr>
          <a:xfrm>
            <a:off x="6414855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16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7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8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9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98" name="Freeform 153"/>
          <p:cNvSpPr>
            <a:spLocks/>
          </p:cNvSpPr>
          <p:nvPr/>
        </p:nvSpPr>
        <p:spPr bwMode="auto">
          <a:xfrm>
            <a:off x="7243091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9" name="Oval 154"/>
          <p:cNvSpPr>
            <a:spLocks noChangeArrowheads="1"/>
          </p:cNvSpPr>
          <p:nvPr/>
        </p:nvSpPr>
        <p:spPr bwMode="auto">
          <a:xfrm>
            <a:off x="7286736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0" name="Freeform 157"/>
          <p:cNvSpPr>
            <a:spLocks/>
          </p:cNvSpPr>
          <p:nvPr/>
        </p:nvSpPr>
        <p:spPr bwMode="auto">
          <a:xfrm>
            <a:off x="8061800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1" name="Oval 158"/>
          <p:cNvSpPr>
            <a:spLocks noChangeArrowheads="1"/>
          </p:cNvSpPr>
          <p:nvPr/>
        </p:nvSpPr>
        <p:spPr bwMode="auto">
          <a:xfrm>
            <a:off x="8105445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2" name="Freeform 159"/>
          <p:cNvSpPr>
            <a:spLocks/>
          </p:cNvSpPr>
          <p:nvPr/>
        </p:nvSpPr>
        <p:spPr bwMode="auto">
          <a:xfrm>
            <a:off x="7856243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3" name="Oval 160"/>
          <p:cNvSpPr>
            <a:spLocks noChangeArrowheads="1"/>
          </p:cNvSpPr>
          <p:nvPr/>
        </p:nvSpPr>
        <p:spPr bwMode="auto">
          <a:xfrm>
            <a:off x="7901296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04" name="Group 503"/>
          <p:cNvGrpSpPr/>
          <p:nvPr/>
        </p:nvGrpSpPr>
        <p:grpSpPr>
          <a:xfrm>
            <a:off x="7445129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505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6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7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8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87" name="Freeform 153"/>
          <p:cNvSpPr>
            <a:spLocks/>
          </p:cNvSpPr>
          <p:nvPr/>
        </p:nvSpPr>
        <p:spPr bwMode="auto">
          <a:xfrm>
            <a:off x="8273365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8" name="Oval 154"/>
          <p:cNvSpPr>
            <a:spLocks noChangeArrowheads="1"/>
          </p:cNvSpPr>
          <p:nvPr/>
        </p:nvSpPr>
        <p:spPr bwMode="auto">
          <a:xfrm>
            <a:off x="8317010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9" name="Freeform 157"/>
          <p:cNvSpPr>
            <a:spLocks/>
          </p:cNvSpPr>
          <p:nvPr/>
        </p:nvSpPr>
        <p:spPr bwMode="auto">
          <a:xfrm>
            <a:off x="9092074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0" name="Oval 158"/>
          <p:cNvSpPr>
            <a:spLocks noChangeArrowheads="1"/>
          </p:cNvSpPr>
          <p:nvPr/>
        </p:nvSpPr>
        <p:spPr bwMode="auto">
          <a:xfrm>
            <a:off x="9135719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1" name="Freeform 159"/>
          <p:cNvSpPr>
            <a:spLocks/>
          </p:cNvSpPr>
          <p:nvPr/>
        </p:nvSpPr>
        <p:spPr bwMode="auto">
          <a:xfrm>
            <a:off x="8886517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2" name="Oval 160"/>
          <p:cNvSpPr>
            <a:spLocks noChangeArrowheads="1"/>
          </p:cNvSpPr>
          <p:nvPr/>
        </p:nvSpPr>
        <p:spPr bwMode="auto">
          <a:xfrm>
            <a:off x="8931570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93" name="Group 492"/>
          <p:cNvGrpSpPr/>
          <p:nvPr/>
        </p:nvGrpSpPr>
        <p:grpSpPr>
          <a:xfrm>
            <a:off x="8475403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9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76" name="Freeform 153"/>
          <p:cNvSpPr>
            <a:spLocks/>
          </p:cNvSpPr>
          <p:nvPr/>
        </p:nvSpPr>
        <p:spPr bwMode="auto">
          <a:xfrm>
            <a:off x="9303639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7" name="Oval 154"/>
          <p:cNvSpPr>
            <a:spLocks noChangeArrowheads="1"/>
          </p:cNvSpPr>
          <p:nvPr/>
        </p:nvSpPr>
        <p:spPr bwMode="auto">
          <a:xfrm>
            <a:off x="9347284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8" name="Freeform 157"/>
          <p:cNvSpPr>
            <a:spLocks/>
          </p:cNvSpPr>
          <p:nvPr/>
        </p:nvSpPr>
        <p:spPr bwMode="auto">
          <a:xfrm>
            <a:off x="10122348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9" name="Oval 158"/>
          <p:cNvSpPr>
            <a:spLocks noChangeArrowheads="1"/>
          </p:cNvSpPr>
          <p:nvPr/>
        </p:nvSpPr>
        <p:spPr bwMode="auto">
          <a:xfrm>
            <a:off x="10165993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0" name="Freeform 159"/>
          <p:cNvSpPr>
            <a:spLocks/>
          </p:cNvSpPr>
          <p:nvPr/>
        </p:nvSpPr>
        <p:spPr bwMode="auto">
          <a:xfrm>
            <a:off x="9916791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1" name="Oval 160"/>
          <p:cNvSpPr>
            <a:spLocks noChangeArrowheads="1"/>
          </p:cNvSpPr>
          <p:nvPr/>
        </p:nvSpPr>
        <p:spPr bwMode="auto">
          <a:xfrm>
            <a:off x="9961844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82" name="Group 481"/>
          <p:cNvGrpSpPr/>
          <p:nvPr/>
        </p:nvGrpSpPr>
        <p:grpSpPr>
          <a:xfrm>
            <a:off x="9505677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83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4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5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6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65" name="Freeform 153"/>
          <p:cNvSpPr>
            <a:spLocks/>
          </p:cNvSpPr>
          <p:nvPr/>
        </p:nvSpPr>
        <p:spPr bwMode="auto">
          <a:xfrm>
            <a:off x="10333913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6" name="Oval 154"/>
          <p:cNvSpPr>
            <a:spLocks noChangeArrowheads="1"/>
          </p:cNvSpPr>
          <p:nvPr/>
        </p:nvSpPr>
        <p:spPr bwMode="auto">
          <a:xfrm>
            <a:off x="10377558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7" name="Freeform 157"/>
          <p:cNvSpPr>
            <a:spLocks/>
          </p:cNvSpPr>
          <p:nvPr/>
        </p:nvSpPr>
        <p:spPr bwMode="auto">
          <a:xfrm>
            <a:off x="11152622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8" name="Oval 158"/>
          <p:cNvSpPr>
            <a:spLocks noChangeArrowheads="1"/>
          </p:cNvSpPr>
          <p:nvPr/>
        </p:nvSpPr>
        <p:spPr bwMode="auto">
          <a:xfrm>
            <a:off x="11196267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9" name="Freeform 159"/>
          <p:cNvSpPr>
            <a:spLocks/>
          </p:cNvSpPr>
          <p:nvPr/>
        </p:nvSpPr>
        <p:spPr bwMode="auto">
          <a:xfrm>
            <a:off x="10947065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0" name="Oval 160"/>
          <p:cNvSpPr>
            <a:spLocks noChangeArrowheads="1"/>
          </p:cNvSpPr>
          <p:nvPr/>
        </p:nvSpPr>
        <p:spPr bwMode="auto">
          <a:xfrm>
            <a:off x="10992118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71" name="Group 470"/>
          <p:cNvGrpSpPr/>
          <p:nvPr/>
        </p:nvGrpSpPr>
        <p:grpSpPr>
          <a:xfrm>
            <a:off x="10535951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7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56" name="Freeform 153"/>
          <p:cNvSpPr>
            <a:spLocks/>
          </p:cNvSpPr>
          <p:nvPr/>
        </p:nvSpPr>
        <p:spPr bwMode="auto">
          <a:xfrm>
            <a:off x="11364191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7" name="Oval 154"/>
          <p:cNvSpPr>
            <a:spLocks noChangeArrowheads="1"/>
          </p:cNvSpPr>
          <p:nvPr/>
        </p:nvSpPr>
        <p:spPr bwMode="auto">
          <a:xfrm>
            <a:off x="11407836" y="1939634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8" name="Freeform 159"/>
          <p:cNvSpPr>
            <a:spLocks/>
          </p:cNvSpPr>
          <p:nvPr/>
        </p:nvSpPr>
        <p:spPr bwMode="auto">
          <a:xfrm>
            <a:off x="11977343" y="2045229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9" name="Oval 160"/>
          <p:cNvSpPr>
            <a:spLocks noChangeArrowheads="1"/>
          </p:cNvSpPr>
          <p:nvPr/>
        </p:nvSpPr>
        <p:spPr bwMode="auto">
          <a:xfrm>
            <a:off x="12022397" y="1939634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60" name="Group 459"/>
          <p:cNvGrpSpPr/>
          <p:nvPr/>
        </p:nvGrpSpPr>
        <p:grpSpPr>
          <a:xfrm>
            <a:off x="11566229" y="1939634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461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2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3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4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18" name="Freeform 153"/>
          <p:cNvSpPr>
            <a:spLocks/>
          </p:cNvSpPr>
          <p:nvPr/>
        </p:nvSpPr>
        <p:spPr bwMode="auto">
          <a:xfrm>
            <a:off x="31173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19" name="Oval 154"/>
          <p:cNvSpPr>
            <a:spLocks noChangeArrowheads="1"/>
          </p:cNvSpPr>
          <p:nvPr/>
        </p:nvSpPr>
        <p:spPr bwMode="auto">
          <a:xfrm>
            <a:off x="74818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20" name="Freeform 157"/>
          <p:cNvSpPr>
            <a:spLocks/>
          </p:cNvSpPr>
          <p:nvPr/>
        </p:nvSpPr>
        <p:spPr bwMode="auto">
          <a:xfrm>
            <a:off x="849882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21" name="Oval 158"/>
          <p:cNvSpPr>
            <a:spLocks noChangeArrowheads="1"/>
          </p:cNvSpPr>
          <p:nvPr/>
        </p:nvSpPr>
        <p:spPr bwMode="auto">
          <a:xfrm>
            <a:off x="893527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22" name="Freeform 159"/>
          <p:cNvSpPr>
            <a:spLocks/>
          </p:cNvSpPr>
          <p:nvPr/>
        </p:nvSpPr>
        <p:spPr bwMode="auto">
          <a:xfrm>
            <a:off x="644325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23" name="Oval 160"/>
          <p:cNvSpPr>
            <a:spLocks noChangeArrowheads="1"/>
          </p:cNvSpPr>
          <p:nvPr/>
        </p:nvSpPr>
        <p:spPr bwMode="auto">
          <a:xfrm>
            <a:off x="689378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24" name="Group 723"/>
          <p:cNvGrpSpPr/>
          <p:nvPr/>
        </p:nvGrpSpPr>
        <p:grpSpPr>
          <a:xfrm>
            <a:off x="233211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25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6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7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8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07" name="Freeform 153"/>
          <p:cNvSpPr>
            <a:spLocks/>
          </p:cNvSpPr>
          <p:nvPr/>
        </p:nvSpPr>
        <p:spPr bwMode="auto">
          <a:xfrm>
            <a:off x="1061447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8" name="Oval 154"/>
          <p:cNvSpPr>
            <a:spLocks noChangeArrowheads="1"/>
          </p:cNvSpPr>
          <p:nvPr/>
        </p:nvSpPr>
        <p:spPr bwMode="auto">
          <a:xfrm>
            <a:off x="1105092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9" name="Freeform 157"/>
          <p:cNvSpPr>
            <a:spLocks/>
          </p:cNvSpPr>
          <p:nvPr/>
        </p:nvSpPr>
        <p:spPr bwMode="auto">
          <a:xfrm>
            <a:off x="1880156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10" name="Oval 158"/>
          <p:cNvSpPr>
            <a:spLocks noChangeArrowheads="1"/>
          </p:cNvSpPr>
          <p:nvPr/>
        </p:nvSpPr>
        <p:spPr bwMode="auto">
          <a:xfrm>
            <a:off x="1923801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11" name="Freeform 159"/>
          <p:cNvSpPr>
            <a:spLocks/>
          </p:cNvSpPr>
          <p:nvPr/>
        </p:nvSpPr>
        <p:spPr bwMode="auto">
          <a:xfrm>
            <a:off x="1674599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12" name="Oval 160"/>
          <p:cNvSpPr>
            <a:spLocks noChangeArrowheads="1"/>
          </p:cNvSpPr>
          <p:nvPr/>
        </p:nvSpPr>
        <p:spPr bwMode="auto">
          <a:xfrm>
            <a:off x="1719652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13" name="Group 712"/>
          <p:cNvGrpSpPr/>
          <p:nvPr/>
        </p:nvGrpSpPr>
        <p:grpSpPr>
          <a:xfrm>
            <a:off x="1263485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1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6" name="Freeform 153"/>
          <p:cNvSpPr>
            <a:spLocks/>
          </p:cNvSpPr>
          <p:nvPr/>
        </p:nvSpPr>
        <p:spPr bwMode="auto">
          <a:xfrm>
            <a:off x="2091721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97" name="Oval 154"/>
          <p:cNvSpPr>
            <a:spLocks noChangeArrowheads="1"/>
          </p:cNvSpPr>
          <p:nvPr/>
        </p:nvSpPr>
        <p:spPr bwMode="auto">
          <a:xfrm>
            <a:off x="2135366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98" name="Freeform 157"/>
          <p:cNvSpPr>
            <a:spLocks/>
          </p:cNvSpPr>
          <p:nvPr/>
        </p:nvSpPr>
        <p:spPr bwMode="auto">
          <a:xfrm>
            <a:off x="2910430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99" name="Oval 158"/>
          <p:cNvSpPr>
            <a:spLocks noChangeArrowheads="1"/>
          </p:cNvSpPr>
          <p:nvPr/>
        </p:nvSpPr>
        <p:spPr bwMode="auto">
          <a:xfrm>
            <a:off x="2954075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0" name="Freeform 159"/>
          <p:cNvSpPr>
            <a:spLocks/>
          </p:cNvSpPr>
          <p:nvPr/>
        </p:nvSpPr>
        <p:spPr bwMode="auto">
          <a:xfrm>
            <a:off x="2704873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1" name="Oval 160"/>
          <p:cNvSpPr>
            <a:spLocks noChangeArrowheads="1"/>
          </p:cNvSpPr>
          <p:nvPr/>
        </p:nvSpPr>
        <p:spPr bwMode="auto">
          <a:xfrm>
            <a:off x="2749926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02" name="Group 701"/>
          <p:cNvGrpSpPr/>
          <p:nvPr/>
        </p:nvGrpSpPr>
        <p:grpSpPr>
          <a:xfrm>
            <a:off x="2293759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03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4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5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6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85" name="Freeform 153"/>
          <p:cNvSpPr>
            <a:spLocks/>
          </p:cNvSpPr>
          <p:nvPr/>
        </p:nvSpPr>
        <p:spPr bwMode="auto">
          <a:xfrm>
            <a:off x="3121995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6" name="Oval 154"/>
          <p:cNvSpPr>
            <a:spLocks noChangeArrowheads="1"/>
          </p:cNvSpPr>
          <p:nvPr/>
        </p:nvSpPr>
        <p:spPr bwMode="auto">
          <a:xfrm>
            <a:off x="3165640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7" name="Freeform 157"/>
          <p:cNvSpPr>
            <a:spLocks/>
          </p:cNvSpPr>
          <p:nvPr/>
        </p:nvSpPr>
        <p:spPr bwMode="auto">
          <a:xfrm>
            <a:off x="3940704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8" name="Oval 158"/>
          <p:cNvSpPr>
            <a:spLocks noChangeArrowheads="1"/>
          </p:cNvSpPr>
          <p:nvPr/>
        </p:nvSpPr>
        <p:spPr bwMode="auto">
          <a:xfrm>
            <a:off x="3984349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9" name="Freeform 159"/>
          <p:cNvSpPr>
            <a:spLocks/>
          </p:cNvSpPr>
          <p:nvPr/>
        </p:nvSpPr>
        <p:spPr bwMode="auto">
          <a:xfrm>
            <a:off x="3735147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90" name="Oval 160"/>
          <p:cNvSpPr>
            <a:spLocks noChangeArrowheads="1"/>
          </p:cNvSpPr>
          <p:nvPr/>
        </p:nvSpPr>
        <p:spPr bwMode="auto">
          <a:xfrm>
            <a:off x="3780200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91" name="Group 690"/>
          <p:cNvGrpSpPr/>
          <p:nvPr/>
        </p:nvGrpSpPr>
        <p:grpSpPr>
          <a:xfrm>
            <a:off x="3324033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9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74" name="Freeform 153"/>
          <p:cNvSpPr>
            <a:spLocks/>
          </p:cNvSpPr>
          <p:nvPr/>
        </p:nvSpPr>
        <p:spPr bwMode="auto">
          <a:xfrm>
            <a:off x="4152269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5" name="Oval 154"/>
          <p:cNvSpPr>
            <a:spLocks noChangeArrowheads="1"/>
          </p:cNvSpPr>
          <p:nvPr/>
        </p:nvSpPr>
        <p:spPr bwMode="auto">
          <a:xfrm>
            <a:off x="4195914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6" name="Freeform 157"/>
          <p:cNvSpPr>
            <a:spLocks/>
          </p:cNvSpPr>
          <p:nvPr/>
        </p:nvSpPr>
        <p:spPr bwMode="auto">
          <a:xfrm>
            <a:off x="4970978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7" name="Oval 158"/>
          <p:cNvSpPr>
            <a:spLocks noChangeArrowheads="1"/>
          </p:cNvSpPr>
          <p:nvPr/>
        </p:nvSpPr>
        <p:spPr bwMode="auto">
          <a:xfrm>
            <a:off x="5014623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8" name="Freeform 159"/>
          <p:cNvSpPr>
            <a:spLocks/>
          </p:cNvSpPr>
          <p:nvPr/>
        </p:nvSpPr>
        <p:spPr bwMode="auto">
          <a:xfrm>
            <a:off x="4765421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79" name="Oval 160"/>
          <p:cNvSpPr>
            <a:spLocks noChangeArrowheads="1"/>
          </p:cNvSpPr>
          <p:nvPr/>
        </p:nvSpPr>
        <p:spPr bwMode="auto">
          <a:xfrm>
            <a:off x="4810474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80" name="Group 679"/>
          <p:cNvGrpSpPr/>
          <p:nvPr/>
        </p:nvGrpSpPr>
        <p:grpSpPr>
          <a:xfrm>
            <a:off x="4354307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81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2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3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4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63" name="Freeform 153"/>
          <p:cNvSpPr>
            <a:spLocks/>
          </p:cNvSpPr>
          <p:nvPr/>
        </p:nvSpPr>
        <p:spPr bwMode="auto">
          <a:xfrm>
            <a:off x="5182543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4" name="Oval 154"/>
          <p:cNvSpPr>
            <a:spLocks noChangeArrowheads="1"/>
          </p:cNvSpPr>
          <p:nvPr/>
        </p:nvSpPr>
        <p:spPr bwMode="auto">
          <a:xfrm>
            <a:off x="5226188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5" name="Freeform 157"/>
          <p:cNvSpPr>
            <a:spLocks/>
          </p:cNvSpPr>
          <p:nvPr/>
        </p:nvSpPr>
        <p:spPr bwMode="auto">
          <a:xfrm>
            <a:off x="6001252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6" name="Oval 158"/>
          <p:cNvSpPr>
            <a:spLocks noChangeArrowheads="1"/>
          </p:cNvSpPr>
          <p:nvPr/>
        </p:nvSpPr>
        <p:spPr bwMode="auto">
          <a:xfrm>
            <a:off x="6044897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7" name="Freeform 159"/>
          <p:cNvSpPr>
            <a:spLocks/>
          </p:cNvSpPr>
          <p:nvPr/>
        </p:nvSpPr>
        <p:spPr bwMode="auto">
          <a:xfrm>
            <a:off x="5795695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8" name="Oval 160"/>
          <p:cNvSpPr>
            <a:spLocks noChangeArrowheads="1"/>
          </p:cNvSpPr>
          <p:nvPr/>
        </p:nvSpPr>
        <p:spPr bwMode="auto">
          <a:xfrm>
            <a:off x="5840748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69" name="Group 668"/>
          <p:cNvGrpSpPr/>
          <p:nvPr/>
        </p:nvGrpSpPr>
        <p:grpSpPr>
          <a:xfrm>
            <a:off x="5384581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7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2" name="Freeform 153"/>
          <p:cNvSpPr>
            <a:spLocks/>
          </p:cNvSpPr>
          <p:nvPr/>
        </p:nvSpPr>
        <p:spPr bwMode="auto">
          <a:xfrm>
            <a:off x="6212817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3" name="Oval 154"/>
          <p:cNvSpPr>
            <a:spLocks noChangeArrowheads="1"/>
          </p:cNvSpPr>
          <p:nvPr/>
        </p:nvSpPr>
        <p:spPr bwMode="auto">
          <a:xfrm>
            <a:off x="6256462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4" name="Freeform 157"/>
          <p:cNvSpPr>
            <a:spLocks/>
          </p:cNvSpPr>
          <p:nvPr/>
        </p:nvSpPr>
        <p:spPr bwMode="auto">
          <a:xfrm>
            <a:off x="7031526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5" name="Oval 158"/>
          <p:cNvSpPr>
            <a:spLocks noChangeArrowheads="1"/>
          </p:cNvSpPr>
          <p:nvPr/>
        </p:nvSpPr>
        <p:spPr bwMode="auto">
          <a:xfrm>
            <a:off x="7075171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6" name="Freeform 159"/>
          <p:cNvSpPr>
            <a:spLocks/>
          </p:cNvSpPr>
          <p:nvPr/>
        </p:nvSpPr>
        <p:spPr bwMode="auto">
          <a:xfrm>
            <a:off x="6825969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7" name="Oval 160"/>
          <p:cNvSpPr>
            <a:spLocks noChangeArrowheads="1"/>
          </p:cNvSpPr>
          <p:nvPr/>
        </p:nvSpPr>
        <p:spPr bwMode="auto">
          <a:xfrm>
            <a:off x="6871022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58" name="Group 657"/>
          <p:cNvGrpSpPr/>
          <p:nvPr/>
        </p:nvGrpSpPr>
        <p:grpSpPr>
          <a:xfrm>
            <a:off x="6414855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59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0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1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2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41" name="Freeform 153"/>
          <p:cNvSpPr>
            <a:spLocks/>
          </p:cNvSpPr>
          <p:nvPr/>
        </p:nvSpPr>
        <p:spPr bwMode="auto">
          <a:xfrm>
            <a:off x="7243091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2" name="Oval 154"/>
          <p:cNvSpPr>
            <a:spLocks noChangeArrowheads="1"/>
          </p:cNvSpPr>
          <p:nvPr/>
        </p:nvSpPr>
        <p:spPr bwMode="auto">
          <a:xfrm>
            <a:off x="7286736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3" name="Freeform 157"/>
          <p:cNvSpPr>
            <a:spLocks/>
          </p:cNvSpPr>
          <p:nvPr/>
        </p:nvSpPr>
        <p:spPr bwMode="auto">
          <a:xfrm>
            <a:off x="8061800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4" name="Oval 158"/>
          <p:cNvSpPr>
            <a:spLocks noChangeArrowheads="1"/>
          </p:cNvSpPr>
          <p:nvPr/>
        </p:nvSpPr>
        <p:spPr bwMode="auto">
          <a:xfrm>
            <a:off x="8105445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5" name="Freeform 159"/>
          <p:cNvSpPr>
            <a:spLocks/>
          </p:cNvSpPr>
          <p:nvPr/>
        </p:nvSpPr>
        <p:spPr bwMode="auto">
          <a:xfrm>
            <a:off x="7856243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6" name="Oval 160"/>
          <p:cNvSpPr>
            <a:spLocks noChangeArrowheads="1"/>
          </p:cNvSpPr>
          <p:nvPr/>
        </p:nvSpPr>
        <p:spPr bwMode="auto">
          <a:xfrm>
            <a:off x="7901296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47" name="Group 646"/>
          <p:cNvGrpSpPr/>
          <p:nvPr/>
        </p:nvGrpSpPr>
        <p:grpSpPr>
          <a:xfrm>
            <a:off x="7445129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4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30" name="Freeform 153"/>
          <p:cNvSpPr>
            <a:spLocks/>
          </p:cNvSpPr>
          <p:nvPr/>
        </p:nvSpPr>
        <p:spPr bwMode="auto">
          <a:xfrm>
            <a:off x="8273365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31" name="Oval 154"/>
          <p:cNvSpPr>
            <a:spLocks noChangeArrowheads="1"/>
          </p:cNvSpPr>
          <p:nvPr/>
        </p:nvSpPr>
        <p:spPr bwMode="auto">
          <a:xfrm>
            <a:off x="8317010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32" name="Freeform 157"/>
          <p:cNvSpPr>
            <a:spLocks/>
          </p:cNvSpPr>
          <p:nvPr/>
        </p:nvSpPr>
        <p:spPr bwMode="auto">
          <a:xfrm>
            <a:off x="9092074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33" name="Oval 158"/>
          <p:cNvSpPr>
            <a:spLocks noChangeArrowheads="1"/>
          </p:cNvSpPr>
          <p:nvPr/>
        </p:nvSpPr>
        <p:spPr bwMode="auto">
          <a:xfrm>
            <a:off x="9135719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34" name="Freeform 159"/>
          <p:cNvSpPr>
            <a:spLocks/>
          </p:cNvSpPr>
          <p:nvPr/>
        </p:nvSpPr>
        <p:spPr bwMode="auto">
          <a:xfrm>
            <a:off x="8886517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35" name="Oval 160"/>
          <p:cNvSpPr>
            <a:spLocks noChangeArrowheads="1"/>
          </p:cNvSpPr>
          <p:nvPr/>
        </p:nvSpPr>
        <p:spPr bwMode="auto">
          <a:xfrm>
            <a:off x="8931570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36" name="Group 635"/>
          <p:cNvGrpSpPr/>
          <p:nvPr/>
        </p:nvGrpSpPr>
        <p:grpSpPr>
          <a:xfrm>
            <a:off x="8475403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37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8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9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0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19" name="Freeform 153"/>
          <p:cNvSpPr>
            <a:spLocks/>
          </p:cNvSpPr>
          <p:nvPr/>
        </p:nvSpPr>
        <p:spPr bwMode="auto">
          <a:xfrm>
            <a:off x="9303639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20" name="Oval 154"/>
          <p:cNvSpPr>
            <a:spLocks noChangeArrowheads="1"/>
          </p:cNvSpPr>
          <p:nvPr/>
        </p:nvSpPr>
        <p:spPr bwMode="auto">
          <a:xfrm>
            <a:off x="9347284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21" name="Freeform 157"/>
          <p:cNvSpPr>
            <a:spLocks/>
          </p:cNvSpPr>
          <p:nvPr/>
        </p:nvSpPr>
        <p:spPr bwMode="auto">
          <a:xfrm>
            <a:off x="10122348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22" name="Oval 158"/>
          <p:cNvSpPr>
            <a:spLocks noChangeArrowheads="1"/>
          </p:cNvSpPr>
          <p:nvPr/>
        </p:nvSpPr>
        <p:spPr bwMode="auto">
          <a:xfrm>
            <a:off x="10165993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23" name="Freeform 159"/>
          <p:cNvSpPr>
            <a:spLocks/>
          </p:cNvSpPr>
          <p:nvPr/>
        </p:nvSpPr>
        <p:spPr bwMode="auto">
          <a:xfrm>
            <a:off x="9916791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24" name="Oval 160"/>
          <p:cNvSpPr>
            <a:spLocks noChangeArrowheads="1"/>
          </p:cNvSpPr>
          <p:nvPr/>
        </p:nvSpPr>
        <p:spPr bwMode="auto">
          <a:xfrm>
            <a:off x="9961844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25" name="Group 624"/>
          <p:cNvGrpSpPr/>
          <p:nvPr/>
        </p:nvGrpSpPr>
        <p:grpSpPr>
          <a:xfrm>
            <a:off x="9505677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26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7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8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9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8" name="Freeform 153"/>
          <p:cNvSpPr>
            <a:spLocks/>
          </p:cNvSpPr>
          <p:nvPr/>
        </p:nvSpPr>
        <p:spPr bwMode="auto">
          <a:xfrm>
            <a:off x="10333913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9" name="Oval 154"/>
          <p:cNvSpPr>
            <a:spLocks noChangeArrowheads="1"/>
          </p:cNvSpPr>
          <p:nvPr/>
        </p:nvSpPr>
        <p:spPr bwMode="auto">
          <a:xfrm>
            <a:off x="10377558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10" name="Freeform 157"/>
          <p:cNvSpPr>
            <a:spLocks/>
          </p:cNvSpPr>
          <p:nvPr/>
        </p:nvSpPr>
        <p:spPr bwMode="auto">
          <a:xfrm>
            <a:off x="11152622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11" name="Oval 158"/>
          <p:cNvSpPr>
            <a:spLocks noChangeArrowheads="1"/>
          </p:cNvSpPr>
          <p:nvPr/>
        </p:nvSpPr>
        <p:spPr bwMode="auto">
          <a:xfrm>
            <a:off x="11196267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12" name="Freeform 159"/>
          <p:cNvSpPr>
            <a:spLocks/>
          </p:cNvSpPr>
          <p:nvPr/>
        </p:nvSpPr>
        <p:spPr bwMode="auto">
          <a:xfrm>
            <a:off x="10947065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13" name="Oval 160"/>
          <p:cNvSpPr>
            <a:spLocks noChangeArrowheads="1"/>
          </p:cNvSpPr>
          <p:nvPr/>
        </p:nvSpPr>
        <p:spPr bwMode="auto">
          <a:xfrm>
            <a:off x="10992118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14" name="Group 613"/>
          <p:cNvGrpSpPr/>
          <p:nvPr/>
        </p:nvGrpSpPr>
        <p:grpSpPr>
          <a:xfrm>
            <a:off x="10535951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15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6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7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8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99" name="Freeform 153"/>
          <p:cNvSpPr>
            <a:spLocks/>
          </p:cNvSpPr>
          <p:nvPr/>
        </p:nvSpPr>
        <p:spPr bwMode="auto">
          <a:xfrm>
            <a:off x="11364191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0" name="Oval 154"/>
          <p:cNvSpPr>
            <a:spLocks noChangeArrowheads="1"/>
          </p:cNvSpPr>
          <p:nvPr/>
        </p:nvSpPr>
        <p:spPr bwMode="auto">
          <a:xfrm>
            <a:off x="11407836" y="2441861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1" name="Freeform 159"/>
          <p:cNvSpPr>
            <a:spLocks/>
          </p:cNvSpPr>
          <p:nvPr/>
        </p:nvSpPr>
        <p:spPr bwMode="auto">
          <a:xfrm>
            <a:off x="11977343" y="2547456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2" name="Oval 160"/>
          <p:cNvSpPr>
            <a:spLocks noChangeArrowheads="1"/>
          </p:cNvSpPr>
          <p:nvPr/>
        </p:nvSpPr>
        <p:spPr bwMode="auto">
          <a:xfrm>
            <a:off x="12022397" y="2441861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03" name="Group 602"/>
          <p:cNvGrpSpPr/>
          <p:nvPr/>
        </p:nvGrpSpPr>
        <p:grpSpPr>
          <a:xfrm>
            <a:off x="11566229" y="2441861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60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61" name="Freeform 153"/>
          <p:cNvSpPr>
            <a:spLocks/>
          </p:cNvSpPr>
          <p:nvPr/>
        </p:nvSpPr>
        <p:spPr bwMode="auto">
          <a:xfrm>
            <a:off x="31173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62" name="Oval 154"/>
          <p:cNvSpPr>
            <a:spLocks noChangeArrowheads="1"/>
          </p:cNvSpPr>
          <p:nvPr/>
        </p:nvSpPr>
        <p:spPr bwMode="auto">
          <a:xfrm>
            <a:off x="74818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63" name="Freeform 157"/>
          <p:cNvSpPr>
            <a:spLocks/>
          </p:cNvSpPr>
          <p:nvPr/>
        </p:nvSpPr>
        <p:spPr bwMode="auto">
          <a:xfrm>
            <a:off x="849882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64" name="Oval 158"/>
          <p:cNvSpPr>
            <a:spLocks noChangeArrowheads="1"/>
          </p:cNvSpPr>
          <p:nvPr/>
        </p:nvSpPr>
        <p:spPr bwMode="auto">
          <a:xfrm>
            <a:off x="893527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65" name="Freeform 159"/>
          <p:cNvSpPr>
            <a:spLocks/>
          </p:cNvSpPr>
          <p:nvPr/>
        </p:nvSpPr>
        <p:spPr bwMode="auto">
          <a:xfrm>
            <a:off x="644325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66" name="Oval 160"/>
          <p:cNvSpPr>
            <a:spLocks noChangeArrowheads="1"/>
          </p:cNvSpPr>
          <p:nvPr/>
        </p:nvSpPr>
        <p:spPr bwMode="auto">
          <a:xfrm>
            <a:off x="689378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67" name="Group 866"/>
          <p:cNvGrpSpPr/>
          <p:nvPr/>
        </p:nvGrpSpPr>
        <p:grpSpPr>
          <a:xfrm>
            <a:off x="233211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6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50" name="Freeform 153"/>
          <p:cNvSpPr>
            <a:spLocks/>
          </p:cNvSpPr>
          <p:nvPr/>
        </p:nvSpPr>
        <p:spPr bwMode="auto">
          <a:xfrm>
            <a:off x="1061447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51" name="Oval 154"/>
          <p:cNvSpPr>
            <a:spLocks noChangeArrowheads="1"/>
          </p:cNvSpPr>
          <p:nvPr/>
        </p:nvSpPr>
        <p:spPr bwMode="auto">
          <a:xfrm>
            <a:off x="1105092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52" name="Freeform 157"/>
          <p:cNvSpPr>
            <a:spLocks/>
          </p:cNvSpPr>
          <p:nvPr/>
        </p:nvSpPr>
        <p:spPr bwMode="auto">
          <a:xfrm>
            <a:off x="1880156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53" name="Oval 158"/>
          <p:cNvSpPr>
            <a:spLocks noChangeArrowheads="1"/>
          </p:cNvSpPr>
          <p:nvPr/>
        </p:nvSpPr>
        <p:spPr bwMode="auto">
          <a:xfrm>
            <a:off x="1923801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54" name="Freeform 159"/>
          <p:cNvSpPr>
            <a:spLocks/>
          </p:cNvSpPr>
          <p:nvPr/>
        </p:nvSpPr>
        <p:spPr bwMode="auto">
          <a:xfrm>
            <a:off x="1674599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55" name="Oval 160"/>
          <p:cNvSpPr>
            <a:spLocks noChangeArrowheads="1"/>
          </p:cNvSpPr>
          <p:nvPr/>
        </p:nvSpPr>
        <p:spPr bwMode="auto">
          <a:xfrm>
            <a:off x="1719652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56" name="Group 855"/>
          <p:cNvGrpSpPr/>
          <p:nvPr/>
        </p:nvGrpSpPr>
        <p:grpSpPr>
          <a:xfrm>
            <a:off x="1263485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57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8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9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0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9" name="Freeform 153"/>
          <p:cNvSpPr>
            <a:spLocks/>
          </p:cNvSpPr>
          <p:nvPr/>
        </p:nvSpPr>
        <p:spPr bwMode="auto">
          <a:xfrm>
            <a:off x="2091721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40" name="Oval 154"/>
          <p:cNvSpPr>
            <a:spLocks noChangeArrowheads="1"/>
          </p:cNvSpPr>
          <p:nvPr/>
        </p:nvSpPr>
        <p:spPr bwMode="auto">
          <a:xfrm>
            <a:off x="2135366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41" name="Freeform 157"/>
          <p:cNvSpPr>
            <a:spLocks/>
          </p:cNvSpPr>
          <p:nvPr/>
        </p:nvSpPr>
        <p:spPr bwMode="auto">
          <a:xfrm>
            <a:off x="2910430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42" name="Oval 158"/>
          <p:cNvSpPr>
            <a:spLocks noChangeArrowheads="1"/>
          </p:cNvSpPr>
          <p:nvPr/>
        </p:nvSpPr>
        <p:spPr bwMode="auto">
          <a:xfrm>
            <a:off x="2954075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43" name="Freeform 159"/>
          <p:cNvSpPr>
            <a:spLocks/>
          </p:cNvSpPr>
          <p:nvPr/>
        </p:nvSpPr>
        <p:spPr bwMode="auto">
          <a:xfrm>
            <a:off x="2704873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44" name="Oval 160"/>
          <p:cNvSpPr>
            <a:spLocks noChangeArrowheads="1"/>
          </p:cNvSpPr>
          <p:nvPr/>
        </p:nvSpPr>
        <p:spPr bwMode="auto">
          <a:xfrm>
            <a:off x="2749926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45" name="Group 844"/>
          <p:cNvGrpSpPr/>
          <p:nvPr/>
        </p:nvGrpSpPr>
        <p:grpSpPr>
          <a:xfrm>
            <a:off x="2293759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46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7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8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9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28" name="Freeform 153"/>
          <p:cNvSpPr>
            <a:spLocks/>
          </p:cNvSpPr>
          <p:nvPr/>
        </p:nvSpPr>
        <p:spPr bwMode="auto">
          <a:xfrm>
            <a:off x="3121995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29" name="Oval 154"/>
          <p:cNvSpPr>
            <a:spLocks noChangeArrowheads="1"/>
          </p:cNvSpPr>
          <p:nvPr/>
        </p:nvSpPr>
        <p:spPr bwMode="auto">
          <a:xfrm>
            <a:off x="3165640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0" name="Freeform 157"/>
          <p:cNvSpPr>
            <a:spLocks/>
          </p:cNvSpPr>
          <p:nvPr/>
        </p:nvSpPr>
        <p:spPr bwMode="auto">
          <a:xfrm>
            <a:off x="3940704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1" name="Oval 158"/>
          <p:cNvSpPr>
            <a:spLocks noChangeArrowheads="1"/>
          </p:cNvSpPr>
          <p:nvPr/>
        </p:nvSpPr>
        <p:spPr bwMode="auto">
          <a:xfrm>
            <a:off x="3984349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2" name="Freeform 159"/>
          <p:cNvSpPr>
            <a:spLocks/>
          </p:cNvSpPr>
          <p:nvPr/>
        </p:nvSpPr>
        <p:spPr bwMode="auto">
          <a:xfrm>
            <a:off x="3735147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3" name="Oval 160"/>
          <p:cNvSpPr>
            <a:spLocks noChangeArrowheads="1"/>
          </p:cNvSpPr>
          <p:nvPr/>
        </p:nvSpPr>
        <p:spPr bwMode="auto">
          <a:xfrm>
            <a:off x="3780200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34" name="Group 833"/>
          <p:cNvGrpSpPr/>
          <p:nvPr/>
        </p:nvGrpSpPr>
        <p:grpSpPr>
          <a:xfrm>
            <a:off x="3324033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35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6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7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8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17" name="Freeform 153"/>
          <p:cNvSpPr>
            <a:spLocks/>
          </p:cNvSpPr>
          <p:nvPr/>
        </p:nvSpPr>
        <p:spPr bwMode="auto">
          <a:xfrm>
            <a:off x="4152269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18" name="Oval 154"/>
          <p:cNvSpPr>
            <a:spLocks noChangeArrowheads="1"/>
          </p:cNvSpPr>
          <p:nvPr/>
        </p:nvSpPr>
        <p:spPr bwMode="auto">
          <a:xfrm>
            <a:off x="4195914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19" name="Freeform 157"/>
          <p:cNvSpPr>
            <a:spLocks/>
          </p:cNvSpPr>
          <p:nvPr/>
        </p:nvSpPr>
        <p:spPr bwMode="auto">
          <a:xfrm>
            <a:off x="4970978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20" name="Oval 158"/>
          <p:cNvSpPr>
            <a:spLocks noChangeArrowheads="1"/>
          </p:cNvSpPr>
          <p:nvPr/>
        </p:nvSpPr>
        <p:spPr bwMode="auto">
          <a:xfrm>
            <a:off x="5014623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21" name="Freeform 159"/>
          <p:cNvSpPr>
            <a:spLocks/>
          </p:cNvSpPr>
          <p:nvPr/>
        </p:nvSpPr>
        <p:spPr bwMode="auto">
          <a:xfrm>
            <a:off x="4765421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22" name="Oval 160"/>
          <p:cNvSpPr>
            <a:spLocks noChangeArrowheads="1"/>
          </p:cNvSpPr>
          <p:nvPr/>
        </p:nvSpPr>
        <p:spPr bwMode="auto">
          <a:xfrm>
            <a:off x="4810474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23" name="Group 822"/>
          <p:cNvGrpSpPr/>
          <p:nvPr/>
        </p:nvGrpSpPr>
        <p:grpSpPr>
          <a:xfrm>
            <a:off x="4354307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2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06" name="Freeform 153"/>
          <p:cNvSpPr>
            <a:spLocks/>
          </p:cNvSpPr>
          <p:nvPr/>
        </p:nvSpPr>
        <p:spPr bwMode="auto">
          <a:xfrm>
            <a:off x="5182543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7" name="Oval 154"/>
          <p:cNvSpPr>
            <a:spLocks noChangeArrowheads="1"/>
          </p:cNvSpPr>
          <p:nvPr/>
        </p:nvSpPr>
        <p:spPr bwMode="auto">
          <a:xfrm>
            <a:off x="5226188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8" name="Freeform 157"/>
          <p:cNvSpPr>
            <a:spLocks/>
          </p:cNvSpPr>
          <p:nvPr/>
        </p:nvSpPr>
        <p:spPr bwMode="auto">
          <a:xfrm>
            <a:off x="6001252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9" name="Oval 158"/>
          <p:cNvSpPr>
            <a:spLocks noChangeArrowheads="1"/>
          </p:cNvSpPr>
          <p:nvPr/>
        </p:nvSpPr>
        <p:spPr bwMode="auto">
          <a:xfrm>
            <a:off x="6044897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10" name="Freeform 159"/>
          <p:cNvSpPr>
            <a:spLocks/>
          </p:cNvSpPr>
          <p:nvPr/>
        </p:nvSpPr>
        <p:spPr bwMode="auto">
          <a:xfrm>
            <a:off x="5795695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11" name="Oval 160"/>
          <p:cNvSpPr>
            <a:spLocks noChangeArrowheads="1"/>
          </p:cNvSpPr>
          <p:nvPr/>
        </p:nvSpPr>
        <p:spPr bwMode="auto">
          <a:xfrm>
            <a:off x="5840748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12" name="Group 811"/>
          <p:cNvGrpSpPr/>
          <p:nvPr/>
        </p:nvGrpSpPr>
        <p:grpSpPr>
          <a:xfrm>
            <a:off x="5384581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13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4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5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6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5" name="Freeform 153"/>
          <p:cNvSpPr>
            <a:spLocks/>
          </p:cNvSpPr>
          <p:nvPr/>
        </p:nvSpPr>
        <p:spPr bwMode="auto">
          <a:xfrm>
            <a:off x="6212817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96" name="Oval 154"/>
          <p:cNvSpPr>
            <a:spLocks noChangeArrowheads="1"/>
          </p:cNvSpPr>
          <p:nvPr/>
        </p:nvSpPr>
        <p:spPr bwMode="auto">
          <a:xfrm>
            <a:off x="6256462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97" name="Freeform 157"/>
          <p:cNvSpPr>
            <a:spLocks/>
          </p:cNvSpPr>
          <p:nvPr/>
        </p:nvSpPr>
        <p:spPr bwMode="auto">
          <a:xfrm>
            <a:off x="7031526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98" name="Oval 158"/>
          <p:cNvSpPr>
            <a:spLocks noChangeArrowheads="1"/>
          </p:cNvSpPr>
          <p:nvPr/>
        </p:nvSpPr>
        <p:spPr bwMode="auto">
          <a:xfrm>
            <a:off x="7075171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99" name="Freeform 159"/>
          <p:cNvSpPr>
            <a:spLocks/>
          </p:cNvSpPr>
          <p:nvPr/>
        </p:nvSpPr>
        <p:spPr bwMode="auto">
          <a:xfrm>
            <a:off x="6825969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0" name="Oval 160"/>
          <p:cNvSpPr>
            <a:spLocks noChangeArrowheads="1"/>
          </p:cNvSpPr>
          <p:nvPr/>
        </p:nvSpPr>
        <p:spPr bwMode="auto">
          <a:xfrm>
            <a:off x="6871022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01" name="Group 800"/>
          <p:cNvGrpSpPr/>
          <p:nvPr/>
        </p:nvGrpSpPr>
        <p:grpSpPr>
          <a:xfrm>
            <a:off x="6414855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0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84" name="Freeform 153"/>
          <p:cNvSpPr>
            <a:spLocks/>
          </p:cNvSpPr>
          <p:nvPr/>
        </p:nvSpPr>
        <p:spPr bwMode="auto">
          <a:xfrm>
            <a:off x="7243091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5" name="Oval 154"/>
          <p:cNvSpPr>
            <a:spLocks noChangeArrowheads="1"/>
          </p:cNvSpPr>
          <p:nvPr/>
        </p:nvSpPr>
        <p:spPr bwMode="auto">
          <a:xfrm>
            <a:off x="7286736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6" name="Freeform 157"/>
          <p:cNvSpPr>
            <a:spLocks/>
          </p:cNvSpPr>
          <p:nvPr/>
        </p:nvSpPr>
        <p:spPr bwMode="auto">
          <a:xfrm>
            <a:off x="8061800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7" name="Oval 158"/>
          <p:cNvSpPr>
            <a:spLocks noChangeArrowheads="1"/>
          </p:cNvSpPr>
          <p:nvPr/>
        </p:nvSpPr>
        <p:spPr bwMode="auto">
          <a:xfrm>
            <a:off x="8105445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8" name="Freeform 159"/>
          <p:cNvSpPr>
            <a:spLocks/>
          </p:cNvSpPr>
          <p:nvPr/>
        </p:nvSpPr>
        <p:spPr bwMode="auto">
          <a:xfrm>
            <a:off x="7856243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9" name="Oval 160"/>
          <p:cNvSpPr>
            <a:spLocks noChangeArrowheads="1"/>
          </p:cNvSpPr>
          <p:nvPr/>
        </p:nvSpPr>
        <p:spPr bwMode="auto">
          <a:xfrm>
            <a:off x="7901296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90" name="Group 789"/>
          <p:cNvGrpSpPr/>
          <p:nvPr/>
        </p:nvGrpSpPr>
        <p:grpSpPr>
          <a:xfrm>
            <a:off x="7445129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91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2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3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4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73" name="Freeform 153"/>
          <p:cNvSpPr>
            <a:spLocks/>
          </p:cNvSpPr>
          <p:nvPr/>
        </p:nvSpPr>
        <p:spPr bwMode="auto">
          <a:xfrm>
            <a:off x="8273365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74" name="Oval 154"/>
          <p:cNvSpPr>
            <a:spLocks noChangeArrowheads="1"/>
          </p:cNvSpPr>
          <p:nvPr/>
        </p:nvSpPr>
        <p:spPr bwMode="auto">
          <a:xfrm>
            <a:off x="8317010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75" name="Freeform 157"/>
          <p:cNvSpPr>
            <a:spLocks/>
          </p:cNvSpPr>
          <p:nvPr/>
        </p:nvSpPr>
        <p:spPr bwMode="auto">
          <a:xfrm>
            <a:off x="9092074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76" name="Oval 158"/>
          <p:cNvSpPr>
            <a:spLocks noChangeArrowheads="1"/>
          </p:cNvSpPr>
          <p:nvPr/>
        </p:nvSpPr>
        <p:spPr bwMode="auto">
          <a:xfrm>
            <a:off x="9135719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77" name="Freeform 159"/>
          <p:cNvSpPr>
            <a:spLocks/>
          </p:cNvSpPr>
          <p:nvPr/>
        </p:nvSpPr>
        <p:spPr bwMode="auto">
          <a:xfrm>
            <a:off x="8886517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78" name="Oval 160"/>
          <p:cNvSpPr>
            <a:spLocks noChangeArrowheads="1"/>
          </p:cNvSpPr>
          <p:nvPr/>
        </p:nvSpPr>
        <p:spPr bwMode="auto">
          <a:xfrm>
            <a:off x="8931570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79" name="Group 778"/>
          <p:cNvGrpSpPr/>
          <p:nvPr/>
        </p:nvGrpSpPr>
        <p:grpSpPr>
          <a:xfrm>
            <a:off x="8475403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8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62" name="Freeform 153"/>
          <p:cNvSpPr>
            <a:spLocks/>
          </p:cNvSpPr>
          <p:nvPr/>
        </p:nvSpPr>
        <p:spPr bwMode="auto">
          <a:xfrm>
            <a:off x="9303639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63" name="Oval 154"/>
          <p:cNvSpPr>
            <a:spLocks noChangeArrowheads="1"/>
          </p:cNvSpPr>
          <p:nvPr/>
        </p:nvSpPr>
        <p:spPr bwMode="auto">
          <a:xfrm>
            <a:off x="9347284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64" name="Freeform 157"/>
          <p:cNvSpPr>
            <a:spLocks/>
          </p:cNvSpPr>
          <p:nvPr/>
        </p:nvSpPr>
        <p:spPr bwMode="auto">
          <a:xfrm>
            <a:off x="10122348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65" name="Oval 158"/>
          <p:cNvSpPr>
            <a:spLocks noChangeArrowheads="1"/>
          </p:cNvSpPr>
          <p:nvPr/>
        </p:nvSpPr>
        <p:spPr bwMode="auto">
          <a:xfrm>
            <a:off x="10165993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66" name="Freeform 159"/>
          <p:cNvSpPr>
            <a:spLocks/>
          </p:cNvSpPr>
          <p:nvPr/>
        </p:nvSpPr>
        <p:spPr bwMode="auto">
          <a:xfrm>
            <a:off x="9916791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67" name="Oval 160"/>
          <p:cNvSpPr>
            <a:spLocks noChangeArrowheads="1"/>
          </p:cNvSpPr>
          <p:nvPr/>
        </p:nvSpPr>
        <p:spPr bwMode="auto">
          <a:xfrm>
            <a:off x="9961844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68" name="Group 767"/>
          <p:cNvGrpSpPr/>
          <p:nvPr/>
        </p:nvGrpSpPr>
        <p:grpSpPr>
          <a:xfrm>
            <a:off x="9505677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69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0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1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2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51" name="Freeform 153"/>
          <p:cNvSpPr>
            <a:spLocks/>
          </p:cNvSpPr>
          <p:nvPr/>
        </p:nvSpPr>
        <p:spPr bwMode="auto">
          <a:xfrm>
            <a:off x="10333913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52" name="Oval 154"/>
          <p:cNvSpPr>
            <a:spLocks noChangeArrowheads="1"/>
          </p:cNvSpPr>
          <p:nvPr/>
        </p:nvSpPr>
        <p:spPr bwMode="auto">
          <a:xfrm>
            <a:off x="10377558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53" name="Freeform 157"/>
          <p:cNvSpPr>
            <a:spLocks/>
          </p:cNvSpPr>
          <p:nvPr/>
        </p:nvSpPr>
        <p:spPr bwMode="auto">
          <a:xfrm>
            <a:off x="11152622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54" name="Oval 158"/>
          <p:cNvSpPr>
            <a:spLocks noChangeArrowheads="1"/>
          </p:cNvSpPr>
          <p:nvPr/>
        </p:nvSpPr>
        <p:spPr bwMode="auto">
          <a:xfrm>
            <a:off x="11196267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55" name="Freeform 159"/>
          <p:cNvSpPr>
            <a:spLocks/>
          </p:cNvSpPr>
          <p:nvPr/>
        </p:nvSpPr>
        <p:spPr bwMode="auto">
          <a:xfrm>
            <a:off x="10947065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56" name="Oval 160"/>
          <p:cNvSpPr>
            <a:spLocks noChangeArrowheads="1"/>
          </p:cNvSpPr>
          <p:nvPr/>
        </p:nvSpPr>
        <p:spPr bwMode="auto">
          <a:xfrm>
            <a:off x="10992118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57" name="Group 756"/>
          <p:cNvGrpSpPr/>
          <p:nvPr/>
        </p:nvGrpSpPr>
        <p:grpSpPr>
          <a:xfrm>
            <a:off x="10535951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5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2" name="Freeform 153"/>
          <p:cNvSpPr>
            <a:spLocks/>
          </p:cNvSpPr>
          <p:nvPr/>
        </p:nvSpPr>
        <p:spPr bwMode="auto">
          <a:xfrm>
            <a:off x="11364191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43" name="Oval 154"/>
          <p:cNvSpPr>
            <a:spLocks noChangeArrowheads="1"/>
          </p:cNvSpPr>
          <p:nvPr/>
        </p:nvSpPr>
        <p:spPr bwMode="auto">
          <a:xfrm>
            <a:off x="11407836" y="2937162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44" name="Freeform 159"/>
          <p:cNvSpPr>
            <a:spLocks/>
          </p:cNvSpPr>
          <p:nvPr/>
        </p:nvSpPr>
        <p:spPr bwMode="auto">
          <a:xfrm>
            <a:off x="11977343" y="3042757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45" name="Oval 160"/>
          <p:cNvSpPr>
            <a:spLocks noChangeArrowheads="1"/>
          </p:cNvSpPr>
          <p:nvPr/>
        </p:nvSpPr>
        <p:spPr bwMode="auto">
          <a:xfrm>
            <a:off x="12022397" y="2937162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46" name="Group 745"/>
          <p:cNvGrpSpPr/>
          <p:nvPr/>
        </p:nvGrpSpPr>
        <p:grpSpPr>
          <a:xfrm>
            <a:off x="11566229" y="2937162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747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8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9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0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04" name="Freeform 153"/>
          <p:cNvSpPr>
            <a:spLocks/>
          </p:cNvSpPr>
          <p:nvPr/>
        </p:nvSpPr>
        <p:spPr bwMode="auto">
          <a:xfrm>
            <a:off x="31173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05" name="Oval 154"/>
          <p:cNvSpPr>
            <a:spLocks noChangeArrowheads="1"/>
          </p:cNvSpPr>
          <p:nvPr/>
        </p:nvSpPr>
        <p:spPr bwMode="auto">
          <a:xfrm>
            <a:off x="74818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06" name="Freeform 157"/>
          <p:cNvSpPr>
            <a:spLocks/>
          </p:cNvSpPr>
          <p:nvPr/>
        </p:nvSpPr>
        <p:spPr bwMode="auto">
          <a:xfrm>
            <a:off x="849882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07" name="Oval 158"/>
          <p:cNvSpPr>
            <a:spLocks noChangeArrowheads="1"/>
          </p:cNvSpPr>
          <p:nvPr/>
        </p:nvSpPr>
        <p:spPr bwMode="auto">
          <a:xfrm>
            <a:off x="893527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08" name="Freeform 159"/>
          <p:cNvSpPr>
            <a:spLocks/>
          </p:cNvSpPr>
          <p:nvPr/>
        </p:nvSpPr>
        <p:spPr bwMode="auto">
          <a:xfrm>
            <a:off x="644325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09" name="Oval 160"/>
          <p:cNvSpPr>
            <a:spLocks noChangeArrowheads="1"/>
          </p:cNvSpPr>
          <p:nvPr/>
        </p:nvSpPr>
        <p:spPr bwMode="auto">
          <a:xfrm>
            <a:off x="689378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10" name="Group 1009"/>
          <p:cNvGrpSpPr/>
          <p:nvPr/>
        </p:nvGrpSpPr>
        <p:grpSpPr>
          <a:xfrm>
            <a:off x="233211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11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2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3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4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93" name="Freeform 153"/>
          <p:cNvSpPr>
            <a:spLocks/>
          </p:cNvSpPr>
          <p:nvPr/>
        </p:nvSpPr>
        <p:spPr bwMode="auto">
          <a:xfrm>
            <a:off x="1061447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94" name="Oval 154"/>
          <p:cNvSpPr>
            <a:spLocks noChangeArrowheads="1"/>
          </p:cNvSpPr>
          <p:nvPr/>
        </p:nvSpPr>
        <p:spPr bwMode="auto">
          <a:xfrm>
            <a:off x="1105092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95" name="Freeform 157"/>
          <p:cNvSpPr>
            <a:spLocks/>
          </p:cNvSpPr>
          <p:nvPr/>
        </p:nvSpPr>
        <p:spPr bwMode="auto">
          <a:xfrm>
            <a:off x="1880156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96" name="Oval 158"/>
          <p:cNvSpPr>
            <a:spLocks noChangeArrowheads="1"/>
          </p:cNvSpPr>
          <p:nvPr/>
        </p:nvSpPr>
        <p:spPr bwMode="auto">
          <a:xfrm>
            <a:off x="1923801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97" name="Freeform 159"/>
          <p:cNvSpPr>
            <a:spLocks/>
          </p:cNvSpPr>
          <p:nvPr/>
        </p:nvSpPr>
        <p:spPr bwMode="auto">
          <a:xfrm>
            <a:off x="1674599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98" name="Oval 160"/>
          <p:cNvSpPr>
            <a:spLocks noChangeArrowheads="1"/>
          </p:cNvSpPr>
          <p:nvPr/>
        </p:nvSpPr>
        <p:spPr bwMode="auto">
          <a:xfrm>
            <a:off x="1719652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99" name="Group 998"/>
          <p:cNvGrpSpPr/>
          <p:nvPr/>
        </p:nvGrpSpPr>
        <p:grpSpPr>
          <a:xfrm>
            <a:off x="1263485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0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82" name="Freeform 153"/>
          <p:cNvSpPr>
            <a:spLocks/>
          </p:cNvSpPr>
          <p:nvPr/>
        </p:nvSpPr>
        <p:spPr bwMode="auto">
          <a:xfrm>
            <a:off x="2091721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83" name="Oval 154"/>
          <p:cNvSpPr>
            <a:spLocks noChangeArrowheads="1"/>
          </p:cNvSpPr>
          <p:nvPr/>
        </p:nvSpPr>
        <p:spPr bwMode="auto">
          <a:xfrm>
            <a:off x="2135366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84" name="Freeform 157"/>
          <p:cNvSpPr>
            <a:spLocks/>
          </p:cNvSpPr>
          <p:nvPr/>
        </p:nvSpPr>
        <p:spPr bwMode="auto">
          <a:xfrm>
            <a:off x="2910430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85" name="Oval 158"/>
          <p:cNvSpPr>
            <a:spLocks noChangeArrowheads="1"/>
          </p:cNvSpPr>
          <p:nvPr/>
        </p:nvSpPr>
        <p:spPr bwMode="auto">
          <a:xfrm>
            <a:off x="2954075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86" name="Freeform 159"/>
          <p:cNvSpPr>
            <a:spLocks/>
          </p:cNvSpPr>
          <p:nvPr/>
        </p:nvSpPr>
        <p:spPr bwMode="auto">
          <a:xfrm>
            <a:off x="2704873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87" name="Oval 160"/>
          <p:cNvSpPr>
            <a:spLocks noChangeArrowheads="1"/>
          </p:cNvSpPr>
          <p:nvPr/>
        </p:nvSpPr>
        <p:spPr bwMode="auto">
          <a:xfrm>
            <a:off x="2749926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88" name="Group 987"/>
          <p:cNvGrpSpPr/>
          <p:nvPr/>
        </p:nvGrpSpPr>
        <p:grpSpPr>
          <a:xfrm>
            <a:off x="2293759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89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0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1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2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71" name="Freeform 153"/>
          <p:cNvSpPr>
            <a:spLocks/>
          </p:cNvSpPr>
          <p:nvPr/>
        </p:nvSpPr>
        <p:spPr bwMode="auto">
          <a:xfrm>
            <a:off x="3121995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72" name="Oval 154"/>
          <p:cNvSpPr>
            <a:spLocks noChangeArrowheads="1"/>
          </p:cNvSpPr>
          <p:nvPr/>
        </p:nvSpPr>
        <p:spPr bwMode="auto">
          <a:xfrm>
            <a:off x="3165640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73" name="Freeform 157"/>
          <p:cNvSpPr>
            <a:spLocks/>
          </p:cNvSpPr>
          <p:nvPr/>
        </p:nvSpPr>
        <p:spPr bwMode="auto">
          <a:xfrm>
            <a:off x="3940704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74" name="Oval 158"/>
          <p:cNvSpPr>
            <a:spLocks noChangeArrowheads="1"/>
          </p:cNvSpPr>
          <p:nvPr/>
        </p:nvSpPr>
        <p:spPr bwMode="auto">
          <a:xfrm>
            <a:off x="3984349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75" name="Freeform 159"/>
          <p:cNvSpPr>
            <a:spLocks/>
          </p:cNvSpPr>
          <p:nvPr/>
        </p:nvSpPr>
        <p:spPr bwMode="auto">
          <a:xfrm>
            <a:off x="3735147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76" name="Oval 160"/>
          <p:cNvSpPr>
            <a:spLocks noChangeArrowheads="1"/>
          </p:cNvSpPr>
          <p:nvPr/>
        </p:nvSpPr>
        <p:spPr bwMode="auto">
          <a:xfrm>
            <a:off x="3780200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77" name="Group 976"/>
          <p:cNvGrpSpPr/>
          <p:nvPr/>
        </p:nvGrpSpPr>
        <p:grpSpPr>
          <a:xfrm>
            <a:off x="3324033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7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60" name="Freeform 153"/>
          <p:cNvSpPr>
            <a:spLocks/>
          </p:cNvSpPr>
          <p:nvPr/>
        </p:nvSpPr>
        <p:spPr bwMode="auto">
          <a:xfrm>
            <a:off x="4152269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61" name="Oval 154"/>
          <p:cNvSpPr>
            <a:spLocks noChangeArrowheads="1"/>
          </p:cNvSpPr>
          <p:nvPr/>
        </p:nvSpPr>
        <p:spPr bwMode="auto">
          <a:xfrm>
            <a:off x="4195914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62" name="Freeform 157"/>
          <p:cNvSpPr>
            <a:spLocks/>
          </p:cNvSpPr>
          <p:nvPr/>
        </p:nvSpPr>
        <p:spPr bwMode="auto">
          <a:xfrm>
            <a:off x="4970978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63" name="Oval 158"/>
          <p:cNvSpPr>
            <a:spLocks noChangeArrowheads="1"/>
          </p:cNvSpPr>
          <p:nvPr/>
        </p:nvSpPr>
        <p:spPr bwMode="auto">
          <a:xfrm>
            <a:off x="5014623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64" name="Freeform 159"/>
          <p:cNvSpPr>
            <a:spLocks/>
          </p:cNvSpPr>
          <p:nvPr/>
        </p:nvSpPr>
        <p:spPr bwMode="auto">
          <a:xfrm>
            <a:off x="4765421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65" name="Oval 160"/>
          <p:cNvSpPr>
            <a:spLocks noChangeArrowheads="1"/>
          </p:cNvSpPr>
          <p:nvPr/>
        </p:nvSpPr>
        <p:spPr bwMode="auto">
          <a:xfrm>
            <a:off x="4810474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66" name="Group 965"/>
          <p:cNvGrpSpPr/>
          <p:nvPr/>
        </p:nvGrpSpPr>
        <p:grpSpPr>
          <a:xfrm>
            <a:off x="4354307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67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8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9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0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49" name="Freeform 153"/>
          <p:cNvSpPr>
            <a:spLocks/>
          </p:cNvSpPr>
          <p:nvPr/>
        </p:nvSpPr>
        <p:spPr bwMode="auto">
          <a:xfrm>
            <a:off x="5182543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50" name="Oval 154"/>
          <p:cNvSpPr>
            <a:spLocks noChangeArrowheads="1"/>
          </p:cNvSpPr>
          <p:nvPr/>
        </p:nvSpPr>
        <p:spPr bwMode="auto">
          <a:xfrm>
            <a:off x="5226188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51" name="Freeform 157"/>
          <p:cNvSpPr>
            <a:spLocks/>
          </p:cNvSpPr>
          <p:nvPr/>
        </p:nvSpPr>
        <p:spPr bwMode="auto">
          <a:xfrm>
            <a:off x="6001252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52" name="Oval 158"/>
          <p:cNvSpPr>
            <a:spLocks noChangeArrowheads="1"/>
          </p:cNvSpPr>
          <p:nvPr/>
        </p:nvSpPr>
        <p:spPr bwMode="auto">
          <a:xfrm>
            <a:off x="6044897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53" name="Freeform 159"/>
          <p:cNvSpPr>
            <a:spLocks/>
          </p:cNvSpPr>
          <p:nvPr/>
        </p:nvSpPr>
        <p:spPr bwMode="auto">
          <a:xfrm>
            <a:off x="5795695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54" name="Oval 160"/>
          <p:cNvSpPr>
            <a:spLocks noChangeArrowheads="1"/>
          </p:cNvSpPr>
          <p:nvPr/>
        </p:nvSpPr>
        <p:spPr bwMode="auto">
          <a:xfrm>
            <a:off x="5840748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55" name="Group 954"/>
          <p:cNvGrpSpPr/>
          <p:nvPr/>
        </p:nvGrpSpPr>
        <p:grpSpPr>
          <a:xfrm>
            <a:off x="5384581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56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7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8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9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38" name="Freeform 153"/>
          <p:cNvSpPr>
            <a:spLocks/>
          </p:cNvSpPr>
          <p:nvPr/>
        </p:nvSpPr>
        <p:spPr bwMode="auto">
          <a:xfrm>
            <a:off x="6212817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9" name="Oval 154"/>
          <p:cNvSpPr>
            <a:spLocks noChangeArrowheads="1"/>
          </p:cNvSpPr>
          <p:nvPr/>
        </p:nvSpPr>
        <p:spPr bwMode="auto">
          <a:xfrm>
            <a:off x="6256462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0" name="Freeform 157"/>
          <p:cNvSpPr>
            <a:spLocks/>
          </p:cNvSpPr>
          <p:nvPr/>
        </p:nvSpPr>
        <p:spPr bwMode="auto">
          <a:xfrm>
            <a:off x="7031526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1" name="Oval 158"/>
          <p:cNvSpPr>
            <a:spLocks noChangeArrowheads="1"/>
          </p:cNvSpPr>
          <p:nvPr/>
        </p:nvSpPr>
        <p:spPr bwMode="auto">
          <a:xfrm>
            <a:off x="7075171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2" name="Freeform 159"/>
          <p:cNvSpPr>
            <a:spLocks/>
          </p:cNvSpPr>
          <p:nvPr/>
        </p:nvSpPr>
        <p:spPr bwMode="auto">
          <a:xfrm>
            <a:off x="6825969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3" name="Oval 160"/>
          <p:cNvSpPr>
            <a:spLocks noChangeArrowheads="1"/>
          </p:cNvSpPr>
          <p:nvPr/>
        </p:nvSpPr>
        <p:spPr bwMode="auto">
          <a:xfrm>
            <a:off x="6871022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44" name="Group 943"/>
          <p:cNvGrpSpPr/>
          <p:nvPr/>
        </p:nvGrpSpPr>
        <p:grpSpPr>
          <a:xfrm>
            <a:off x="6414855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45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6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7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8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27" name="Freeform 153"/>
          <p:cNvSpPr>
            <a:spLocks/>
          </p:cNvSpPr>
          <p:nvPr/>
        </p:nvSpPr>
        <p:spPr bwMode="auto">
          <a:xfrm>
            <a:off x="7243091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28" name="Oval 154"/>
          <p:cNvSpPr>
            <a:spLocks noChangeArrowheads="1"/>
          </p:cNvSpPr>
          <p:nvPr/>
        </p:nvSpPr>
        <p:spPr bwMode="auto">
          <a:xfrm>
            <a:off x="7286736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29" name="Freeform 157"/>
          <p:cNvSpPr>
            <a:spLocks/>
          </p:cNvSpPr>
          <p:nvPr/>
        </p:nvSpPr>
        <p:spPr bwMode="auto">
          <a:xfrm>
            <a:off x="8061800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0" name="Oval 158"/>
          <p:cNvSpPr>
            <a:spLocks noChangeArrowheads="1"/>
          </p:cNvSpPr>
          <p:nvPr/>
        </p:nvSpPr>
        <p:spPr bwMode="auto">
          <a:xfrm>
            <a:off x="8105445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1" name="Freeform 159"/>
          <p:cNvSpPr>
            <a:spLocks/>
          </p:cNvSpPr>
          <p:nvPr/>
        </p:nvSpPr>
        <p:spPr bwMode="auto">
          <a:xfrm>
            <a:off x="7856243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2" name="Oval 160"/>
          <p:cNvSpPr>
            <a:spLocks noChangeArrowheads="1"/>
          </p:cNvSpPr>
          <p:nvPr/>
        </p:nvSpPr>
        <p:spPr bwMode="auto">
          <a:xfrm>
            <a:off x="7901296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33" name="Group 932"/>
          <p:cNvGrpSpPr/>
          <p:nvPr/>
        </p:nvGrpSpPr>
        <p:grpSpPr>
          <a:xfrm>
            <a:off x="7445129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3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16" name="Freeform 153"/>
          <p:cNvSpPr>
            <a:spLocks/>
          </p:cNvSpPr>
          <p:nvPr/>
        </p:nvSpPr>
        <p:spPr bwMode="auto">
          <a:xfrm>
            <a:off x="8273365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17" name="Oval 154"/>
          <p:cNvSpPr>
            <a:spLocks noChangeArrowheads="1"/>
          </p:cNvSpPr>
          <p:nvPr/>
        </p:nvSpPr>
        <p:spPr bwMode="auto">
          <a:xfrm>
            <a:off x="8317010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18" name="Freeform 157"/>
          <p:cNvSpPr>
            <a:spLocks/>
          </p:cNvSpPr>
          <p:nvPr/>
        </p:nvSpPr>
        <p:spPr bwMode="auto">
          <a:xfrm>
            <a:off x="9092074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19" name="Oval 158"/>
          <p:cNvSpPr>
            <a:spLocks noChangeArrowheads="1"/>
          </p:cNvSpPr>
          <p:nvPr/>
        </p:nvSpPr>
        <p:spPr bwMode="auto">
          <a:xfrm>
            <a:off x="9135719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20" name="Freeform 159"/>
          <p:cNvSpPr>
            <a:spLocks/>
          </p:cNvSpPr>
          <p:nvPr/>
        </p:nvSpPr>
        <p:spPr bwMode="auto">
          <a:xfrm>
            <a:off x="8886517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21" name="Oval 160"/>
          <p:cNvSpPr>
            <a:spLocks noChangeArrowheads="1"/>
          </p:cNvSpPr>
          <p:nvPr/>
        </p:nvSpPr>
        <p:spPr bwMode="auto">
          <a:xfrm>
            <a:off x="8931570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22" name="Group 921"/>
          <p:cNvGrpSpPr/>
          <p:nvPr/>
        </p:nvGrpSpPr>
        <p:grpSpPr>
          <a:xfrm>
            <a:off x="8475403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23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4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5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6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05" name="Freeform 153"/>
          <p:cNvSpPr>
            <a:spLocks/>
          </p:cNvSpPr>
          <p:nvPr/>
        </p:nvSpPr>
        <p:spPr bwMode="auto">
          <a:xfrm>
            <a:off x="9303639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6" name="Oval 154"/>
          <p:cNvSpPr>
            <a:spLocks noChangeArrowheads="1"/>
          </p:cNvSpPr>
          <p:nvPr/>
        </p:nvSpPr>
        <p:spPr bwMode="auto">
          <a:xfrm>
            <a:off x="9347284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7" name="Freeform 157"/>
          <p:cNvSpPr>
            <a:spLocks/>
          </p:cNvSpPr>
          <p:nvPr/>
        </p:nvSpPr>
        <p:spPr bwMode="auto">
          <a:xfrm>
            <a:off x="10122348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8" name="Oval 158"/>
          <p:cNvSpPr>
            <a:spLocks noChangeArrowheads="1"/>
          </p:cNvSpPr>
          <p:nvPr/>
        </p:nvSpPr>
        <p:spPr bwMode="auto">
          <a:xfrm>
            <a:off x="10165993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9" name="Freeform 159"/>
          <p:cNvSpPr>
            <a:spLocks/>
          </p:cNvSpPr>
          <p:nvPr/>
        </p:nvSpPr>
        <p:spPr bwMode="auto">
          <a:xfrm>
            <a:off x="9916791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10" name="Oval 160"/>
          <p:cNvSpPr>
            <a:spLocks noChangeArrowheads="1"/>
          </p:cNvSpPr>
          <p:nvPr/>
        </p:nvSpPr>
        <p:spPr bwMode="auto">
          <a:xfrm>
            <a:off x="9961844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11" name="Group 910"/>
          <p:cNvGrpSpPr/>
          <p:nvPr/>
        </p:nvGrpSpPr>
        <p:grpSpPr>
          <a:xfrm>
            <a:off x="9505677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1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4" name="Freeform 153"/>
          <p:cNvSpPr>
            <a:spLocks/>
          </p:cNvSpPr>
          <p:nvPr/>
        </p:nvSpPr>
        <p:spPr bwMode="auto">
          <a:xfrm>
            <a:off x="10333913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95" name="Oval 154"/>
          <p:cNvSpPr>
            <a:spLocks noChangeArrowheads="1"/>
          </p:cNvSpPr>
          <p:nvPr/>
        </p:nvSpPr>
        <p:spPr bwMode="auto">
          <a:xfrm>
            <a:off x="10377558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96" name="Freeform 157"/>
          <p:cNvSpPr>
            <a:spLocks/>
          </p:cNvSpPr>
          <p:nvPr/>
        </p:nvSpPr>
        <p:spPr bwMode="auto">
          <a:xfrm>
            <a:off x="11152622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97" name="Oval 158"/>
          <p:cNvSpPr>
            <a:spLocks noChangeArrowheads="1"/>
          </p:cNvSpPr>
          <p:nvPr/>
        </p:nvSpPr>
        <p:spPr bwMode="auto">
          <a:xfrm>
            <a:off x="11196267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98" name="Freeform 159"/>
          <p:cNvSpPr>
            <a:spLocks/>
          </p:cNvSpPr>
          <p:nvPr/>
        </p:nvSpPr>
        <p:spPr bwMode="auto">
          <a:xfrm>
            <a:off x="10947065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99" name="Oval 160"/>
          <p:cNvSpPr>
            <a:spLocks noChangeArrowheads="1"/>
          </p:cNvSpPr>
          <p:nvPr/>
        </p:nvSpPr>
        <p:spPr bwMode="auto">
          <a:xfrm>
            <a:off x="10992118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00" name="Group 899"/>
          <p:cNvGrpSpPr/>
          <p:nvPr/>
        </p:nvGrpSpPr>
        <p:grpSpPr>
          <a:xfrm>
            <a:off x="10535951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901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2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3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4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5" name="Freeform 153"/>
          <p:cNvSpPr>
            <a:spLocks/>
          </p:cNvSpPr>
          <p:nvPr/>
        </p:nvSpPr>
        <p:spPr bwMode="auto">
          <a:xfrm>
            <a:off x="11364191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86" name="Oval 154"/>
          <p:cNvSpPr>
            <a:spLocks noChangeArrowheads="1"/>
          </p:cNvSpPr>
          <p:nvPr/>
        </p:nvSpPr>
        <p:spPr bwMode="auto">
          <a:xfrm>
            <a:off x="11407836" y="3436358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87" name="Freeform 159"/>
          <p:cNvSpPr>
            <a:spLocks/>
          </p:cNvSpPr>
          <p:nvPr/>
        </p:nvSpPr>
        <p:spPr bwMode="auto">
          <a:xfrm>
            <a:off x="11977343" y="3541953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88" name="Oval 160"/>
          <p:cNvSpPr>
            <a:spLocks noChangeArrowheads="1"/>
          </p:cNvSpPr>
          <p:nvPr/>
        </p:nvSpPr>
        <p:spPr bwMode="auto">
          <a:xfrm>
            <a:off x="12022397" y="3436358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89" name="Group 888"/>
          <p:cNvGrpSpPr/>
          <p:nvPr/>
        </p:nvGrpSpPr>
        <p:grpSpPr>
          <a:xfrm>
            <a:off x="11566229" y="3436358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89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47" name="Freeform 153"/>
          <p:cNvSpPr>
            <a:spLocks/>
          </p:cNvSpPr>
          <p:nvPr/>
        </p:nvSpPr>
        <p:spPr bwMode="auto">
          <a:xfrm>
            <a:off x="31173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48" name="Oval 154"/>
          <p:cNvSpPr>
            <a:spLocks noChangeArrowheads="1"/>
          </p:cNvSpPr>
          <p:nvPr/>
        </p:nvSpPr>
        <p:spPr bwMode="auto">
          <a:xfrm>
            <a:off x="74818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49" name="Freeform 157"/>
          <p:cNvSpPr>
            <a:spLocks/>
          </p:cNvSpPr>
          <p:nvPr/>
        </p:nvSpPr>
        <p:spPr bwMode="auto">
          <a:xfrm>
            <a:off x="849882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50" name="Oval 158"/>
          <p:cNvSpPr>
            <a:spLocks noChangeArrowheads="1"/>
          </p:cNvSpPr>
          <p:nvPr/>
        </p:nvSpPr>
        <p:spPr bwMode="auto">
          <a:xfrm>
            <a:off x="893527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51" name="Freeform 159"/>
          <p:cNvSpPr>
            <a:spLocks/>
          </p:cNvSpPr>
          <p:nvPr/>
        </p:nvSpPr>
        <p:spPr bwMode="auto">
          <a:xfrm>
            <a:off x="644325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52" name="Oval 160"/>
          <p:cNvSpPr>
            <a:spLocks noChangeArrowheads="1"/>
          </p:cNvSpPr>
          <p:nvPr/>
        </p:nvSpPr>
        <p:spPr bwMode="auto">
          <a:xfrm>
            <a:off x="689378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153" name="Group 1152"/>
          <p:cNvGrpSpPr/>
          <p:nvPr/>
        </p:nvGrpSpPr>
        <p:grpSpPr>
          <a:xfrm>
            <a:off x="233211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15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5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36" name="Freeform 153"/>
          <p:cNvSpPr>
            <a:spLocks/>
          </p:cNvSpPr>
          <p:nvPr/>
        </p:nvSpPr>
        <p:spPr bwMode="auto">
          <a:xfrm>
            <a:off x="1061447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37" name="Oval 154"/>
          <p:cNvSpPr>
            <a:spLocks noChangeArrowheads="1"/>
          </p:cNvSpPr>
          <p:nvPr/>
        </p:nvSpPr>
        <p:spPr bwMode="auto">
          <a:xfrm>
            <a:off x="1105092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38" name="Freeform 157"/>
          <p:cNvSpPr>
            <a:spLocks/>
          </p:cNvSpPr>
          <p:nvPr/>
        </p:nvSpPr>
        <p:spPr bwMode="auto">
          <a:xfrm>
            <a:off x="1880156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39" name="Oval 158"/>
          <p:cNvSpPr>
            <a:spLocks noChangeArrowheads="1"/>
          </p:cNvSpPr>
          <p:nvPr/>
        </p:nvSpPr>
        <p:spPr bwMode="auto">
          <a:xfrm>
            <a:off x="1923801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40" name="Freeform 159"/>
          <p:cNvSpPr>
            <a:spLocks/>
          </p:cNvSpPr>
          <p:nvPr/>
        </p:nvSpPr>
        <p:spPr bwMode="auto">
          <a:xfrm>
            <a:off x="1674599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41" name="Oval 160"/>
          <p:cNvSpPr>
            <a:spLocks noChangeArrowheads="1"/>
          </p:cNvSpPr>
          <p:nvPr/>
        </p:nvSpPr>
        <p:spPr bwMode="auto">
          <a:xfrm>
            <a:off x="1719652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142" name="Group 1141"/>
          <p:cNvGrpSpPr/>
          <p:nvPr/>
        </p:nvGrpSpPr>
        <p:grpSpPr>
          <a:xfrm>
            <a:off x="1263485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143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4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5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46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25" name="Freeform 153"/>
          <p:cNvSpPr>
            <a:spLocks/>
          </p:cNvSpPr>
          <p:nvPr/>
        </p:nvSpPr>
        <p:spPr bwMode="auto">
          <a:xfrm>
            <a:off x="2091721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26" name="Oval 154"/>
          <p:cNvSpPr>
            <a:spLocks noChangeArrowheads="1"/>
          </p:cNvSpPr>
          <p:nvPr/>
        </p:nvSpPr>
        <p:spPr bwMode="auto">
          <a:xfrm>
            <a:off x="2135366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27" name="Freeform 157"/>
          <p:cNvSpPr>
            <a:spLocks/>
          </p:cNvSpPr>
          <p:nvPr/>
        </p:nvSpPr>
        <p:spPr bwMode="auto">
          <a:xfrm>
            <a:off x="2910430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28" name="Oval 158"/>
          <p:cNvSpPr>
            <a:spLocks noChangeArrowheads="1"/>
          </p:cNvSpPr>
          <p:nvPr/>
        </p:nvSpPr>
        <p:spPr bwMode="auto">
          <a:xfrm>
            <a:off x="2954075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29" name="Freeform 159"/>
          <p:cNvSpPr>
            <a:spLocks/>
          </p:cNvSpPr>
          <p:nvPr/>
        </p:nvSpPr>
        <p:spPr bwMode="auto">
          <a:xfrm>
            <a:off x="2704873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30" name="Oval 160"/>
          <p:cNvSpPr>
            <a:spLocks noChangeArrowheads="1"/>
          </p:cNvSpPr>
          <p:nvPr/>
        </p:nvSpPr>
        <p:spPr bwMode="auto">
          <a:xfrm>
            <a:off x="2749926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131" name="Group 1130"/>
          <p:cNvGrpSpPr/>
          <p:nvPr/>
        </p:nvGrpSpPr>
        <p:grpSpPr>
          <a:xfrm>
            <a:off x="2293759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132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3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4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5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14" name="Freeform 153"/>
          <p:cNvSpPr>
            <a:spLocks/>
          </p:cNvSpPr>
          <p:nvPr/>
        </p:nvSpPr>
        <p:spPr bwMode="auto">
          <a:xfrm>
            <a:off x="3121995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15" name="Oval 154"/>
          <p:cNvSpPr>
            <a:spLocks noChangeArrowheads="1"/>
          </p:cNvSpPr>
          <p:nvPr/>
        </p:nvSpPr>
        <p:spPr bwMode="auto">
          <a:xfrm>
            <a:off x="3165640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16" name="Freeform 157"/>
          <p:cNvSpPr>
            <a:spLocks/>
          </p:cNvSpPr>
          <p:nvPr/>
        </p:nvSpPr>
        <p:spPr bwMode="auto">
          <a:xfrm>
            <a:off x="3940704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17" name="Oval 158"/>
          <p:cNvSpPr>
            <a:spLocks noChangeArrowheads="1"/>
          </p:cNvSpPr>
          <p:nvPr/>
        </p:nvSpPr>
        <p:spPr bwMode="auto">
          <a:xfrm>
            <a:off x="3984349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18" name="Freeform 159"/>
          <p:cNvSpPr>
            <a:spLocks/>
          </p:cNvSpPr>
          <p:nvPr/>
        </p:nvSpPr>
        <p:spPr bwMode="auto">
          <a:xfrm>
            <a:off x="3735147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19" name="Oval 160"/>
          <p:cNvSpPr>
            <a:spLocks noChangeArrowheads="1"/>
          </p:cNvSpPr>
          <p:nvPr/>
        </p:nvSpPr>
        <p:spPr bwMode="auto">
          <a:xfrm>
            <a:off x="3780200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120" name="Group 1119"/>
          <p:cNvGrpSpPr/>
          <p:nvPr/>
        </p:nvGrpSpPr>
        <p:grpSpPr>
          <a:xfrm>
            <a:off x="3324033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121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2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3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4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03" name="Freeform 153"/>
          <p:cNvSpPr>
            <a:spLocks/>
          </p:cNvSpPr>
          <p:nvPr/>
        </p:nvSpPr>
        <p:spPr bwMode="auto">
          <a:xfrm>
            <a:off x="4152269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04" name="Oval 154"/>
          <p:cNvSpPr>
            <a:spLocks noChangeArrowheads="1"/>
          </p:cNvSpPr>
          <p:nvPr/>
        </p:nvSpPr>
        <p:spPr bwMode="auto">
          <a:xfrm>
            <a:off x="4195914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05" name="Freeform 157"/>
          <p:cNvSpPr>
            <a:spLocks/>
          </p:cNvSpPr>
          <p:nvPr/>
        </p:nvSpPr>
        <p:spPr bwMode="auto">
          <a:xfrm>
            <a:off x="4970978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06" name="Oval 158"/>
          <p:cNvSpPr>
            <a:spLocks noChangeArrowheads="1"/>
          </p:cNvSpPr>
          <p:nvPr/>
        </p:nvSpPr>
        <p:spPr bwMode="auto">
          <a:xfrm>
            <a:off x="5014623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07" name="Freeform 159"/>
          <p:cNvSpPr>
            <a:spLocks/>
          </p:cNvSpPr>
          <p:nvPr/>
        </p:nvSpPr>
        <p:spPr bwMode="auto">
          <a:xfrm>
            <a:off x="4765421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08" name="Oval 160"/>
          <p:cNvSpPr>
            <a:spLocks noChangeArrowheads="1"/>
          </p:cNvSpPr>
          <p:nvPr/>
        </p:nvSpPr>
        <p:spPr bwMode="auto">
          <a:xfrm>
            <a:off x="4810474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109" name="Group 1108"/>
          <p:cNvGrpSpPr/>
          <p:nvPr/>
        </p:nvGrpSpPr>
        <p:grpSpPr>
          <a:xfrm>
            <a:off x="4354307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110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1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2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3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92" name="Freeform 153"/>
          <p:cNvSpPr>
            <a:spLocks/>
          </p:cNvSpPr>
          <p:nvPr/>
        </p:nvSpPr>
        <p:spPr bwMode="auto">
          <a:xfrm>
            <a:off x="5182543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93" name="Oval 154"/>
          <p:cNvSpPr>
            <a:spLocks noChangeArrowheads="1"/>
          </p:cNvSpPr>
          <p:nvPr/>
        </p:nvSpPr>
        <p:spPr bwMode="auto">
          <a:xfrm>
            <a:off x="5226188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94" name="Freeform 157"/>
          <p:cNvSpPr>
            <a:spLocks/>
          </p:cNvSpPr>
          <p:nvPr/>
        </p:nvSpPr>
        <p:spPr bwMode="auto">
          <a:xfrm>
            <a:off x="6001252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95" name="Oval 158"/>
          <p:cNvSpPr>
            <a:spLocks noChangeArrowheads="1"/>
          </p:cNvSpPr>
          <p:nvPr/>
        </p:nvSpPr>
        <p:spPr bwMode="auto">
          <a:xfrm>
            <a:off x="6044897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96" name="Freeform 159"/>
          <p:cNvSpPr>
            <a:spLocks/>
          </p:cNvSpPr>
          <p:nvPr/>
        </p:nvSpPr>
        <p:spPr bwMode="auto">
          <a:xfrm>
            <a:off x="5795695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97" name="Oval 160"/>
          <p:cNvSpPr>
            <a:spLocks noChangeArrowheads="1"/>
          </p:cNvSpPr>
          <p:nvPr/>
        </p:nvSpPr>
        <p:spPr bwMode="auto">
          <a:xfrm>
            <a:off x="5840748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98" name="Group 1097"/>
          <p:cNvGrpSpPr/>
          <p:nvPr/>
        </p:nvGrpSpPr>
        <p:grpSpPr>
          <a:xfrm>
            <a:off x="5384581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99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0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1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2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81" name="Freeform 153"/>
          <p:cNvSpPr>
            <a:spLocks/>
          </p:cNvSpPr>
          <p:nvPr/>
        </p:nvSpPr>
        <p:spPr bwMode="auto">
          <a:xfrm>
            <a:off x="6212817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82" name="Oval 154"/>
          <p:cNvSpPr>
            <a:spLocks noChangeArrowheads="1"/>
          </p:cNvSpPr>
          <p:nvPr/>
        </p:nvSpPr>
        <p:spPr bwMode="auto">
          <a:xfrm>
            <a:off x="6256462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83" name="Freeform 157"/>
          <p:cNvSpPr>
            <a:spLocks/>
          </p:cNvSpPr>
          <p:nvPr/>
        </p:nvSpPr>
        <p:spPr bwMode="auto">
          <a:xfrm>
            <a:off x="7031526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84" name="Oval 158"/>
          <p:cNvSpPr>
            <a:spLocks noChangeArrowheads="1"/>
          </p:cNvSpPr>
          <p:nvPr/>
        </p:nvSpPr>
        <p:spPr bwMode="auto">
          <a:xfrm>
            <a:off x="7075171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85" name="Freeform 159"/>
          <p:cNvSpPr>
            <a:spLocks/>
          </p:cNvSpPr>
          <p:nvPr/>
        </p:nvSpPr>
        <p:spPr bwMode="auto">
          <a:xfrm>
            <a:off x="6825969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86" name="Oval 160"/>
          <p:cNvSpPr>
            <a:spLocks noChangeArrowheads="1"/>
          </p:cNvSpPr>
          <p:nvPr/>
        </p:nvSpPr>
        <p:spPr bwMode="auto">
          <a:xfrm>
            <a:off x="6871022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87" name="Group 1086"/>
          <p:cNvGrpSpPr/>
          <p:nvPr/>
        </p:nvGrpSpPr>
        <p:grpSpPr>
          <a:xfrm>
            <a:off x="6414855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88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9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0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1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70" name="Freeform 153"/>
          <p:cNvSpPr>
            <a:spLocks/>
          </p:cNvSpPr>
          <p:nvPr/>
        </p:nvSpPr>
        <p:spPr bwMode="auto">
          <a:xfrm>
            <a:off x="7243091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71" name="Oval 154"/>
          <p:cNvSpPr>
            <a:spLocks noChangeArrowheads="1"/>
          </p:cNvSpPr>
          <p:nvPr/>
        </p:nvSpPr>
        <p:spPr bwMode="auto">
          <a:xfrm>
            <a:off x="7286736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72" name="Freeform 157"/>
          <p:cNvSpPr>
            <a:spLocks/>
          </p:cNvSpPr>
          <p:nvPr/>
        </p:nvSpPr>
        <p:spPr bwMode="auto">
          <a:xfrm>
            <a:off x="8061800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73" name="Oval 158"/>
          <p:cNvSpPr>
            <a:spLocks noChangeArrowheads="1"/>
          </p:cNvSpPr>
          <p:nvPr/>
        </p:nvSpPr>
        <p:spPr bwMode="auto">
          <a:xfrm>
            <a:off x="8105445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74" name="Freeform 159"/>
          <p:cNvSpPr>
            <a:spLocks/>
          </p:cNvSpPr>
          <p:nvPr/>
        </p:nvSpPr>
        <p:spPr bwMode="auto">
          <a:xfrm>
            <a:off x="7856243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75" name="Oval 160"/>
          <p:cNvSpPr>
            <a:spLocks noChangeArrowheads="1"/>
          </p:cNvSpPr>
          <p:nvPr/>
        </p:nvSpPr>
        <p:spPr bwMode="auto">
          <a:xfrm>
            <a:off x="7901296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76" name="Group 1075"/>
          <p:cNvGrpSpPr/>
          <p:nvPr/>
        </p:nvGrpSpPr>
        <p:grpSpPr>
          <a:xfrm>
            <a:off x="7445129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77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8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9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0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59" name="Freeform 153"/>
          <p:cNvSpPr>
            <a:spLocks/>
          </p:cNvSpPr>
          <p:nvPr/>
        </p:nvSpPr>
        <p:spPr bwMode="auto">
          <a:xfrm>
            <a:off x="8273365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60" name="Oval 154"/>
          <p:cNvSpPr>
            <a:spLocks noChangeArrowheads="1"/>
          </p:cNvSpPr>
          <p:nvPr/>
        </p:nvSpPr>
        <p:spPr bwMode="auto">
          <a:xfrm>
            <a:off x="8317010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61" name="Freeform 157"/>
          <p:cNvSpPr>
            <a:spLocks/>
          </p:cNvSpPr>
          <p:nvPr/>
        </p:nvSpPr>
        <p:spPr bwMode="auto">
          <a:xfrm>
            <a:off x="9092074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62" name="Oval 158"/>
          <p:cNvSpPr>
            <a:spLocks noChangeArrowheads="1"/>
          </p:cNvSpPr>
          <p:nvPr/>
        </p:nvSpPr>
        <p:spPr bwMode="auto">
          <a:xfrm>
            <a:off x="9135719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63" name="Freeform 159"/>
          <p:cNvSpPr>
            <a:spLocks/>
          </p:cNvSpPr>
          <p:nvPr/>
        </p:nvSpPr>
        <p:spPr bwMode="auto">
          <a:xfrm>
            <a:off x="8886517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64" name="Oval 160"/>
          <p:cNvSpPr>
            <a:spLocks noChangeArrowheads="1"/>
          </p:cNvSpPr>
          <p:nvPr/>
        </p:nvSpPr>
        <p:spPr bwMode="auto">
          <a:xfrm>
            <a:off x="8931570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65" name="Group 1064"/>
          <p:cNvGrpSpPr/>
          <p:nvPr/>
        </p:nvGrpSpPr>
        <p:grpSpPr>
          <a:xfrm>
            <a:off x="8475403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66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7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8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9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8" name="Freeform 153"/>
          <p:cNvSpPr>
            <a:spLocks/>
          </p:cNvSpPr>
          <p:nvPr/>
        </p:nvSpPr>
        <p:spPr bwMode="auto">
          <a:xfrm>
            <a:off x="9303639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49" name="Oval 154"/>
          <p:cNvSpPr>
            <a:spLocks noChangeArrowheads="1"/>
          </p:cNvSpPr>
          <p:nvPr/>
        </p:nvSpPr>
        <p:spPr bwMode="auto">
          <a:xfrm>
            <a:off x="9347284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50" name="Freeform 157"/>
          <p:cNvSpPr>
            <a:spLocks/>
          </p:cNvSpPr>
          <p:nvPr/>
        </p:nvSpPr>
        <p:spPr bwMode="auto">
          <a:xfrm>
            <a:off x="10122348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51" name="Oval 158"/>
          <p:cNvSpPr>
            <a:spLocks noChangeArrowheads="1"/>
          </p:cNvSpPr>
          <p:nvPr/>
        </p:nvSpPr>
        <p:spPr bwMode="auto">
          <a:xfrm>
            <a:off x="10165993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52" name="Freeform 159"/>
          <p:cNvSpPr>
            <a:spLocks/>
          </p:cNvSpPr>
          <p:nvPr/>
        </p:nvSpPr>
        <p:spPr bwMode="auto">
          <a:xfrm>
            <a:off x="9916791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53" name="Oval 160"/>
          <p:cNvSpPr>
            <a:spLocks noChangeArrowheads="1"/>
          </p:cNvSpPr>
          <p:nvPr/>
        </p:nvSpPr>
        <p:spPr bwMode="auto">
          <a:xfrm>
            <a:off x="9961844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54" name="Group 1053"/>
          <p:cNvGrpSpPr/>
          <p:nvPr/>
        </p:nvGrpSpPr>
        <p:grpSpPr>
          <a:xfrm>
            <a:off x="9505677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55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6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7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8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37" name="Freeform 153"/>
          <p:cNvSpPr>
            <a:spLocks/>
          </p:cNvSpPr>
          <p:nvPr/>
        </p:nvSpPr>
        <p:spPr bwMode="auto">
          <a:xfrm>
            <a:off x="10333913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38" name="Oval 154"/>
          <p:cNvSpPr>
            <a:spLocks noChangeArrowheads="1"/>
          </p:cNvSpPr>
          <p:nvPr/>
        </p:nvSpPr>
        <p:spPr bwMode="auto">
          <a:xfrm>
            <a:off x="10377558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39" name="Freeform 157"/>
          <p:cNvSpPr>
            <a:spLocks/>
          </p:cNvSpPr>
          <p:nvPr/>
        </p:nvSpPr>
        <p:spPr bwMode="auto">
          <a:xfrm>
            <a:off x="11152622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19 w 109"/>
              <a:gd name="T11" fmla="*/ 104 h 213"/>
              <a:gd name="T12" fmla="*/ 19 w 109"/>
              <a:gd name="T13" fmla="*/ 35 h 213"/>
              <a:gd name="T14" fmla="*/ 21 w 109"/>
              <a:gd name="T15" fmla="*/ 33 h 213"/>
              <a:gd name="T16" fmla="*/ 21 w 109"/>
              <a:gd name="T17" fmla="*/ 33 h 213"/>
              <a:gd name="T18" fmla="*/ 23 w 109"/>
              <a:gd name="T19" fmla="*/ 35 h 213"/>
              <a:gd name="T20" fmla="*/ 23 w 109"/>
              <a:gd name="T21" fmla="*/ 198 h 213"/>
              <a:gd name="T22" fmla="*/ 37 w 109"/>
              <a:gd name="T23" fmla="*/ 213 h 213"/>
              <a:gd name="T24" fmla="*/ 52 w 109"/>
              <a:gd name="T25" fmla="*/ 198 h 213"/>
              <a:gd name="T26" fmla="*/ 52 w 109"/>
              <a:gd name="T27" fmla="*/ 116 h 213"/>
              <a:gd name="T28" fmla="*/ 54 w 109"/>
              <a:gd name="T29" fmla="*/ 114 h 213"/>
              <a:gd name="T30" fmla="*/ 54 w 109"/>
              <a:gd name="T31" fmla="*/ 114 h 213"/>
              <a:gd name="T32" fmla="*/ 56 w 109"/>
              <a:gd name="T33" fmla="*/ 116 h 213"/>
              <a:gd name="T34" fmla="*/ 56 w 109"/>
              <a:gd name="T35" fmla="*/ 198 h 213"/>
              <a:gd name="T36" fmla="*/ 70 w 109"/>
              <a:gd name="T37" fmla="*/ 213 h 213"/>
              <a:gd name="T38" fmla="*/ 85 w 109"/>
              <a:gd name="T39" fmla="*/ 198 h 213"/>
              <a:gd name="T40" fmla="*/ 85 w 109"/>
              <a:gd name="T41" fmla="*/ 35 h 213"/>
              <a:gd name="T42" fmla="*/ 87 w 109"/>
              <a:gd name="T43" fmla="*/ 33 h 213"/>
              <a:gd name="T44" fmla="*/ 87 w 109"/>
              <a:gd name="T45" fmla="*/ 33 h 213"/>
              <a:gd name="T46" fmla="*/ 89 w 109"/>
              <a:gd name="T47" fmla="*/ 35 h 213"/>
              <a:gd name="T48" fmla="*/ 89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6" y="100"/>
                  <a:pt x="16" y="106"/>
                </a:cubicBezTo>
                <a:cubicBezTo>
                  <a:pt x="17" y="107"/>
                  <a:pt x="19" y="105"/>
                  <a:pt x="19" y="10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4"/>
                  <a:pt x="20" y="33"/>
                  <a:pt x="21" y="33"/>
                </a:cubicBezTo>
                <a:cubicBezTo>
                  <a:pt x="21" y="33"/>
                  <a:pt x="21" y="33"/>
                  <a:pt x="21" y="33"/>
                </a:cubicBezTo>
                <a:cubicBezTo>
                  <a:pt x="23" y="33"/>
                  <a:pt x="23" y="34"/>
                  <a:pt x="23" y="35"/>
                </a:cubicBezTo>
                <a:cubicBezTo>
                  <a:pt x="23" y="198"/>
                  <a:pt x="23" y="198"/>
                  <a:pt x="23" y="198"/>
                </a:cubicBezTo>
                <a:cubicBezTo>
                  <a:pt x="23" y="206"/>
                  <a:pt x="30" y="213"/>
                  <a:pt x="37" y="213"/>
                </a:cubicBezTo>
                <a:cubicBezTo>
                  <a:pt x="46" y="213"/>
                  <a:pt x="52" y="207"/>
                  <a:pt x="52" y="198"/>
                </a:cubicBezTo>
                <a:cubicBezTo>
                  <a:pt x="52" y="116"/>
                  <a:pt x="52" y="116"/>
                  <a:pt x="52" y="116"/>
                </a:cubicBezTo>
                <a:cubicBezTo>
                  <a:pt x="52" y="115"/>
                  <a:pt x="53" y="114"/>
                  <a:pt x="54" y="114"/>
                </a:cubicBezTo>
                <a:cubicBezTo>
                  <a:pt x="54" y="114"/>
                  <a:pt x="54" y="114"/>
                  <a:pt x="54" y="114"/>
                </a:cubicBezTo>
                <a:cubicBezTo>
                  <a:pt x="55" y="114"/>
                  <a:pt x="56" y="115"/>
                  <a:pt x="56" y="116"/>
                </a:cubicBezTo>
                <a:cubicBezTo>
                  <a:pt x="56" y="198"/>
                  <a:pt x="56" y="198"/>
                  <a:pt x="56" y="198"/>
                </a:cubicBezTo>
                <a:cubicBezTo>
                  <a:pt x="56" y="206"/>
                  <a:pt x="62" y="213"/>
                  <a:pt x="70" y="213"/>
                </a:cubicBezTo>
                <a:cubicBezTo>
                  <a:pt x="79" y="213"/>
                  <a:pt x="85" y="207"/>
                  <a:pt x="85" y="198"/>
                </a:cubicBezTo>
                <a:cubicBezTo>
                  <a:pt x="85" y="35"/>
                  <a:pt x="85" y="35"/>
                  <a:pt x="85" y="35"/>
                </a:cubicBezTo>
                <a:cubicBezTo>
                  <a:pt x="85" y="34"/>
                  <a:pt x="86" y="33"/>
                  <a:pt x="87" y="33"/>
                </a:cubicBezTo>
                <a:cubicBezTo>
                  <a:pt x="87" y="33"/>
                  <a:pt x="87" y="33"/>
                  <a:pt x="87" y="33"/>
                </a:cubicBezTo>
                <a:cubicBezTo>
                  <a:pt x="88" y="33"/>
                  <a:pt x="89" y="34"/>
                  <a:pt x="89" y="35"/>
                </a:cubicBezTo>
                <a:cubicBezTo>
                  <a:pt x="89" y="103"/>
                  <a:pt x="89" y="103"/>
                  <a:pt x="89" y="103"/>
                </a:cubicBezTo>
                <a:cubicBezTo>
                  <a:pt x="89" y="105"/>
                  <a:pt x="91" y="106"/>
                  <a:pt x="93" y="105"/>
                </a:cubicBezTo>
                <a:cubicBezTo>
                  <a:pt x="102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4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40" name="Oval 158"/>
          <p:cNvSpPr>
            <a:spLocks noChangeArrowheads="1"/>
          </p:cNvSpPr>
          <p:nvPr/>
        </p:nvSpPr>
        <p:spPr bwMode="auto">
          <a:xfrm>
            <a:off x="11196267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41" name="Freeform 159"/>
          <p:cNvSpPr>
            <a:spLocks/>
          </p:cNvSpPr>
          <p:nvPr/>
        </p:nvSpPr>
        <p:spPr bwMode="auto">
          <a:xfrm>
            <a:off x="10947065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42" name="Oval 160"/>
          <p:cNvSpPr>
            <a:spLocks noChangeArrowheads="1"/>
          </p:cNvSpPr>
          <p:nvPr/>
        </p:nvSpPr>
        <p:spPr bwMode="auto">
          <a:xfrm>
            <a:off x="10992118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43" name="Group 1042"/>
          <p:cNvGrpSpPr/>
          <p:nvPr/>
        </p:nvGrpSpPr>
        <p:grpSpPr>
          <a:xfrm>
            <a:off x="10535951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44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5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6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7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28" name="Freeform 153"/>
          <p:cNvSpPr>
            <a:spLocks/>
          </p:cNvSpPr>
          <p:nvPr/>
        </p:nvSpPr>
        <p:spPr bwMode="auto">
          <a:xfrm>
            <a:off x="11364191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3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3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9" name="Oval 154"/>
          <p:cNvSpPr>
            <a:spLocks noChangeArrowheads="1"/>
          </p:cNvSpPr>
          <p:nvPr/>
        </p:nvSpPr>
        <p:spPr bwMode="auto">
          <a:xfrm>
            <a:off x="11407836" y="3938585"/>
            <a:ext cx="95035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30" name="Freeform 159"/>
          <p:cNvSpPr>
            <a:spLocks/>
          </p:cNvSpPr>
          <p:nvPr/>
        </p:nvSpPr>
        <p:spPr bwMode="auto">
          <a:xfrm>
            <a:off x="11977343" y="4044180"/>
            <a:ext cx="182326" cy="355501"/>
          </a:xfrm>
          <a:custGeom>
            <a:avLst/>
            <a:gdLst>
              <a:gd name="T0" fmla="*/ 77 w 109"/>
              <a:gd name="T1" fmla="*/ 0 h 213"/>
              <a:gd name="T2" fmla="*/ 32 w 109"/>
              <a:gd name="T3" fmla="*/ 0 h 213"/>
              <a:gd name="T4" fmla="*/ 0 w 109"/>
              <a:gd name="T5" fmla="*/ 32 h 213"/>
              <a:gd name="T6" fmla="*/ 0 w 109"/>
              <a:gd name="T7" fmla="*/ 78 h 213"/>
              <a:gd name="T8" fmla="*/ 16 w 109"/>
              <a:gd name="T9" fmla="*/ 106 h 213"/>
              <a:gd name="T10" fmla="*/ 20 w 109"/>
              <a:gd name="T11" fmla="*/ 104 h 213"/>
              <a:gd name="T12" fmla="*/ 20 w 109"/>
              <a:gd name="T13" fmla="*/ 35 h 213"/>
              <a:gd name="T14" fmla="*/ 22 w 109"/>
              <a:gd name="T15" fmla="*/ 33 h 213"/>
              <a:gd name="T16" fmla="*/ 22 w 109"/>
              <a:gd name="T17" fmla="*/ 33 h 213"/>
              <a:gd name="T18" fmla="*/ 24 w 109"/>
              <a:gd name="T19" fmla="*/ 35 h 213"/>
              <a:gd name="T20" fmla="*/ 24 w 109"/>
              <a:gd name="T21" fmla="*/ 198 h 213"/>
              <a:gd name="T22" fmla="*/ 38 w 109"/>
              <a:gd name="T23" fmla="*/ 213 h 213"/>
              <a:gd name="T24" fmla="*/ 53 w 109"/>
              <a:gd name="T25" fmla="*/ 198 h 213"/>
              <a:gd name="T26" fmla="*/ 53 w 109"/>
              <a:gd name="T27" fmla="*/ 116 h 213"/>
              <a:gd name="T28" fmla="*/ 55 w 109"/>
              <a:gd name="T29" fmla="*/ 114 h 213"/>
              <a:gd name="T30" fmla="*/ 55 w 109"/>
              <a:gd name="T31" fmla="*/ 114 h 213"/>
              <a:gd name="T32" fmla="*/ 57 w 109"/>
              <a:gd name="T33" fmla="*/ 116 h 213"/>
              <a:gd name="T34" fmla="*/ 57 w 109"/>
              <a:gd name="T35" fmla="*/ 198 h 213"/>
              <a:gd name="T36" fmla="*/ 71 w 109"/>
              <a:gd name="T37" fmla="*/ 213 h 213"/>
              <a:gd name="T38" fmla="*/ 86 w 109"/>
              <a:gd name="T39" fmla="*/ 198 h 213"/>
              <a:gd name="T40" fmla="*/ 86 w 109"/>
              <a:gd name="T41" fmla="*/ 35 h 213"/>
              <a:gd name="T42" fmla="*/ 88 w 109"/>
              <a:gd name="T43" fmla="*/ 33 h 213"/>
              <a:gd name="T44" fmla="*/ 88 w 109"/>
              <a:gd name="T45" fmla="*/ 33 h 213"/>
              <a:gd name="T46" fmla="*/ 90 w 109"/>
              <a:gd name="T47" fmla="*/ 35 h 213"/>
              <a:gd name="T48" fmla="*/ 90 w 109"/>
              <a:gd name="T49" fmla="*/ 103 h 213"/>
              <a:gd name="T50" fmla="*/ 94 w 109"/>
              <a:gd name="T51" fmla="*/ 105 h 213"/>
              <a:gd name="T52" fmla="*/ 109 w 109"/>
              <a:gd name="T53" fmla="*/ 78 h 213"/>
              <a:gd name="T54" fmla="*/ 109 w 109"/>
              <a:gd name="T55" fmla="*/ 32 h 213"/>
              <a:gd name="T56" fmla="*/ 77 w 109"/>
              <a:gd name="T57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9" h="213">
                <a:moveTo>
                  <a:pt x="77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5"/>
                  <a:pt x="0" y="32"/>
                </a:cubicBezTo>
                <a:cubicBezTo>
                  <a:pt x="0" y="78"/>
                  <a:pt x="0" y="78"/>
                  <a:pt x="0" y="78"/>
                </a:cubicBezTo>
                <a:cubicBezTo>
                  <a:pt x="0" y="90"/>
                  <a:pt x="7" y="100"/>
                  <a:pt x="16" y="106"/>
                </a:cubicBezTo>
                <a:cubicBezTo>
                  <a:pt x="18" y="107"/>
                  <a:pt x="20" y="105"/>
                  <a:pt x="20" y="104"/>
                </a:cubicBezTo>
                <a:cubicBezTo>
                  <a:pt x="20" y="35"/>
                  <a:pt x="20" y="35"/>
                  <a:pt x="20" y="35"/>
                </a:cubicBezTo>
                <a:cubicBezTo>
                  <a:pt x="20" y="34"/>
                  <a:pt x="21" y="33"/>
                  <a:pt x="22" y="33"/>
                </a:cubicBezTo>
                <a:cubicBezTo>
                  <a:pt x="22" y="33"/>
                  <a:pt x="22" y="33"/>
                  <a:pt x="22" y="33"/>
                </a:cubicBezTo>
                <a:cubicBezTo>
                  <a:pt x="23" y="33"/>
                  <a:pt x="24" y="34"/>
                  <a:pt x="24" y="35"/>
                </a:cubicBezTo>
                <a:cubicBezTo>
                  <a:pt x="24" y="198"/>
                  <a:pt x="24" y="198"/>
                  <a:pt x="24" y="198"/>
                </a:cubicBezTo>
                <a:cubicBezTo>
                  <a:pt x="24" y="206"/>
                  <a:pt x="30" y="213"/>
                  <a:pt x="38" y="213"/>
                </a:cubicBezTo>
                <a:cubicBezTo>
                  <a:pt x="46" y="213"/>
                  <a:pt x="53" y="207"/>
                  <a:pt x="53" y="198"/>
                </a:cubicBezTo>
                <a:cubicBezTo>
                  <a:pt x="53" y="116"/>
                  <a:pt x="53" y="116"/>
                  <a:pt x="53" y="116"/>
                </a:cubicBezTo>
                <a:cubicBezTo>
                  <a:pt x="53" y="115"/>
                  <a:pt x="54" y="114"/>
                  <a:pt x="55" y="114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56" y="114"/>
                  <a:pt x="57" y="115"/>
                  <a:pt x="57" y="116"/>
                </a:cubicBezTo>
                <a:cubicBezTo>
                  <a:pt x="57" y="198"/>
                  <a:pt x="57" y="198"/>
                  <a:pt x="57" y="198"/>
                </a:cubicBezTo>
                <a:cubicBezTo>
                  <a:pt x="57" y="206"/>
                  <a:pt x="63" y="213"/>
                  <a:pt x="71" y="213"/>
                </a:cubicBezTo>
                <a:cubicBezTo>
                  <a:pt x="79" y="213"/>
                  <a:pt x="86" y="207"/>
                  <a:pt x="86" y="198"/>
                </a:cubicBezTo>
                <a:cubicBezTo>
                  <a:pt x="86" y="35"/>
                  <a:pt x="86" y="35"/>
                  <a:pt x="86" y="35"/>
                </a:cubicBezTo>
                <a:cubicBezTo>
                  <a:pt x="86" y="34"/>
                  <a:pt x="87" y="33"/>
                  <a:pt x="88" y="33"/>
                </a:cubicBezTo>
                <a:cubicBezTo>
                  <a:pt x="88" y="33"/>
                  <a:pt x="88" y="33"/>
                  <a:pt x="88" y="33"/>
                </a:cubicBezTo>
                <a:cubicBezTo>
                  <a:pt x="89" y="33"/>
                  <a:pt x="90" y="34"/>
                  <a:pt x="90" y="35"/>
                </a:cubicBezTo>
                <a:cubicBezTo>
                  <a:pt x="90" y="103"/>
                  <a:pt x="90" y="103"/>
                  <a:pt x="90" y="103"/>
                </a:cubicBezTo>
                <a:cubicBezTo>
                  <a:pt x="90" y="105"/>
                  <a:pt x="92" y="106"/>
                  <a:pt x="94" y="105"/>
                </a:cubicBezTo>
                <a:cubicBezTo>
                  <a:pt x="103" y="100"/>
                  <a:pt x="109" y="90"/>
                  <a:pt x="109" y="78"/>
                </a:cubicBezTo>
                <a:cubicBezTo>
                  <a:pt x="109" y="32"/>
                  <a:pt x="109" y="32"/>
                  <a:pt x="109" y="32"/>
                </a:cubicBezTo>
                <a:cubicBezTo>
                  <a:pt x="109" y="15"/>
                  <a:pt x="95" y="0"/>
                  <a:pt x="77" y="0"/>
                </a:cubicBezTo>
                <a:close/>
              </a:path>
            </a:pathLst>
          </a:cu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31" name="Oval 160"/>
          <p:cNvSpPr>
            <a:spLocks noChangeArrowheads="1"/>
          </p:cNvSpPr>
          <p:nvPr/>
        </p:nvSpPr>
        <p:spPr bwMode="auto">
          <a:xfrm>
            <a:off x="12022397" y="3938585"/>
            <a:ext cx="93627" cy="93627"/>
          </a:xfrm>
          <a:prstGeom prst="ellipse">
            <a:avLst/>
          </a:prstGeom>
          <a:solidFill>
            <a:srgbClr val="173F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032" name="Group 1031"/>
          <p:cNvGrpSpPr/>
          <p:nvPr/>
        </p:nvGrpSpPr>
        <p:grpSpPr>
          <a:xfrm>
            <a:off x="11566229" y="3938585"/>
            <a:ext cx="401258" cy="461095"/>
            <a:chOff x="629950" y="2421868"/>
            <a:chExt cx="514492" cy="591215"/>
          </a:xfrm>
          <a:solidFill>
            <a:srgbClr val="173F49"/>
          </a:solidFill>
        </p:grpSpPr>
        <p:sp>
          <p:nvSpPr>
            <p:cNvPr id="1033" name="Oval 165"/>
            <p:cNvSpPr>
              <a:spLocks noChangeArrowheads="1"/>
            </p:cNvSpPr>
            <p:nvPr/>
          </p:nvSpPr>
          <p:spPr bwMode="auto">
            <a:xfrm>
              <a:off x="958503" y="2421868"/>
              <a:ext cx="119146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4" name="Freeform 166"/>
            <p:cNvSpPr>
              <a:spLocks noEditPoints="1"/>
            </p:cNvSpPr>
            <p:nvPr/>
          </p:nvSpPr>
          <p:spPr bwMode="auto">
            <a:xfrm>
              <a:off x="891709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2 w 118"/>
                <a:gd name="T3" fmla="*/ 102 h 213"/>
                <a:gd name="T4" fmla="*/ 113 w 118"/>
                <a:gd name="T5" fmla="*/ 78 h 213"/>
                <a:gd name="T6" fmla="*/ 113 w 118"/>
                <a:gd name="T7" fmla="*/ 32 h 213"/>
                <a:gd name="T8" fmla="*/ 81 w 118"/>
                <a:gd name="T9" fmla="*/ 0 h 213"/>
                <a:gd name="T10" fmla="*/ 36 w 118"/>
                <a:gd name="T11" fmla="*/ 0 h 213"/>
                <a:gd name="T12" fmla="*/ 4 w 118"/>
                <a:gd name="T13" fmla="*/ 32 h 213"/>
                <a:gd name="T14" fmla="*/ 4 w 118"/>
                <a:gd name="T15" fmla="*/ 78 h 213"/>
                <a:gd name="T16" fmla="*/ 15 w 118"/>
                <a:gd name="T17" fmla="*/ 102 h 213"/>
                <a:gd name="T18" fmla="*/ 0 w 118"/>
                <a:gd name="T19" fmla="*/ 142 h 213"/>
                <a:gd name="T20" fmla="*/ 28 w 118"/>
                <a:gd name="T21" fmla="*/ 142 h 213"/>
                <a:gd name="T22" fmla="*/ 28 w 118"/>
                <a:gd name="T23" fmla="*/ 198 h 213"/>
                <a:gd name="T24" fmla="*/ 42 w 118"/>
                <a:gd name="T25" fmla="*/ 213 h 213"/>
                <a:gd name="T26" fmla="*/ 57 w 118"/>
                <a:gd name="T27" fmla="*/ 198 h 213"/>
                <a:gd name="T28" fmla="*/ 57 w 118"/>
                <a:gd name="T29" fmla="*/ 142 h 213"/>
                <a:gd name="T30" fmla="*/ 61 w 118"/>
                <a:gd name="T31" fmla="*/ 142 h 213"/>
                <a:gd name="T32" fmla="*/ 61 w 118"/>
                <a:gd name="T33" fmla="*/ 198 h 213"/>
                <a:gd name="T34" fmla="*/ 75 w 118"/>
                <a:gd name="T35" fmla="*/ 213 h 213"/>
                <a:gd name="T36" fmla="*/ 90 w 118"/>
                <a:gd name="T37" fmla="*/ 198 h 213"/>
                <a:gd name="T38" fmla="*/ 90 w 118"/>
                <a:gd name="T39" fmla="*/ 142 h 213"/>
                <a:gd name="T40" fmla="*/ 118 w 118"/>
                <a:gd name="T41" fmla="*/ 142 h 213"/>
                <a:gd name="T42" fmla="*/ 92 w 118"/>
                <a:gd name="T43" fmla="*/ 33 h 213"/>
                <a:gd name="T44" fmla="*/ 92 w 118"/>
                <a:gd name="T45" fmla="*/ 33 h 213"/>
                <a:gd name="T46" fmla="*/ 94 w 118"/>
                <a:gd name="T47" fmla="*/ 35 h 213"/>
                <a:gd name="T48" fmla="*/ 94 w 118"/>
                <a:gd name="T49" fmla="*/ 81 h 213"/>
                <a:gd name="T50" fmla="*/ 90 w 118"/>
                <a:gd name="T51" fmla="*/ 70 h 213"/>
                <a:gd name="T52" fmla="*/ 90 w 118"/>
                <a:gd name="T53" fmla="*/ 35 h 213"/>
                <a:gd name="T54" fmla="*/ 92 w 118"/>
                <a:gd name="T55" fmla="*/ 33 h 213"/>
                <a:gd name="T56" fmla="*/ 24 w 118"/>
                <a:gd name="T57" fmla="*/ 80 h 213"/>
                <a:gd name="T58" fmla="*/ 24 w 118"/>
                <a:gd name="T59" fmla="*/ 35 h 213"/>
                <a:gd name="T60" fmla="*/ 26 w 118"/>
                <a:gd name="T61" fmla="*/ 33 h 213"/>
                <a:gd name="T62" fmla="*/ 28 w 118"/>
                <a:gd name="T63" fmla="*/ 35 h 213"/>
                <a:gd name="T64" fmla="*/ 28 w 118"/>
                <a:gd name="T65" fmla="*/ 69 h 213"/>
                <a:gd name="T66" fmla="*/ 24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2" y="102"/>
                    <a:pt x="102" y="102"/>
                    <a:pt x="102" y="102"/>
                  </a:cubicBezTo>
                  <a:cubicBezTo>
                    <a:pt x="109" y="96"/>
                    <a:pt x="113" y="87"/>
                    <a:pt x="113" y="78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14"/>
                    <a:pt x="99" y="0"/>
                    <a:pt x="8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9" y="0"/>
                    <a:pt x="4" y="14"/>
                    <a:pt x="4" y="32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87"/>
                    <a:pt x="9" y="96"/>
                    <a:pt x="15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8" y="142"/>
                    <a:pt x="28" y="142"/>
                    <a:pt x="28" y="142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8" y="206"/>
                    <a:pt x="34" y="212"/>
                    <a:pt x="42" y="213"/>
                  </a:cubicBezTo>
                  <a:cubicBezTo>
                    <a:pt x="50" y="213"/>
                    <a:pt x="57" y="206"/>
                    <a:pt x="57" y="198"/>
                  </a:cubicBezTo>
                  <a:cubicBezTo>
                    <a:pt x="57" y="142"/>
                    <a:pt x="57" y="142"/>
                    <a:pt x="57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1" y="198"/>
                    <a:pt x="61" y="198"/>
                    <a:pt x="61" y="198"/>
                  </a:cubicBezTo>
                  <a:cubicBezTo>
                    <a:pt x="61" y="206"/>
                    <a:pt x="67" y="212"/>
                    <a:pt x="75" y="213"/>
                  </a:cubicBezTo>
                  <a:cubicBezTo>
                    <a:pt x="83" y="213"/>
                    <a:pt x="90" y="206"/>
                    <a:pt x="90" y="198"/>
                  </a:cubicBezTo>
                  <a:cubicBezTo>
                    <a:pt x="90" y="142"/>
                    <a:pt x="90" y="142"/>
                    <a:pt x="90" y="142"/>
                  </a:cubicBezTo>
                  <a:lnTo>
                    <a:pt x="118" y="142"/>
                  </a:lnTo>
                  <a:close/>
                  <a:moveTo>
                    <a:pt x="92" y="33"/>
                  </a:move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4"/>
                    <a:pt x="94" y="35"/>
                  </a:cubicBezTo>
                  <a:cubicBezTo>
                    <a:pt x="94" y="81"/>
                    <a:pt x="94" y="81"/>
                    <a:pt x="94" y="81"/>
                  </a:cubicBezTo>
                  <a:cubicBezTo>
                    <a:pt x="90" y="70"/>
                    <a:pt x="90" y="70"/>
                    <a:pt x="90" y="70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4"/>
                    <a:pt x="91" y="33"/>
                    <a:pt x="92" y="33"/>
                  </a:cubicBezTo>
                  <a:close/>
                  <a:moveTo>
                    <a:pt x="24" y="80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5" y="33"/>
                    <a:pt x="26" y="33"/>
                  </a:cubicBezTo>
                  <a:cubicBezTo>
                    <a:pt x="27" y="33"/>
                    <a:pt x="28" y="34"/>
                    <a:pt x="28" y="35"/>
                  </a:cubicBezTo>
                  <a:cubicBezTo>
                    <a:pt x="28" y="69"/>
                    <a:pt x="28" y="69"/>
                    <a:pt x="28" y="69"/>
                  </a:cubicBezTo>
                  <a:lnTo>
                    <a:pt x="24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5" name="Oval 167"/>
            <p:cNvSpPr>
              <a:spLocks noChangeArrowheads="1"/>
            </p:cNvSpPr>
            <p:nvPr/>
          </p:nvSpPr>
          <p:spPr bwMode="auto">
            <a:xfrm>
              <a:off x="696744" y="2421868"/>
              <a:ext cx="121854" cy="12004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6" name="Freeform 168"/>
            <p:cNvSpPr>
              <a:spLocks noEditPoints="1"/>
            </p:cNvSpPr>
            <p:nvPr/>
          </p:nvSpPr>
          <p:spPr bwMode="auto">
            <a:xfrm>
              <a:off x="629950" y="2556358"/>
              <a:ext cx="252733" cy="456725"/>
            </a:xfrm>
            <a:custGeom>
              <a:avLst/>
              <a:gdLst>
                <a:gd name="T0" fmla="*/ 118 w 118"/>
                <a:gd name="T1" fmla="*/ 142 h 213"/>
                <a:gd name="T2" fmla="*/ 103 w 118"/>
                <a:gd name="T3" fmla="*/ 102 h 213"/>
                <a:gd name="T4" fmla="*/ 114 w 118"/>
                <a:gd name="T5" fmla="*/ 78 h 213"/>
                <a:gd name="T6" fmla="*/ 114 w 118"/>
                <a:gd name="T7" fmla="*/ 32 h 213"/>
                <a:gd name="T8" fmla="*/ 82 w 118"/>
                <a:gd name="T9" fmla="*/ 0 h 213"/>
                <a:gd name="T10" fmla="*/ 37 w 118"/>
                <a:gd name="T11" fmla="*/ 0 h 213"/>
                <a:gd name="T12" fmla="*/ 5 w 118"/>
                <a:gd name="T13" fmla="*/ 32 h 213"/>
                <a:gd name="T14" fmla="*/ 5 w 118"/>
                <a:gd name="T15" fmla="*/ 78 h 213"/>
                <a:gd name="T16" fmla="*/ 16 w 118"/>
                <a:gd name="T17" fmla="*/ 102 h 213"/>
                <a:gd name="T18" fmla="*/ 0 w 118"/>
                <a:gd name="T19" fmla="*/ 142 h 213"/>
                <a:gd name="T20" fmla="*/ 29 w 118"/>
                <a:gd name="T21" fmla="*/ 142 h 213"/>
                <a:gd name="T22" fmla="*/ 29 w 118"/>
                <a:gd name="T23" fmla="*/ 198 h 213"/>
                <a:gd name="T24" fmla="*/ 43 w 118"/>
                <a:gd name="T25" fmla="*/ 213 h 213"/>
                <a:gd name="T26" fmla="*/ 58 w 118"/>
                <a:gd name="T27" fmla="*/ 198 h 213"/>
                <a:gd name="T28" fmla="*/ 58 w 118"/>
                <a:gd name="T29" fmla="*/ 142 h 213"/>
                <a:gd name="T30" fmla="*/ 62 w 118"/>
                <a:gd name="T31" fmla="*/ 142 h 213"/>
                <a:gd name="T32" fmla="*/ 62 w 118"/>
                <a:gd name="T33" fmla="*/ 198 h 213"/>
                <a:gd name="T34" fmla="*/ 76 w 118"/>
                <a:gd name="T35" fmla="*/ 213 h 213"/>
                <a:gd name="T36" fmla="*/ 91 w 118"/>
                <a:gd name="T37" fmla="*/ 198 h 213"/>
                <a:gd name="T38" fmla="*/ 91 w 118"/>
                <a:gd name="T39" fmla="*/ 142 h 213"/>
                <a:gd name="T40" fmla="*/ 118 w 118"/>
                <a:gd name="T41" fmla="*/ 142 h 213"/>
                <a:gd name="T42" fmla="*/ 93 w 118"/>
                <a:gd name="T43" fmla="*/ 33 h 213"/>
                <a:gd name="T44" fmla="*/ 93 w 118"/>
                <a:gd name="T45" fmla="*/ 33 h 213"/>
                <a:gd name="T46" fmla="*/ 95 w 118"/>
                <a:gd name="T47" fmla="*/ 35 h 213"/>
                <a:gd name="T48" fmla="*/ 95 w 118"/>
                <a:gd name="T49" fmla="*/ 81 h 213"/>
                <a:gd name="T50" fmla="*/ 91 w 118"/>
                <a:gd name="T51" fmla="*/ 70 h 213"/>
                <a:gd name="T52" fmla="*/ 91 w 118"/>
                <a:gd name="T53" fmla="*/ 35 h 213"/>
                <a:gd name="T54" fmla="*/ 93 w 118"/>
                <a:gd name="T55" fmla="*/ 33 h 213"/>
                <a:gd name="T56" fmla="*/ 25 w 118"/>
                <a:gd name="T57" fmla="*/ 80 h 213"/>
                <a:gd name="T58" fmla="*/ 25 w 118"/>
                <a:gd name="T59" fmla="*/ 35 h 213"/>
                <a:gd name="T60" fmla="*/ 27 w 118"/>
                <a:gd name="T61" fmla="*/ 33 h 213"/>
                <a:gd name="T62" fmla="*/ 29 w 118"/>
                <a:gd name="T63" fmla="*/ 35 h 213"/>
                <a:gd name="T64" fmla="*/ 29 w 118"/>
                <a:gd name="T65" fmla="*/ 69 h 213"/>
                <a:gd name="T66" fmla="*/ 25 w 118"/>
                <a:gd name="T67" fmla="*/ 8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8" h="213">
                  <a:moveTo>
                    <a:pt x="118" y="142"/>
                  </a:moveTo>
                  <a:cubicBezTo>
                    <a:pt x="103" y="102"/>
                    <a:pt x="103" y="102"/>
                    <a:pt x="103" y="102"/>
                  </a:cubicBezTo>
                  <a:cubicBezTo>
                    <a:pt x="110" y="96"/>
                    <a:pt x="114" y="87"/>
                    <a:pt x="114" y="78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4" y="14"/>
                    <a:pt x="100" y="0"/>
                    <a:pt x="82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9" y="0"/>
                    <a:pt x="5" y="14"/>
                    <a:pt x="5" y="32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87"/>
                    <a:pt x="9" y="96"/>
                    <a:pt x="16" y="102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9" y="206"/>
                    <a:pt x="35" y="212"/>
                    <a:pt x="43" y="213"/>
                  </a:cubicBezTo>
                  <a:cubicBezTo>
                    <a:pt x="51" y="213"/>
                    <a:pt x="58" y="206"/>
                    <a:pt x="58" y="198"/>
                  </a:cubicBezTo>
                  <a:cubicBezTo>
                    <a:pt x="58" y="142"/>
                    <a:pt x="58" y="142"/>
                    <a:pt x="58" y="142"/>
                  </a:cubicBezTo>
                  <a:cubicBezTo>
                    <a:pt x="62" y="142"/>
                    <a:pt x="62" y="142"/>
                    <a:pt x="62" y="142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206"/>
                    <a:pt x="68" y="212"/>
                    <a:pt x="76" y="213"/>
                  </a:cubicBezTo>
                  <a:cubicBezTo>
                    <a:pt x="84" y="213"/>
                    <a:pt x="91" y="206"/>
                    <a:pt x="91" y="198"/>
                  </a:cubicBezTo>
                  <a:cubicBezTo>
                    <a:pt x="91" y="142"/>
                    <a:pt x="91" y="142"/>
                    <a:pt x="91" y="142"/>
                  </a:cubicBezTo>
                  <a:lnTo>
                    <a:pt x="118" y="142"/>
                  </a:lnTo>
                  <a:close/>
                  <a:moveTo>
                    <a:pt x="93" y="33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94" y="33"/>
                    <a:pt x="95" y="34"/>
                    <a:pt x="95" y="35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1" y="70"/>
                    <a:pt x="91" y="70"/>
                    <a:pt x="91" y="70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4"/>
                    <a:pt x="91" y="33"/>
                    <a:pt x="93" y="33"/>
                  </a:cubicBezTo>
                  <a:close/>
                  <a:moveTo>
                    <a:pt x="25" y="80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5" y="34"/>
                    <a:pt x="26" y="33"/>
                    <a:pt x="27" y="33"/>
                  </a:cubicBezTo>
                  <a:cubicBezTo>
                    <a:pt x="28" y="33"/>
                    <a:pt x="29" y="34"/>
                    <a:pt x="29" y="35"/>
                  </a:cubicBezTo>
                  <a:cubicBezTo>
                    <a:pt x="29" y="69"/>
                    <a:pt x="29" y="69"/>
                    <a:pt x="29" y="69"/>
                  </a:cubicBezTo>
                  <a:lnTo>
                    <a:pt x="25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60" name="Group 1159"/>
          <p:cNvGrpSpPr/>
          <p:nvPr/>
        </p:nvGrpSpPr>
        <p:grpSpPr>
          <a:xfrm>
            <a:off x="31173" y="4419600"/>
            <a:ext cx="12128496" cy="461096"/>
            <a:chOff x="31173" y="3938585"/>
            <a:chExt cx="12128496" cy="461096"/>
          </a:xfrm>
          <a:solidFill>
            <a:srgbClr val="173F49"/>
          </a:solidFill>
        </p:grpSpPr>
        <p:sp>
          <p:nvSpPr>
            <p:cNvPr id="1161" name="Freeform 153"/>
            <p:cNvSpPr>
              <a:spLocks/>
            </p:cNvSpPr>
            <p:nvPr/>
          </p:nvSpPr>
          <p:spPr bwMode="auto">
            <a:xfrm>
              <a:off x="3117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2" name="Oval 154"/>
            <p:cNvSpPr>
              <a:spLocks noChangeArrowheads="1"/>
            </p:cNvSpPr>
            <p:nvPr/>
          </p:nvSpPr>
          <p:spPr bwMode="auto">
            <a:xfrm>
              <a:off x="74818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3" name="Freeform 157"/>
            <p:cNvSpPr>
              <a:spLocks/>
            </p:cNvSpPr>
            <p:nvPr/>
          </p:nvSpPr>
          <p:spPr bwMode="auto">
            <a:xfrm>
              <a:off x="849882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4" name="Oval 158"/>
            <p:cNvSpPr>
              <a:spLocks noChangeArrowheads="1"/>
            </p:cNvSpPr>
            <p:nvPr/>
          </p:nvSpPr>
          <p:spPr bwMode="auto">
            <a:xfrm>
              <a:off x="893527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5" name="Freeform 159"/>
            <p:cNvSpPr>
              <a:spLocks/>
            </p:cNvSpPr>
            <p:nvPr/>
          </p:nvSpPr>
          <p:spPr bwMode="auto">
            <a:xfrm>
              <a:off x="64432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6" name="Oval 160"/>
            <p:cNvSpPr>
              <a:spLocks noChangeArrowheads="1"/>
            </p:cNvSpPr>
            <p:nvPr/>
          </p:nvSpPr>
          <p:spPr bwMode="auto">
            <a:xfrm>
              <a:off x="689378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67" name="Group 1166"/>
            <p:cNvGrpSpPr/>
            <p:nvPr/>
          </p:nvGrpSpPr>
          <p:grpSpPr>
            <a:xfrm>
              <a:off x="233211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87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8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9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90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68" name="Freeform 153"/>
            <p:cNvSpPr>
              <a:spLocks/>
            </p:cNvSpPr>
            <p:nvPr/>
          </p:nvSpPr>
          <p:spPr bwMode="auto">
            <a:xfrm>
              <a:off x="106144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69" name="Oval 154"/>
            <p:cNvSpPr>
              <a:spLocks noChangeArrowheads="1"/>
            </p:cNvSpPr>
            <p:nvPr/>
          </p:nvSpPr>
          <p:spPr bwMode="auto">
            <a:xfrm>
              <a:off x="1105092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0" name="Freeform 157"/>
            <p:cNvSpPr>
              <a:spLocks/>
            </p:cNvSpPr>
            <p:nvPr/>
          </p:nvSpPr>
          <p:spPr bwMode="auto">
            <a:xfrm>
              <a:off x="1880156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1" name="Oval 158"/>
            <p:cNvSpPr>
              <a:spLocks noChangeArrowheads="1"/>
            </p:cNvSpPr>
            <p:nvPr/>
          </p:nvSpPr>
          <p:spPr bwMode="auto">
            <a:xfrm>
              <a:off x="1923801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2" name="Freeform 159"/>
            <p:cNvSpPr>
              <a:spLocks/>
            </p:cNvSpPr>
            <p:nvPr/>
          </p:nvSpPr>
          <p:spPr bwMode="auto">
            <a:xfrm>
              <a:off x="167459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3" name="Oval 160"/>
            <p:cNvSpPr>
              <a:spLocks noChangeArrowheads="1"/>
            </p:cNvSpPr>
            <p:nvPr/>
          </p:nvSpPr>
          <p:spPr bwMode="auto">
            <a:xfrm>
              <a:off x="1719652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74" name="Group 1173"/>
            <p:cNvGrpSpPr/>
            <p:nvPr/>
          </p:nvGrpSpPr>
          <p:grpSpPr>
            <a:xfrm>
              <a:off x="1263485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83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4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5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6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75" name="Freeform 153"/>
            <p:cNvSpPr>
              <a:spLocks/>
            </p:cNvSpPr>
            <p:nvPr/>
          </p:nvSpPr>
          <p:spPr bwMode="auto">
            <a:xfrm>
              <a:off x="209172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6" name="Oval 154"/>
            <p:cNvSpPr>
              <a:spLocks noChangeArrowheads="1"/>
            </p:cNvSpPr>
            <p:nvPr/>
          </p:nvSpPr>
          <p:spPr bwMode="auto">
            <a:xfrm>
              <a:off x="2135366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7" name="Freeform 157"/>
            <p:cNvSpPr>
              <a:spLocks/>
            </p:cNvSpPr>
            <p:nvPr/>
          </p:nvSpPr>
          <p:spPr bwMode="auto">
            <a:xfrm>
              <a:off x="2910430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8" name="Oval 158"/>
            <p:cNvSpPr>
              <a:spLocks noChangeArrowheads="1"/>
            </p:cNvSpPr>
            <p:nvPr/>
          </p:nvSpPr>
          <p:spPr bwMode="auto">
            <a:xfrm>
              <a:off x="2954075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9" name="Freeform 159"/>
            <p:cNvSpPr>
              <a:spLocks/>
            </p:cNvSpPr>
            <p:nvPr/>
          </p:nvSpPr>
          <p:spPr bwMode="auto">
            <a:xfrm>
              <a:off x="270487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0" name="Oval 160"/>
            <p:cNvSpPr>
              <a:spLocks noChangeArrowheads="1"/>
            </p:cNvSpPr>
            <p:nvPr/>
          </p:nvSpPr>
          <p:spPr bwMode="auto">
            <a:xfrm>
              <a:off x="2749926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81" name="Group 1180"/>
            <p:cNvGrpSpPr/>
            <p:nvPr/>
          </p:nvGrpSpPr>
          <p:grpSpPr>
            <a:xfrm>
              <a:off x="229375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79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0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1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82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82" name="Freeform 153"/>
            <p:cNvSpPr>
              <a:spLocks/>
            </p:cNvSpPr>
            <p:nvPr/>
          </p:nvSpPr>
          <p:spPr bwMode="auto">
            <a:xfrm>
              <a:off x="312199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3" name="Oval 154"/>
            <p:cNvSpPr>
              <a:spLocks noChangeArrowheads="1"/>
            </p:cNvSpPr>
            <p:nvPr/>
          </p:nvSpPr>
          <p:spPr bwMode="auto">
            <a:xfrm>
              <a:off x="3165640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4" name="Freeform 157"/>
            <p:cNvSpPr>
              <a:spLocks/>
            </p:cNvSpPr>
            <p:nvPr/>
          </p:nvSpPr>
          <p:spPr bwMode="auto">
            <a:xfrm>
              <a:off x="3940704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5" name="Oval 158"/>
            <p:cNvSpPr>
              <a:spLocks noChangeArrowheads="1"/>
            </p:cNvSpPr>
            <p:nvPr/>
          </p:nvSpPr>
          <p:spPr bwMode="auto">
            <a:xfrm>
              <a:off x="3984349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6" name="Freeform 159"/>
            <p:cNvSpPr>
              <a:spLocks/>
            </p:cNvSpPr>
            <p:nvPr/>
          </p:nvSpPr>
          <p:spPr bwMode="auto">
            <a:xfrm>
              <a:off x="373514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87" name="Oval 160"/>
            <p:cNvSpPr>
              <a:spLocks noChangeArrowheads="1"/>
            </p:cNvSpPr>
            <p:nvPr/>
          </p:nvSpPr>
          <p:spPr bwMode="auto">
            <a:xfrm>
              <a:off x="3780200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88" name="Group 1187"/>
            <p:cNvGrpSpPr/>
            <p:nvPr/>
          </p:nvGrpSpPr>
          <p:grpSpPr>
            <a:xfrm>
              <a:off x="3324033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75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6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7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8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89" name="Freeform 153"/>
            <p:cNvSpPr>
              <a:spLocks/>
            </p:cNvSpPr>
            <p:nvPr/>
          </p:nvSpPr>
          <p:spPr bwMode="auto">
            <a:xfrm>
              <a:off x="415226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0" name="Oval 154"/>
            <p:cNvSpPr>
              <a:spLocks noChangeArrowheads="1"/>
            </p:cNvSpPr>
            <p:nvPr/>
          </p:nvSpPr>
          <p:spPr bwMode="auto">
            <a:xfrm>
              <a:off x="4195914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1" name="Freeform 157"/>
            <p:cNvSpPr>
              <a:spLocks/>
            </p:cNvSpPr>
            <p:nvPr/>
          </p:nvSpPr>
          <p:spPr bwMode="auto">
            <a:xfrm>
              <a:off x="4970978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2" name="Oval 158"/>
            <p:cNvSpPr>
              <a:spLocks noChangeArrowheads="1"/>
            </p:cNvSpPr>
            <p:nvPr/>
          </p:nvSpPr>
          <p:spPr bwMode="auto">
            <a:xfrm>
              <a:off x="5014623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3" name="Freeform 159"/>
            <p:cNvSpPr>
              <a:spLocks/>
            </p:cNvSpPr>
            <p:nvPr/>
          </p:nvSpPr>
          <p:spPr bwMode="auto">
            <a:xfrm>
              <a:off x="476542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4" name="Oval 160"/>
            <p:cNvSpPr>
              <a:spLocks noChangeArrowheads="1"/>
            </p:cNvSpPr>
            <p:nvPr/>
          </p:nvSpPr>
          <p:spPr bwMode="auto">
            <a:xfrm>
              <a:off x="4810474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195" name="Group 1194"/>
            <p:cNvGrpSpPr/>
            <p:nvPr/>
          </p:nvGrpSpPr>
          <p:grpSpPr>
            <a:xfrm>
              <a:off x="4354307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71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2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3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4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196" name="Freeform 153"/>
            <p:cNvSpPr>
              <a:spLocks/>
            </p:cNvSpPr>
            <p:nvPr/>
          </p:nvSpPr>
          <p:spPr bwMode="auto">
            <a:xfrm>
              <a:off x="51825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7" name="Oval 154"/>
            <p:cNvSpPr>
              <a:spLocks noChangeArrowheads="1"/>
            </p:cNvSpPr>
            <p:nvPr/>
          </p:nvSpPr>
          <p:spPr bwMode="auto">
            <a:xfrm>
              <a:off x="5226188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8" name="Freeform 157"/>
            <p:cNvSpPr>
              <a:spLocks/>
            </p:cNvSpPr>
            <p:nvPr/>
          </p:nvSpPr>
          <p:spPr bwMode="auto">
            <a:xfrm>
              <a:off x="6001252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99" name="Oval 158"/>
            <p:cNvSpPr>
              <a:spLocks noChangeArrowheads="1"/>
            </p:cNvSpPr>
            <p:nvPr/>
          </p:nvSpPr>
          <p:spPr bwMode="auto">
            <a:xfrm>
              <a:off x="6044897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0" name="Freeform 159"/>
            <p:cNvSpPr>
              <a:spLocks/>
            </p:cNvSpPr>
            <p:nvPr/>
          </p:nvSpPr>
          <p:spPr bwMode="auto">
            <a:xfrm>
              <a:off x="579569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1" name="Oval 160"/>
            <p:cNvSpPr>
              <a:spLocks noChangeArrowheads="1"/>
            </p:cNvSpPr>
            <p:nvPr/>
          </p:nvSpPr>
          <p:spPr bwMode="auto">
            <a:xfrm>
              <a:off x="5840748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02" name="Group 1201"/>
            <p:cNvGrpSpPr/>
            <p:nvPr/>
          </p:nvGrpSpPr>
          <p:grpSpPr>
            <a:xfrm>
              <a:off x="5384581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67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8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9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70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03" name="Freeform 153"/>
            <p:cNvSpPr>
              <a:spLocks/>
            </p:cNvSpPr>
            <p:nvPr/>
          </p:nvSpPr>
          <p:spPr bwMode="auto">
            <a:xfrm>
              <a:off x="621281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4" name="Oval 154"/>
            <p:cNvSpPr>
              <a:spLocks noChangeArrowheads="1"/>
            </p:cNvSpPr>
            <p:nvPr/>
          </p:nvSpPr>
          <p:spPr bwMode="auto">
            <a:xfrm>
              <a:off x="6256462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5" name="Freeform 157"/>
            <p:cNvSpPr>
              <a:spLocks/>
            </p:cNvSpPr>
            <p:nvPr/>
          </p:nvSpPr>
          <p:spPr bwMode="auto">
            <a:xfrm>
              <a:off x="7031526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6" name="Oval 158"/>
            <p:cNvSpPr>
              <a:spLocks noChangeArrowheads="1"/>
            </p:cNvSpPr>
            <p:nvPr/>
          </p:nvSpPr>
          <p:spPr bwMode="auto">
            <a:xfrm>
              <a:off x="7075171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7" name="Freeform 159"/>
            <p:cNvSpPr>
              <a:spLocks/>
            </p:cNvSpPr>
            <p:nvPr/>
          </p:nvSpPr>
          <p:spPr bwMode="auto">
            <a:xfrm>
              <a:off x="682596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08" name="Oval 160"/>
            <p:cNvSpPr>
              <a:spLocks noChangeArrowheads="1"/>
            </p:cNvSpPr>
            <p:nvPr/>
          </p:nvSpPr>
          <p:spPr bwMode="auto">
            <a:xfrm>
              <a:off x="6871022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09" name="Group 1208"/>
            <p:cNvGrpSpPr/>
            <p:nvPr/>
          </p:nvGrpSpPr>
          <p:grpSpPr>
            <a:xfrm>
              <a:off x="6414855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63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4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5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6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10" name="Freeform 153"/>
            <p:cNvSpPr>
              <a:spLocks/>
            </p:cNvSpPr>
            <p:nvPr/>
          </p:nvSpPr>
          <p:spPr bwMode="auto">
            <a:xfrm>
              <a:off x="72430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1" name="Oval 154"/>
            <p:cNvSpPr>
              <a:spLocks noChangeArrowheads="1"/>
            </p:cNvSpPr>
            <p:nvPr/>
          </p:nvSpPr>
          <p:spPr bwMode="auto">
            <a:xfrm>
              <a:off x="7286736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2" name="Freeform 157"/>
            <p:cNvSpPr>
              <a:spLocks/>
            </p:cNvSpPr>
            <p:nvPr/>
          </p:nvSpPr>
          <p:spPr bwMode="auto">
            <a:xfrm>
              <a:off x="8061800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3" name="Oval 158"/>
            <p:cNvSpPr>
              <a:spLocks noChangeArrowheads="1"/>
            </p:cNvSpPr>
            <p:nvPr/>
          </p:nvSpPr>
          <p:spPr bwMode="auto">
            <a:xfrm>
              <a:off x="8105445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4" name="Freeform 159"/>
            <p:cNvSpPr>
              <a:spLocks/>
            </p:cNvSpPr>
            <p:nvPr/>
          </p:nvSpPr>
          <p:spPr bwMode="auto">
            <a:xfrm>
              <a:off x="78562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5" name="Oval 160"/>
            <p:cNvSpPr>
              <a:spLocks noChangeArrowheads="1"/>
            </p:cNvSpPr>
            <p:nvPr/>
          </p:nvSpPr>
          <p:spPr bwMode="auto">
            <a:xfrm>
              <a:off x="7901296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16" name="Group 1215"/>
            <p:cNvGrpSpPr/>
            <p:nvPr/>
          </p:nvGrpSpPr>
          <p:grpSpPr>
            <a:xfrm>
              <a:off x="744512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59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0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1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62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17" name="Freeform 153"/>
            <p:cNvSpPr>
              <a:spLocks/>
            </p:cNvSpPr>
            <p:nvPr/>
          </p:nvSpPr>
          <p:spPr bwMode="auto">
            <a:xfrm>
              <a:off x="827336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8" name="Oval 154"/>
            <p:cNvSpPr>
              <a:spLocks noChangeArrowheads="1"/>
            </p:cNvSpPr>
            <p:nvPr/>
          </p:nvSpPr>
          <p:spPr bwMode="auto">
            <a:xfrm>
              <a:off x="8317010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19" name="Freeform 157"/>
            <p:cNvSpPr>
              <a:spLocks/>
            </p:cNvSpPr>
            <p:nvPr/>
          </p:nvSpPr>
          <p:spPr bwMode="auto">
            <a:xfrm>
              <a:off x="9092074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0" name="Oval 158"/>
            <p:cNvSpPr>
              <a:spLocks noChangeArrowheads="1"/>
            </p:cNvSpPr>
            <p:nvPr/>
          </p:nvSpPr>
          <p:spPr bwMode="auto">
            <a:xfrm>
              <a:off x="9135719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1" name="Freeform 159"/>
            <p:cNvSpPr>
              <a:spLocks/>
            </p:cNvSpPr>
            <p:nvPr/>
          </p:nvSpPr>
          <p:spPr bwMode="auto">
            <a:xfrm>
              <a:off x="888651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2" name="Oval 160"/>
            <p:cNvSpPr>
              <a:spLocks noChangeArrowheads="1"/>
            </p:cNvSpPr>
            <p:nvPr/>
          </p:nvSpPr>
          <p:spPr bwMode="auto">
            <a:xfrm>
              <a:off x="8931570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23" name="Group 1222"/>
            <p:cNvGrpSpPr/>
            <p:nvPr/>
          </p:nvGrpSpPr>
          <p:grpSpPr>
            <a:xfrm>
              <a:off x="8475403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55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6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7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8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24" name="Freeform 153"/>
            <p:cNvSpPr>
              <a:spLocks/>
            </p:cNvSpPr>
            <p:nvPr/>
          </p:nvSpPr>
          <p:spPr bwMode="auto">
            <a:xfrm>
              <a:off x="930363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5" name="Oval 154"/>
            <p:cNvSpPr>
              <a:spLocks noChangeArrowheads="1"/>
            </p:cNvSpPr>
            <p:nvPr/>
          </p:nvSpPr>
          <p:spPr bwMode="auto">
            <a:xfrm>
              <a:off x="9347284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6" name="Freeform 157"/>
            <p:cNvSpPr>
              <a:spLocks/>
            </p:cNvSpPr>
            <p:nvPr/>
          </p:nvSpPr>
          <p:spPr bwMode="auto">
            <a:xfrm>
              <a:off x="10122348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7" name="Oval 158"/>
            <p:cNvSpPr>
              <a:spLocks noChangeArrowheads="1"/>
            </p:cNvSpPr>
            <p:nvPr/>
          </p:nvSpPr>
          <p:spPr bwMode="auto">
            <a:xfrm>
              <a:off x="10165993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8" name="Freeform 159"/>
            <p:cNvSpPr>
              <a:spLocks/>
            </p:cNvSpPr>
            <p:nvPr/>
          </p:nvSpPr>
          <p:spPr bwMode="auto">
            <a:xfrm>
              <a:off x="99167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29" name="Oval 160"/>
            <p:cNvSpPr>
              <a:spLocks noChangeArrowheads="1"/>
            </p:cNvSpPr>
            <p:nvPr/>
          </p:nvSpPr>
          <p:spPr bwMode="auto">
            <a:xfrm>
              <a:off x="9961844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30" name="Group 1229"/>
            <p:cNvGrpSpPr/>
            <p:nvPr/>
          </p:nvGrpSpPr>
          <p:grpSpPr>
            <a:xfrm>
              <a:off x="9505677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51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2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3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4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31" name="Freeform 153"/>
            <p:cNvSpPr>
              <a:spLocks/>
            </p:cNvSpPr>
            <p:nvPr/>
          </p:nvSpPr>
          <p:spPr bwMode="auto">
            <a:xfrm>
              <a:off x="1033391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2" name="Oval 154"/>
            <p:cNvSpPr>
              <a:spLocks noChangeArrowheads="1"/>
            </p:cNvSpPr>
            <p:nvPr/>
          </p:nvSpPr>
          <p:spPr bwMode="auto">
            <a:xfrm>
              <a:off x="10377558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3" name="Freeform 157"/>
            <p:cNvSpPr>
              <a:spLocks/>
            </p:cNvSpPr>
            <p:nvPr/>
          </p:nvSpPr>
          <p:spPr bwMode="auto">
            <a:xfrm>
              <a:off x="11152622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4" name="Oval 158"/>
            <p:cNvSpPr>
              <a:spLocks noChangeArrowheads="1"/>
            </p:cNvSpPr>
            <p:nvPr/>
          </p:nvSpPr>
          <p:spPr bwMode="auto">
            <a:xfrm>
              <a:off x="11196267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5" name="Freeform 159"/>
            <p:cNvSpPr>
              <a:spLocks/>
            </p:cNvSpPr>
            <p:nvPr/>
          </p:nvSpPr>
          <p:spPr bwMode="auto">
            <a:xfrm>
              <a:off x="1094706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6" name="Oval 160"/>
            <p:cNvSpPr>
              <a:spLocks noChangeArrowheads="1"/>
            </p:cNvSpPr>
            <p:nvPr/>
          </p:nvSpPr>
          <p:spPr bwMode="auto">
            <a:xfrm>
              <a:off x="10992118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37" name="Group 1236"/>
            <p:cNvGrpSpPr/>
            <p:nvPr/>
          </p:nvGrpSpPr>
          <p:grpSpPr>
            <a:xfrm>
              <a:off x="10535951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47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8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9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50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38" name="Freeform 153"/>
            <p:cNvSpPr>
              <a:spLocks/>
            </p:cNvSpPr>
            <p:nvPr/>
          </p:nvSpPr>
          <p:spPr bwMode="auto">
            <a:xfrm>
              <a:off x="113641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39" name="Oval 154"/>
            <p:cNvSpPr>
              <a:spLocks noChangeArrowheads="1"/>
            </p:cNvSpPr>
            <p:nvPr/>
          </p:nvSpPr>
          <p:spPr bwMode="auto">
            <a:xfrm>
              <a:off x="11407836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0" name="Freeform 159"/>
            <p:cNvSpPr>
              <a:spLocks/>
            </p:cNvSpPr>
            <p:nvPr/>
          </p:nvSpPr>
          <p:spPr bwMode="auto">
            <a:xfrm>
              <a:off x="119773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1" name="Oval 160"/>
            <p:cNvSpPr>
              <a:spLocks noChangeArrowheads="1"/>
            </p:cNvSpPr>
            <p:nvPr/>
          </p:nvSpPr>
          <p:spPr bwMode="auto">
            <a:xfrm>
              <a:off x="12022397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42" name="Group 1241"/>
            <p:cNvGrpSpPr/>
            <p:nvPr/>
          </p:nvGrpSpPr>
          <p:grpSpPr>
            <a:xfrm>
              <a:off x="1156622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243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4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5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246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291" name="Group 1290"/>
          <p:cNvGrpSpPr/>
          <p:nvPr/>
        </p:nvGrpSpPr>
        <p:grpSpPr>
          <a:xfrm>
            <a:off x="31173" y="4946072"/>
            <a:ext cx="12128496" cy="461096"/>
            <a:chOff x="31173" y="3938585"/>
            <a:chExt cx="12128496" cy="461096"/>
          </a:xfrm>
          <a:solidFill>
            <a:srgbClr val="173F49"/>
          </a:solidFill>
        </p:grpSpPr>
        <p:sp>
          <p:nvSpPr>
            <p:cNvPr id="1292" name="Freeform 153"/>
            <p:cNvSpPr>
              <a:spLocks/>
            </p:cNvSpPr>
            <p:nvPr/>
          </p:nvSpPr>
          <p:spPr bwMode="auto">
            <a:xfrm>
              <a:off x="3117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3" name="Oval 154"/>
            <p:cNvSpPr>
              <a:spLocks noChangeArrowheads="1"/>
            </p:cNvSpPr>
            <p:nvPr/>
          </p:nvSpPr>
          <p:spPr bwMode="auto">
            <a:xfrm>
              <a:off x="74818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4" name="Freeform 157"/>
            <p:cNvSpPr>
              <a:spLocks/>
            </p:cNvSpPr>
            <p:nvPr/>
          </p:nvSpPr>
          <p:spPr bwMode="auto">
            <a:xfrm>
              <a:off x="849882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5" name="Oval 158"/>
            <p:cNvSpPr>
              <a:spLocks noChangeArrowheads="1"/>
            </p:cNvSpPr>
            <p:nvPr/>
          </p:nvSpPr>
          <p:spPr bwMode="auto">
            <a:xfrm>
              <a:off x="893527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6" name="Freeform 159"/>
            <p:cNvSpPr>
              <a:spLocks/>
            </p:cNvSpPr>
            <p:nvPr/>
          </p:nvSpPr>
          <p:spPr bwMode="auto">
            <a:xfrm>
              <a:off x="64432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97" name="Oval 160"/>
            <p:cNvSpPr>
              <a:spLocks noChangeArrowheads="1"/>
            </p:cNvSpPr>
            <p:nvPr/>
          </p:nvSpPr>
          <p:spPr bwMode="auto">
            <a:xfrm>
              <a:off x="689378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298" name="Group 1297"/>
            <p:cNvGrpSpPr/>
            <p:nvPr/>
          </p:nvGrpSpPr>
          <p:grpSpPr>
            <a:xfrm>
              <a:off x="233211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41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2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299" name="Freeform 153"/>
            <p:cNvSpPr>
              <a:spLocks/>
            </p:cNvSpPr>
            <p:nvPr/>
          </p:nvSpPr>
          <p:spPr bwMode="auto">
            <a:xfrm>
              <a:off x="106144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0" name="Oval 154"/>
            <p:cNvSpPr>
              <a:spLocks noChangeArrowheads="1"/>
            </p:cNvSpPr>
            <p:nvPr/>
          </p:nvSpPr>
          <p:spPr bwMode="auto">
            <a:xfrm>
              <a:off x="1105092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1" name="Freeform 157"/>
            <p:cNvSpPr>
              <a:spLocks/>
            </p:cNvSpPr>
            <p:nvPr/>
          </p:nvSpPr>
          <p:spPr bwMode="auto">
            <a:xfrm>
              <a:off x="1880156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2" name="Oval 158"/>
            <p:cNvSpPr>
              <a:spLocks noChangeArrowheads="1"/>
            </p:cNvSpPr>
            <p:nvPr/>
          </p:nvSpPr>
          <p:spPr bwMode="auto">
            <a:xfrm>
              <a:off x="1923801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3" name="Freeform 159"/>
            <p:cNvSpPr>
              <a:spLocks/>
            </p:cNvSpPr>
            <p:nvPr/>
          </p:nvSpPr>
          <p:spPr bwMode="auto">
            <a:xfrm>
              <a:off x="167459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4" name="Oval 160"/>
            <p:cNvSpPr>
              <a:spLocks noChangeArrowheads="1"/>
            </p:cNvSpPr>
            <p:nvPr/>
          </p:nvSpPr>
          <p:spPr bwMode="auto">
            <a:xfrm>
              <a:off x="1719652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05" name="Group 1304"/>
            <p:cNvGrpSpPr/>
            <p:nvPr/>
          </p:nvGrpSpPr>
          <p:grpSpPr>
            <a:xfrm>
              <a:off x="1263485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41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06" name="Freeform 153"/>
            <p:cNvSpPr>
              <a:spLocks/>
            </p:cNvSpPr>
            <p:nvPr/>
          </p:nvSpPr>
          <p:spPr bwMode="auto">
            <a:xfrm>
              <a:off x="209172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7" name="Oval 154"/>
            <p:cNvSpPr>
              <a:spLocks noChangeArrowheads="1"/>
            </p:cNvSpPr>
            <p:nvPr/>
          </p:nvSpPr>
          <p:spPr bwMode="auto">
            <a:xfrm>
              <a:off x="2135366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8" name="Freeform 157"/>
            <p:cNvSpPr>
              <a:spLocks/>
            </p:cNvSpPr>
            <p:nvPr/>
          </p:nvSpPr>
          <p:spPr bwMode="auto">
            <a:xfrm>
              <a:off x="2910430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9" name="Oval 158"/>
            <p:cNvSpPr>
              <a:spLocks noChangeArrowheads="1"/>
            </p:cNvSpPr>
            <p:nvPr/>
          </p:nvSpPr>
          <p:spPr bwMode="auto">
            <a:xfrm>
              <a:off x="2954075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0" name="Freeform 159"/>
            <p:cNvSpPr>
              <a:spLocks/>
            </p:cNvSpPr>
            <p:nvPr/>
          </p:nvSpPr>
          <p:spPr bwMode="auto">
            <a:xfrm>
              <a:off x="270487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1" name="Oval 160"/>
            <p:cNvSpPr>
              <a:spLocks noChangeArrowheads="1"/>
            </p:cNvSpPr>
            <p:nvPr/>
          </p:nvSpPr>
          <p:spPr bwMode="auto">
            <a:xfrm>
              <a:off x="2749926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12" name="Group 1311"/>
            <p:cNvGrpSpPr/>
            <p:nvPr/>
          </p:nvGrpSpPr>
          <p:grpSpPr>
            <a:xfrm>
              <a:off x="229375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41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1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13" name="Freeform 153"/>
            <p:cNvSpPr>
              <a:spLocks/>
            </p:cNvSpPr>
            <p:nvPr/>
          </p:nvSpPr>
          <p:spPr bwMode="auto">
            <a:xfrm>
              <a:off x="312199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4" name="Oval 154"/>
            <p:cNvSpPr>
              <a:spLocks noChangeArrowheads="1"/>
            </p:cNvSpPr>
            <p:nvPr/>
          </p:nvSpPr>
          <p:spPr bwMode="auto">
            <a:xfrm>
              <a:off x="3165640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5" name="Freeform 157"/>
            <p:cNvSpPr>
              <a:spLocks/>
            </p:cNvSpPr>
            <p:nvPr/>
          </p:nvSpPr>
          <p:spPr bwMode="auto">
            <a:xfrm>
              <a:off x="3940704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6" name="Oval 158"/>
            <p:cNvSpPr>
              <a:spLocks noChangeArrowheads="1"/>
            </p:cNvSpPr>
            <p:nvPr/>
          </p:nvSpPr>
          <p:spPr bwMode="auto">
            <a:xfrm>
              <a:off x="3984349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7" name="Freeform 159"/>
            <p:cNvSpPr>
              <a:spLocks/>
            </p:cNvSpPr>
            <p:nvPr/>
          </p:nvSpPr>
          <p:spPr bwMode="auto">
            <a:xfrm>
              <a:off x="373514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8" name="Oval 160"/>
            <p:cNvSpPr>
              <a:spLocks noChangeArrowheads="1"/>
            </p:cNvSpPr>
            <p:nvPr/>
          </p:nvSpPr>
          <p:spPr bwMode="auto">
            <a:xfrm>
              <a:off x="3780200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19" name="Group 1318"/>
            <p:cNvGrpSpPr/>
            <p:nvPr/>
          </p:nvGrpSpPr>
          <p:grpSpPr>
            <a:xfrm>
              <a:off x="3324033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40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20" name="Freeform 153"/>
            <p:cNvSpPr>
              <a:spLocks/>
            </p:cNvSpPr>
            <p:nvPr/>
          </p:nvSpPr>
          <p:spPr bwMode="auto">
            <a:xfrm>
              <a:off x="415226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1" name="Oval 154"/>
            <p:cNvSpPr>
              <a:spLocks noChangeArrowheads="1"/>
            </p:cNvSpPr>
            <p:nvPr/>
          </p:nvSpPr>
          <p:spPr bwMode="auto">
            <a:xfrm>
              <a:off x="4195914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2" name="Freeform 157"/>
            <p:cNvSpPr>
              <a:spLocks/>
            </p:cNvSpPr>
            <p:nvPr/>
          </p:nvSpPr>
          <p:spPr bwMode="auto">
            <a:xfrm>
              <a:off x="4970978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3" name="Oval 158"/>
            <p:cNvSpPr>
              <a:spLocks noChangeArrowheads="1"/>
            </p:cNvSpPr>
            <p:nvPr/>
          </p:nvSpPr>
          <p:spPr bwMode="auto">
            <a:xfrm>
              <a:off x="5014623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4" name="Freeform 159"/>
            <p:cNvSpPr>
              <a:spLocks/>
            </p:cNvSpPr>
            <p:nvPr/>
          </p:nvSpPr>
          <p:spPr bwMode="auto">
            <a:xfrm>
              <a:off x="476542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5" name="Oval 160"/>
            <p:cNvSpPr>
              <a:spLocks noChangeArrowheads="1"/>
            </p:cNvSpPr>
            <p:nvPr/>
          </p:nvSpPr>
          <p:spPr bwMode="auto">
            <a:xfrm>
              <a:off x="4810474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26" name="Group 1325"/>
            <p:cNvGrpSpPr/>
            <p:nvPr/>
          </p:nvGrpSpPr>
          <p:grpSpPr>
            <a:xfrm>
              <a:off x="4354307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40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27" name="Freeform 153"/>
            <p:cNvSpPr>
              <a:spLocks/>
            </p:cNvSpPr>
            <p:nvPr/>
          </p:nvSpPr>
          <p:spPr bwMode="auto">
            <a:xfrm>
              <a:off x="51825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8" name="Oval 154"/>
            <p:cNvSpPr>
              <a:spLocks noChangeArrowheads="1"/>
            </p:cNvSpPr>
            <p:nvPr/>
          </p:nvSpPr>
          <p:spPr bwMode="auto">
            <a:xfrm>
              <a:off x="5226188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9" name="Freeform 157"/>
            <p:cNvSpPr>
              <a:spLocks/>
            </p:cNvSpPr>
            <p:nvPr/>
          </p:nvSpPr>
          <p:spPr bwMode="auto">
            <a:xfrm>
              <a:off x="6001252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0" name="Oval 158"/>
            <p:cNvSpPr>
              <a:spLocks noChangeArrowheads="1"/>
            </p:cNvSpPr>
            <p:nvPr/>
          </p:nvSpPr>
          <p:spPr bwMode="auto">
            <a:xfrm>
              <a:off x="6044897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1" name="Freeform 159"/>
            <p:cNvSpPr>
              <a:spLocks/>
            </p:cNvSpPr>
            <p:nvPr/>
          </p:nvSpPr>
          <p:spPr bwMode="auto">
            <a:xfrm>
              <a:off x="579569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2" name="Oval 160"/>
            <p:cNvSpPr>
              <a:spLocks noChangeArrowheads="1"/>
            </p:cNvSpPr>
            <p:nvPr/>
          </p:nvSpPr>
          <p:spPr bwMode="auto">
            <a:xfrm>
              <a:off x="5840748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33" name="Group 1332"/>
            <p:cNvGrpSpPr/>
            <p:nvPr/>
          </p:nvGrpSpPr>
          <p:grpSpPr>
            <a:xfrm>
              <a:off x="5384581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39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0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34" name="Freeform 153"/>
            <p:cNvSpPr>
              <a:spLocks/>
            </p:cNvSpPr>
            <p:nvPr/>
          </p:nvSpPr>
          <p:spPr bwMode="auto">
            <a:xfrm>
              <a:off x="621281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5" name="Oval 154"/>
            <p:cNvSpPr>
              <a:spLocks noChangeArrowheads="1"/>
            </p:cNvSpPr>
            <p:nvPr/>
          </p:nvSpPr>
          <p:spPr bwMode="auto">
            <a:xfrm>
              <a:off x="6256462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6" name="Freeform 157"/>
            <p:cNvSpPr>
              <a:spLocks/>
            </p:cNvSpPr>
            <p:nvPr/>
          </p:nvSpPr>
          <p:spPr bwMode="auto">
            <a:xfrm>
              <a:off x="7031526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7" name="Oval 158"/>
            <p:cNvSpPr>
              <a:spLocks noChangeArrowheads="1"/>
            </p:cNvSpPr>
            <p:nvPr/>
          </p:nvSpPr>
          <p:spPr bwMode="auto">
            <a:xfrm>
              <a:off x="7075171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8" name="Freeform 159"/>
            <p:cNvSpPr>
              <a:spLocks/>
            </p:cNvSpPr>
            <p:nvPr/>
          </p:nvSpPr>
          <p:spPr bwMode="auto">
            <a:xfrm>
              <a:off x="682596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9" name="Oval 160"/>
            <p:cNvSpPr>
              <a:spLocks noChangeArrowheads="1"/>
            </p:cNvSpPr>
            <p:nvPr/>
          </p:nvSpPr>
          <p:spPr bwMode="auto">
            <a:xfrm>
              <a:off x="6871022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40" name="Group 1339"/>
            <p:cNvGrpSpPr/>
            <p:nvPr/>
          </p:nvGrpSpPr>
          <p:grpSpPr>
            <a:xfrm>
              <a:off x="6414855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39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41" name="Freeform 153"/>
            <p:cNvSpPr>
              <a:spLocks/>
            </p:cNvSpPr>
            <p:nvPr/>
          </p:nvSpPr>
          <p:spPr bwMode="auto">
            <a:xfrm>
              <a:off x="72430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2" name="Oval 154"/>
            <p:cNvSpPr>
              <a:spLocks noChangeArrowheads="1"/>
            </p:cNvSpPr>
            <p:nvPr/>
          </p:nvSpPr>
          <p:spPr bwMode="auto">
            <a:xfrm>
              <a:off x="7286736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3" name="Freeform 157"/>
            <p:cNvSpPr>
              <a:spLocks/>
            </p:cNvSpPr>
            <p:nvPr/>
          </p:nvSpPr>
          <p:spPr bwMode="auto">
            <a:xfrm>
              <a:off x="8061800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4" name="Oval 158"/>
            <p:cNvSpPr>
              <a:spLocks noChangeArrowheads="1"/>
            </p:cNvSpPr>
            <p:nvPr/>
          </p:nvSpPr>
          <p:spPr bwMode="auto">
            <a:xfrm>
              <a:off x="8105445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5" name="Freeform 159"/>
            <p:cNvSpPr>
              <a:spLocks/>
            </p:cNvSpPr>
            <p:nvPr/>
          </p:nvSpPr>
          <p:spPr bwMode="auto">
            <a:xfrm>
              <a:off x="78562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6" name="Oval 160"/>
            <p:cNvSpPr>
              <a:spLocks noChangeArrowheads="1"/>
            </p:cNvSpPr>
            <p:nvPr/>
          </p:nvSpPr>
          <p:spPr bwMode="auto">
            <a:xfrm>
              <a:off x="7901296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47" name="Group 1346"/>
            <p:cNvGrpSpPr/>
            <p:nvPr/>
          </p:nvGrpSpPr>
          <p:grpSpPr>
            <a:xfrm>
              <a:off x="744512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39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9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48" name="Freeform 153"/>
            <p:cNvSpPr>
              <a:spLocks/>
            </p:cNvSpPr>
            <p:nvPr/>
          </p:nvSpPr>
          <p:spPr bwMode="auto">
            <a:xfrm>
              <a:off x="827336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9" name="Oval 154"/>
            <p:cNvSpPr>
              <a:spLocks noChangeArrowheads="1"/>
            </p:cNvSpPr>
            <p:nvPr/>
          </p:nvSpPr>
          <p:spPr bwMode="auto">
            <a:xfrm>
              <a:off x="8317010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0" name="Freeform 157"/>
            <p:cNvSpPr>
              <a:spLocks/>
            </p:cNvSpPr>
            <p:nvPr/>
          </p:nvSpPr>
          <p:spPr bwMode="auto">
            <a:xfrm>
              <a:off x="9092074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1" name="Oval 158"/>
            <p:cNvSpPr>
              <a:spLocks noChangeArrowheads="1"/>
            </p:cNvSpPr>
            <p:nvPr/>
          </p:nvSpPr>
          <p:spPr bwMode="auto">
            <a:xfrm>
              <a:off x="9135719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2" name="Freeform 159"/>
            <p:cNvSpPr>
              <a:spLocks/>
            </p:cNvSpPr>
            <p:nvPr/>
          </p:nvSpPr>
          <p:spPr bwMode="auto">
            <a:xfrm>
              <a:off x="888651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3" name="Oval 160"/>
            <p:cNvSpPr>
              <a:spLocks noChangeArrowheads="1"/>
            </p:cNvSpPr>
            <p:nvPr/>
          </p:nvSpPr>
          <p:spPr bwMode="auto">
            <a:xfrm>
              <a:off x="8931570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54" name="Group 1353"/>
            <p:cNvGrpSpPr/>
            <p:nvPr/>
          </p:nvGrpSpPr>
          <p:grpSpPr>
            <a:xfrm>
              <a:off x="8475403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38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55" name="Freeform 153"/>
            <p:cNvSpPr>
              <a:spLocks/>
            </p:cNvSpPr>
            <p:nvPr/>
          </p:nvSpPr>
          <p:spPr bwMode="auto">
            <a:xfrm>
              <a:off x="930363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6" name="Oval 154"/>
            <p:cNvSpPr>
              <a:spLocks noChangeArrowheads="1"/>
            </p:cNvSpPr>
            <p:nvPr/>
          </p:nvSpPr>
          <p:spPr bwMode="auto">
            <a:xfrm>
              <a:off x="9347284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7" name="Freeform 157"/>
            <p:cNvSpPr>
              <a:spLocks/>
            </p:cNvSpPr>
            <p:nvPr/>
          </p:nvSpPr>
          <p:spPr bwMode="auto">
            <a:xfrm>
              <a:off x="10122348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8" name="Oval 158"/>
            <p:cNvSpPr>
              <a:spLocks noChangeArrowheads="1"/>
            </p:cNvSpPr>
            <p:nvPr/>
          </p:nvSpPr>
          <p:spPr bwMode="auto">
            <a:xfrm>
              <a:off x="10165993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9" name="Freeform 159"/>
            <p:cNvSpPr>
              <a:spLocks/>
            </p:cNvSpPr>
            <p:nvPr/>
          </p:nvSpPr>
          <p:spPr bwMode="auto">
            <a:xfrm>
              <a:off x="99167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0" name="Oval 160"/>
            <p:cNvSpPr>
              <a:spLocks noChangeArrowheads="1"/>
            </p:cNvSpPr>
            <p:nvPr/>
          </p:nvSpPr>
          <p:spPr bwMode="auto">
            <a:xfrm>
              <a:off x="9961844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61" name="Group 1360"/>
            <p:cNvGrpSpPr/>
            <p:nvPr/>
          </p:nvGrpSpPr>
          <p:grpSpPr>
            <a:xfrm>
              <a:off x="9505677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38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62" name="Freeform 153"/>
            <p:cNvSpPr>
              <a:spLocks/>
            </p:cNvSpPr>
            <p:nvPr/>
          </p:nvSpPr>
          <p:spPr bwMode="auto">
            <a:xfrm>
              <a:off x="1033391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3" name="Oval 154"/>
            <p:cNvSpPr>
              <a:spLocks noChangeArrowheads="1"/>
            </p:cNvSpPr>
            <p:nvPr/>
          </p:nvSpPr>
          <p:spPr bwMode="auto">
            <a:xfrm>
              <a:off x="10377558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4" name="Freeform 157"/>
            <p:cNvSpPr>
              <a:spLocks/>
            </p:cNvSpPr>
            <p:nvPr/>
          </p:nvSpPr>
          <p:spPr bwMode="auto">
            <a:xfrm>
              <a:off x="11152622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5" name="Oval 158"/>
            <p:cNvSpPr>
              <a:spLocks noChangeArrowheads="1"/>
            </p:cNvSpPr>
            <p:nvPr/>
          </p:nvSpPr>
          <p:spPr bwMode="auto">
            <a:xfrm>
              <a:off x="11196267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6" name="Freeform 159"/>
            <p:cNvSpPr>
              <a:spLocks/>
            </p:cNvSpPr>
            <p:nvPr/>
          </p:nvSpPr>
          <p:spPr bwMode="auto">
            <a:xfrm>
              <a:off x="1094706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7" name="Oval 160"/>
            <p:cNvSpPr>
              <a:spLocks noChangeArrowheads="1"/>
            </p:cNvSpPr>
            <p:nvPr/>
          </p:nvSpPr>
          <p:spPr bwMode="auto">
            <a:xfrm>
              <a:off x="10992118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68" name="Group 1367"/>
            <p:cNvGrpSpPr/>
            <p:nvPr/>
          </p:nvGrpSpPr>
          <p:grpSpPr>
            <a:xfrm>
              <a:off x="10535951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37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8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69" name="Freeform 153"/>
            <p:cNvSpPr>
              <a:spLocks/>
            </p:cNvSpPr>
            <p:nvPr/>
          </p:nvSpPr>
          <p:spPr bwMode="auto">
            <a:xfrm>
              <a:off x="113641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0" name="Oval 154"/>
            <p:cNvSpPr>
              <a:spLocks noChangeArrowheads="1"/>
            </p:cNvSpPr>
            <p:nvPr/>
          </p:nvSpPr>
          <p:spPr bwMode="auto">
            <a:xfrm>
              <a:off x="11407836" y="3938585"/>
              <a:ext cx="95035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1" name="Freeform 159"/>
            <p:cNvSpPr>
              <a:spLocks/>
            </p:cNvSpPr>
            <p:nvPr/>
          </p:nvSpPr>
          <p:spPr bwMode="auto">
            <a:xfrm>
              <a:off x="119773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2" name="Oval 160"/>
            <p:cNvSpPr>
              <a:spLocks noChangeArrowheads="1"/>
            </p:cNvSpPr>
            <p:nvPr/>
          </p:nvSpPr>
          <p:spPr bwMode="auto">
            <a:xfrm>
              <a:off x="12022397" y="3938585"/>
              <a:ext cx="93627" cy="9362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373" name="Group 1372"/>
            <p:cNvGrpSpPr/>
            <p:nvPr/>
          </p:nvGrpSpPr>
          <p:grpSpPr>
            <a:xfrm>
              <a:off x="1156622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37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37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4461" name="Group 14460"/>
          <p:cNvGrpSpPr/>
          <p:nvPr/>
        </p:nvGrpSpPr>
        <p:grpSpPr>
          <a:xfrm>
            <a:off x="-83128" y="4252687"/>
            <a:ext cx="12357190" cy="2706912"/>
            <a:chOff x="-83128" y="3845169"/>
            <a:chExt cx="12357190" cy="2465577"/>
          </a:xfrm>
        </p:grpSpPr>
        <p:grpSp>
          <p:nvGrpSpPr>
            <p:cNvPr id="20" name="Group 41"/>
            <p:cNvGrpSpPr>
              <a:grpSpLocks noChangeAspect="1"/>
            </p:cNvGrpSpPr>
            <p:nvPr/>
          </p:nvGrpSpPr>
          <p:grpSpPr bwMode="auto">
            <a:xfrm>
              <a:off x="-83128" y="3845169"/>
              <a:ext cx="6239885" cy="2465577"/>
              <a:chOff x="-95" y="1253"/>
              <a:chExt cx="7661" cy="3175"/>
            </a:xfrm>
          </p:grpSpPr>
          <p:sp>
            <p:nvSpPr>
              <p:cNvPr id="21" name="AutoShape 40"/>
              <p:cNvSpPr>
                <a:spLocks noChangeAspect="1" noChangeArrowheads="1" noTextEdit="1"/>
              </p:cNvSpPr>
              <p:nvPr/>
            </p:nvSpPr>
            <p:spPr bwMode="auto">
              <a:xfrm>
                <a:off x="-95" y="1253"/>
                <a:ext cx="7661" cy="3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" name="Freeform 42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" name="Freeform 43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" name="Freeform 44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" name="Freeform 45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" name="Freeform 46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close/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Freeform 47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48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B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49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50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9F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51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36" name="Freeform 52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close/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close/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close/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close/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close/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close/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close/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close/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37" name="Freeform 53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38" name="Freeform 54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close/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close/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close/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close/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close/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close/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close/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close/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close/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close/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close/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close/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close/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39" name="Freeform 55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40" name="Freeform 56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close/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47" name="Freeform 57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48" name="Freeform 58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close/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4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49" name="Freeform 59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65" name="Freeform 60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66" name="Freeform 61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67" name="Freeform 62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close/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close/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close/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close/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1F1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75" name="Freeform 63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76" name="Freeform 64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close/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close/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close/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77" name="Freeform 65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78" name="Freeform 66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close/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close/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EEE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79" name="Freeform 67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0" name="Freeform 68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close/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close/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close/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close/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close/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close/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close/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close/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close/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close/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DEC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1" name="Freeform 69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2" name="Freeform 70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3" name="Freeform 71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4" name="Freeform 72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close/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close/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close/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close/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5" name="Freeform 73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6" name="Freeform 74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close/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close/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close/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close/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close/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close/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7" name="Freeform 75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8" name="Freeform 76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close/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close/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7E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89" name="Freeform 77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0" name="Freeform 78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close/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close/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6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1" name="Freeform 79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2" name="Freeform 80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close/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close/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close/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close/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close/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close/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close/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close/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close/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close/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3" name="Freeform 81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4" name="Freeform 82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close/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close/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close/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close/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close/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close/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close/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close/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close/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close/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3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5" name="Freeform 83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6" name="Freeform 84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close/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close/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close/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7" name="Freeform 85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8" name="Freeform 86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close/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close/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close/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close/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399" name="Freeform 87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0" name="Freeform 88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close/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DF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1" name="Freeform 89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2" name="Freeform 90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close/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3" name="Freeform 91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4" name="Freeform 92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C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5" name="Freeform 93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6" name="Freeform 94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close/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close/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close/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7" name="Freeform 95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8" name="Freeform 96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09" name="Freeform 97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0" name="Freeform 98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close/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close/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7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1" name="Freeform 99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2" name="Freeform 100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close/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3" name="Freeform 101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4" name="Freeform 102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close/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close/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close/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close/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close/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close/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close/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close/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close/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close/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  <a:close/>
                  </a:path>
                </a:pathLst>
              </a:custGeom>
              <a:solidFill>
                <a:srgbClr val="D5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5" name="Freeform 103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6" name="Freeform 104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7" name="Freeform 105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8" name="Freeform 106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close/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close/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19" name="Freeform 107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0" name="Freeform 108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close/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close/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close/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close/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close/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close/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close/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close/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close/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close/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1" name="Freeform 109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2" name="Freeform 110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close/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3" name="Freeform 111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4" name="Freeform 112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E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5" name="Freeform 113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6" name="Freeform 114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7" name="Freeform 115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8" name="Freeform 116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close/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close/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29" name="Freeform 117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0" name="Freeform 118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close/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close/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close/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close/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close/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1" name="Freeform 119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2" name="Freeform 120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close/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3" name="Freeform 121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4" name="Freeform 122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close/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close/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close/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close/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close/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7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5" name="Freeform 123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6" name="Freeform 124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5C5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7" name="Freeform 125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8" name="Freeform 126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close/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4C3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39" name="Freeform 127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0" name="Freeform 128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close/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2C2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1" name="Freeform 129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2" name="Freeform 130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close/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close/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close/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close/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close/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close/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close/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close/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1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3" name="Freeform 131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4" name="Freeform 132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5" name="Freeform 133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6" name="Freeform 134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7" name="Freeform 135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8" name="Freeform 136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close/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close/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close/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close/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close/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close/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close/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close/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close/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close/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close/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close/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close/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close/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close/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close/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close/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close/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close/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close/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close/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close/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close/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close/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close/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close/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close/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BD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49" name="Freeform 137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0" name="Freeform 138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close/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close/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B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1" name="Freeform 139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2" name="Freeform 140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3" name="Freeform 141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4" name="Freeform 142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close/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close/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close/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B9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5" name="Freeform 143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6" name="Freeform 144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11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7" name="Freeform 145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8" name="Freeform 147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close/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4459" name="Freeform 148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grpSp>
          <p:nvGrpSpPr>
            <p:cNvPr id="157" name="Group 41"/>
            <p:cNvGrpSpPr>
              <a:grpSpLocks noChangeAspect="1"/>
            </p:cNvGrpSpPr>
            <p:nvPr/>
          </p:nvGrpSpPr>
          <p:grpSpPr bwMode="auto">
            <a:xfrm flipH="1">
              <a:off x="6034177" y="3845169"/>
              <a:ext cx="6239885" cy="2465577"/>
              <a:chOff x="-95" y="1253"/>
              <a:chExt cx="7661" cy="3175"/>
            </a:xfrm>
          </p:grpSpPr>
          <p:sp>
            <p:nvSpPr>
              <p:cNvPr id="158" name="AutoShape 40"/>
              <p:cNvSpPr>
                <a:spLocks noChangeAspect="1" noChangeArrowheads="1" noTextEdit="1"/>
              </p:cNvSpPr>
              <p:nvPr/>
            </p:nvSpPr>
            <p:spPr bwMode="auto">
              <a:xfrm>
                <a:off x="-95" y="1253"/>
                <a:ext cx="7661" cy="3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9" name="Freeform 42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0" name="Freeform 43"/>
              <p:cNvSpPr>
                <a:spLocks noEditPoints="1"/>
              </p:cNvSpPr>
              <p:nvPr/>
            </p:nvSpPr>
            <p:spPr bwMode="auto">
              <a:xfrm>
                <a:off x="47" y="1755"/>
                <a:ext cx="6930" cy="1359"/>
              </a:xfrm>
              <a:custGeom>
                <a:avLst/>
                <a:gdLst>
                  <a:gd name="T0" fmla="*/ 5734 w 6930"/>
                  <a:gd name="T1" fmla="*/ 1231 h 1359"/>
                  <a:gd name="T2" fmla="*/ 5760 w 6930"/>
                  <a:gd name="T3" fmla="*/ 1129 h 1359"/>
                  <a:gd name="T4" fmla="*/ 5760 w 6930"/>
                  <a:gd name="T5" fmla="*/ 1186 h 1359"/>
                  <a:gd name="T6" fmla="*/ 5760 w 6930"/>
                  <a:gd name="T7" fmla="*/ 1129 h 1359"/>
                  <a:gd name="T8" fmla="*/ 2764 w 6930"/>
                  <a:gd name="T9" fmla="*/ 1146 h 1359"/>
                  <a:gd name="T10" fmla="*/ 5835 w 6930"/>
                  <a:gd name="T11" fmla="*/ 1042 h 1359"/>
                  <a:gd name="T12" fmla="*/ 5835 w 6930"/>
                  <a:gd name="T13" fmla="*/ 1054 h 1359"/>
                  <a:gd name="T14" fmla="*/ 5835 w 6930"/>
                  <a:gd name="T15" fmla="*/ 1042 h 1359"/>
                  <a:gd name="T16" fmla="*/ 2781 w 6930"/>
                  <a:gd name="T17" fmla="*/ 1046 h 1359"/>
                  <a:gd name="T18" fmla="*/ 2783 w 6930"/>
                  <a:gd name="T19" fmla="*/ 1044 h 1359"/>
                  <a:gd name="T20" fmla="*/ 3674 w 6930"/>
                  <a:gd name="T21" fmla="*/ 994 h 1359"/>
                  <a:gd name="T22" fmla="*/ 3674 w 6930"/>
                  <a:gd name="T23" fmla="*/ 1162 h 1359"/>
                  <a:gd name="T24" fmla="*/ 5854 w 6930"/>
                  <a:gd name="T25" fmla="*/ 990 h 1359"/>
                  <a:gd name="T26" fmla="*/ 5852 w 6930"/>
                  <a:gd name="T27" fmla="*/ 1025 h 1359"/>
                  <a:gd name="T28" fmla="*/ 5854 w 6930"/>
                  <a:gd name="T29" fmla="*/ 990 h 1359"/>
                  <a:gd name="T30" fmla="*/ 6242 w 6930"/>
                  <a:gd name="T31" fmla="*/ 1113 h 1359"/>
                  <a:gd name="T32" fmla="*/ 6245 w 6930"/>
                  <a:gd name="T33" fmla="*/ 1110 h 1359"/>
                  <a:gd name="T34" fmla="*/ 6292 w 6930"/>
                  <a:gd name="T35" fmla="*/ 878 h 1359"/>
                  <a:gd name="T36" fmla="*/ 6292 w 6930"/>
                  <a:gd name="T37" fmla="*/ 885 h 1359"/>
                  <a:gd name="T38" fmla="*/ 6301 w 6930"/>
                  <a:gd name="T39" fmla="*/ 850 h 1359"/>
                  <a:gd name="T40" fmla="*/ 6301 w 6930"/>
                  <a:gd name="T41" fmla="*/ 871 h 1359"/>
                  <a:gd name="T42" fmla="*/ 6301 w 6930"/>
                  <a:gd name="T43" fmla="*/ 850 h 1359"/>
                  <a:gd name="T44" fmla="*/ 3003 w 6930"/>
                  <a:gd name="T45" fmla="*/ 885 h 1359"/>
                  <a:gd name="T46" fmla="*/ 5036 w 6930"/>
                  <a:gd name="T47" fmla="*/ 732 h 1359"/>
                  <a:gd name="T48" fmla="*/ 5036 w 6930"/>
                  <a:gd name="T49" fmla="*/ 878 h 1359"/>
                  <a:gd name="T50" fmla="*/ 3041 w 6930"/>
                  <a:gd name="T51" fmla="*/ 658 h 1359"/>
                  <a:gd name="T52" fmla="*/ 3043 w 6930"/>
                  <a:gd name="T53" fmla="*/ 724 h 1359"/>
                  <a:gd name="T54" fmla="*/ 2 w 6930"/>
                  <a:gd name="T55" fmla="*/ 618 h 1359"/>
                  <a:gd name="T56" fmla="*/ 2 w 6930"/>
                  <a:gd name="T57" fmla="*/ 1359 h 1359"/>
                  <a:gd name="T58" fmla="*/ 5157 w 6930"/>
                  <a:gd name="T59" fmla="*/ 611 h 1359"/>
                  <a:gd name="T60" fmla="*/ 5157 w 6930"/>
                  <a:gd name="T61" fmla="*/ 611 h 1359"/>
                  <a:gd name="T62" fmla="*/ 6928 w 6930"/>
                  <a:gd name="T63" fmla="*/ 999 h 1359"/>
                  <a:gd name="T64" fmla="*/ 3204 w 6930"/>
                  <a:gd name="T65" fmla="*/ 502 h 1359"/>
                  <a:gd name="T66" fmla="*/ 3204 w 6930"/>
                  <a:gd name="T67" fmla="*/ 563 h 1359"/>
                  <a:gd name="T68" fmla="*/ 3939 w 6930"/>
                  <a:gd name="T69" fmla="*/ 455 h 1359"/>
                  <a:gd name="T70" fmla="*/ 3859 w 6930"/>
                  <a:gd name="T71" fmla="*/ 833 h 1359"/>
                  <a:gd name="T72" fmla="*/ 3941 w 6930"/>
                  <a:gd name="T73" fmla="*/ 490 h 1359"/>
                  <a:gd name="T74" fmla="*/ 3232 w 6930"/>
                  <a:gd name="T75" fmla="*/ 436 h 1359"/>
                  <a:gd name="T76" fmla="*/ 3232 w 6930"/>
                  <a:gd name="T77" fmla="*/ 471 h 1359"/>
                  <a:gd name="T78" fmla="*/ 3946 w 6930"/>
                  <a:gd name="T79" fmla="*/ 391 h 1359"/>
                  <a:gd name="T80" fmla="*/ 3946 w 6930"/>
                  <a:gd name="T81" fmla="*/ 450 h 1359"/>
                  <a:gd name="T82" fmla="*/ 3946 w 6930"/>
                  <a:gd name="T83" fmla="*/ 391 h 1359"/>
                  <a:gd name="T84" fmla="*/ 1712 w 6930"/>
                  <a:gd name="T85" fmla="*/ 1037 h 1359"/>
                  <a:gd name="T86" fmla="*/ 3956 w 6930"/>
                  <a:gd name="T87" fmla="*/ 329 h 1359"/>
                  <a:gd name="T88" fmla="*/ 3956 w 6930"/>
                  <a:gd name="T89" fmla="*/ 384 h 1359"/>
                  <a:gd name="T90" fmla="*/ 3956 w 6930"/>
                  <a:gd name="T91" fmla="*/ 329 h 1359"/>
                  <a:gd name="T92" fmla="*/ 4552 w 6930"/>
                  <a:gd name="T93" fmla="*/ 433 h 1359"/>
                  <a:gd name="T94" fmla="*/ 4757 w 6930"/>
                  <a:gd name="T95" fmla="*/ 0 h 1359"/>
                  <a:gd name="T96" fmla="*/ 4757 w 6930"/>
                  <a:gd name="T97" fmla="*/ 125 h 1359"/>
                  <a:gd name="T98" fmla="*/ 4757 w 6930"/>
                  <a:gd name="T99" fmla="*/ 0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59"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146"/>
                    </a:lnTo>
                    <a:lnTo>
                      <a:pt x="2764" y="1146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878"/>
                    </a:lnTo>
                    <a:lnTo>
                      <a:pt x="5036" y="878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1359"/>
                    </a:lnTo>
                    <a:lnTo>
                      <a:pt x="2" y="1359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37"/>
                    </a:lnTo>
                    <a:lnTo>
                      <a:pt x="5157" y="637"/>
                    </a:lnTo>
                    <a:lnTo>
                      <a:pt x="5157" y="611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999"/>
                    </a:lnTo>
                    <a:lnTo>
                      <a:pt x="6930" y="999"/>
                    </a:lnTo>
                    <a:lnTo>
                      <a:pt x="6930" y="509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33"/>
                    </a:lnTo>
                    <a:lnTo>
                      <a:pt x="3859" y="833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552" y="433"/>
                    </a:lnTo>
                    <a:lnTo>
                      <a:pt x="4554" y="431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1" name="Freeform 44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2" name="Freeform 45"/>
              <p:cNvSpPr>
                <a:spLocks noEditPoints="1"/>
              </p:cNvSpPr>
              <p:nvPr/>
            </p:nvSpPr>
            <p:spPr bwMode="auto">
              <a:xfrm>
                <a:off x="49" y="1755"/>
                <a:ext cx="6931" cy="1359"/>
              </a:xfrm>
              <a:custGeom>
                <a:avLst/>
                <a:gdLst>
                  <a:gd name="T0" fmla="*/ 3613 w 6931"/>
                  <a:gd name="T1" fmla="*/ 1222 h 1359"/>
                  <a:gd name="T2" fmla="*/ 5736 w 6931"/>
                  <a:gd name="T3" fmla="*/ 1207 h 1359"/>
                  <a:gd name="T4" fmla="*/ 5734 w 6931"/>
                  <a:gd name="T5" fmla="*/ 1231 h 1359"/>
                  <a:gd name="T6" fmla="*/ 5760 w 6931"/>
                  <a:gd name="T7" fmla="*/ 1127 h 1359"/>
                  <a:gd name="T8" fmla="*/ 5758 w 6931"/>
                  <a:gd name="T9" fmla="*/ 1184 h 1359"/>
                  <a:gd name="T10" fmla="*/ 5760 w 6931"/>
                  <a:gd name="T11" fmla="*/ 1181 h 1359"/>
                  <a:gd name="T12" fmla="*/ 2762 w 6931"/>
                  <a:gd name="T13" fmla="*/ 1061 h 1359"/>
                  <a:gd name="T14" fmla="*/ 2764 w 6931"/>
                  <a:gd name="T15" fmla="*/ 1146 h 1359"/>
                  <a:gd name="T16" fmla="*/ 5833 w 6931"/>
                  <a:gd name="T17" fmla="*/ 1039 h 1359"/>
                  <a:gd name="T18" fmla="*/ 5836 w 6931"/>
                  <a:gd name="T19" fmla="*/ 1054 h 1359"/>
                  <a:gd name="T20" fmla="*/ 5836 w 6931"/>
                  <a:gd name="T21" fmla="*/ 1039 h 1359"/>
                  <a:gd name="T22" fmla="*/ 2781 w 6931"/>
                  <a:gd name="T23" fmla="*/ 1013 h 1359"/>
                  <a:gd name="T24" fmla="*/ 2781 w 6931"/>
                  <a:gd name="T25" fmla="*/ 1042 h 1359"/>
                  <a:gd name="T26" fmla="*/ 3675 w 6931"/>
                  <a:gd name="T27" fmla="*/ 992 h 1359"/>
                  <a:gd name="T28" fmla="*/ 3672 w 6931"/>
                  <a:gd name="T29" fmla="*/ 1162 h 1359"/>
                  <a:gd name="T30" fmla="*/ 3675 w 6931"/>
                  <a:gd name="T31" fmla="*/ 1160 h 1359"/>
                  <a:gd name="T32" fmla="*/ 5852 w 6931"/>
                  <a:gd name="T33" fmla="*/ 990 h 1359"/>
                  <a:gd name="T34" fmla="*/ 5852 w 6931"/>
                  <a:gd name="T35" fmla="*/ 1023 h 1359"/>
                  <a:gd name="T36" fmla="*/ 5855 w 6931"/>
                  <a:gd name="T37" fmla="*/ 990 h 1359"/>
                  <a:gd name="T38" fmla="*/ 6243 w 6931"/>
                  <a:gd name="T39" fmla="*/ 938 h 1359"/>
                  <a:gd name="T40" fmla="*/ 6245 w 6931"/>
                  <a:gd name="T41" fmla="*/ 1108 h 1359"/>
                  <a:gd name="T42" fmla="*/ 6295 w 6931"/>
                  <a:gd name="T43" fmla="*/ 878 h 1359"/>
                  <a:gd name="T44" fmla="*/ 6292 w 6931"/>
                  <a:gd name="T45" fmla="*/ 885 h 1359"/>
                  <a:gd name="T46" fmla="*/ 6295 w 6931"/>
                  <a:gd name="T47" fmla="*/ 885 h 1359"/>
                  <a:gd name="T48" fmla="*/ 6299 w 6931"/>
                  <a:gd name="T49" fmla="*/ 850 h 1359"/>
                  <a:gd name="T50" fmla="*/ 6302 w 6931"/>
                  <a:gd name="T51" fmla="*/ 869 h 1359"/>
                  <a:gd name="T52" fmla="*/ 6302 w 6931"/>
                  <a:gd name="T53" fmla="*/ 850 h 1359"/>
                  <a:gd name="T54" fmla="*/ 3003 w 6931"/>
                  <a:gd name="T55" fmla="*/ 762 h 1359"/>
                  <a:gd name="T56" fmla="*/ 3005 w 6931"/>
                  <a:gd name="T57" fmla="*/ 762 h 1359"/>
                  <a:gd name="T58" fmla="*/ 5034 w 6931"/>
                  <a:gd name="T59" fmla="*/ 732 h 1359"/>
                  <a:gd name="T60" fmla="*/ 5037 w 6931"/>
                  <a:gd name="T61" fmla="*/ 732 h 1359"/>
                  <a:gd name="T62" fmla="*/ 3041 w 6931"/>
                  <a:gd name="T63" fmla="*/ 658 h 1359"/>
                  <a:gd name="T64" fmla="*/ 3041 w 6931"/>
                  <a:gd name="T65" fmla="*/ 722 h 1359"/>
                  <a:gd name="T66" fmla="*/ 0 w 6931"/>
                  <a:gd name="T67" fmla="*/ 616 h 1359"/>
                  <a:gd name="T68" fmla="*/ 0 w 6931"/>
                  <a:gd name="T69" fmla="*/ 1359 h 1359"/>
                  <a:gd name="T70" fmla="*/ 5157 w 6931"/>
                  <a:gd name="T71" fmla="*/ 608 h 1359"/>
                  <a:gd name="T72" fmla="*/ 5155 w 6931"/>
                  <a:gd name="T73" fmla="*/ 637 h 1359"/>
                  <a:gd name="T74" fmla="*/ 6931 w 6931"/>
                  <a:gd name="T75" fmla="*/ 507 h 1359"/>
                  <a:gd name="T76" fmla="*/ 6928 w 6931"/>
                  <a:gd name="T77" fmla="*/ 999 h 1359"/>
                  <a:gd name="T78" fmla="*/ 3204 w 6931"/>
                  <a:gd name="T79" fmla="*/ 500 h 1359"/>
                  <a:gd name="T80" fmla="*/ 3202 w 6931"/>
                  <a:gd name="T81" fmla="*/ 563 h 1359"/>
                  <a:gd name="T82" fmla="*/ 3204 w 6931"/>
                  <a:gd name="T83" fmla="*/ 561 h 1359"/>
                  <a:gd name="T84" fmla="*/ 3939 w 6931"/>
                  <a:gd name="T85" fmla="*/ 452 h 1359"/>
                  <a:gd name="T86" fmla="*/ 3857 w 6931"/>
                  <a:gd name="T87" fmla="*/ 642 h 1359"/>
                  <a:gd name="T88" fmla="*/ 3859 w 6931"/>
                  <a:gd name="T89" fmla="*/ 639 h 1359"/>
                  <a:gd name="T90" fmla="*/ 3232 w 6931"/>
                  <a:gd name="T91" fmla="*/ 433 h 1359"/>
                  <a:gd name="T92" fmla="*/ 3232 w 6931"/>
                  <a:gd name="T93" fmla="*/ 471 h 1359"/>
                  <a:gd name="T94" fmla="*/ 3232 w 6931"/>
                  <a:gd name="T95" fmla="*/ 471 h 1359"/>
                  <a:gd name="T96" fmla="*/ 3944 w 6931"/>
                  <a:gd name="T97" fmla="*/ 391 h 1359"/>
                  <a:gd name="T98" fmla="*/ 3947 w 6931"/>
                  <a:gd name="T99" fmla="*/ 447 h 1359"/>
                  <a:gd name="T100" fmla="*/ 3947 w 6931"/>
                  <a:gd name="T101" fmla="*/ 391 h 1359"/>
                  <a:gd name="T102" fmla="*/ 1712 w 6931"/>
                  <a:gd name="T103" fmla="*/ 369 h 1359"/>
                  <a:gd name="T104" fmla="*/ 1714 w 6931"/>
                  <a:gd name="T105" fmla="*/ 367 h 1359"/>
                  <a:gd name="T106" fmla="*/ 3954 w 6931"/>
                  <a:gd name="T107" fmla="*/ 329 h 1359"/>
                  <a:gd name="T108" fmla="*/ 3954 w 6931"/>
                  <a:gd name="T109" fmla="*/ 381 h 1359"/>
                  <a:gd name="T110" fmla="*/ 4609 w 6931"/>
                  <a:gd name="T111" fmla="*/ 230 h 1359"/>
                  <a:gd name="T112" fmla="*/ 4552 w 6931"/>
                  <a:gd name="T113" fmla="*/ 431 h 1359"/>
                  <a:gd name="T114" fmla="*/ 4758 w 6931"/>
                  <a:gd name="T115" fmla="*/ 0 h 1359"/>
                  <a:gd name="T116" fmla="*/ 4755 w 6931"/>
                  <a:gd name="T117" fmla="*/ 123 h 1359"/>
                  <a:gd name="T118" fmla="*/ 4758 w 6931"/>
                  <a:gd name="T119" fmla="*/ 121 h 1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1" h="1359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6" y="1222"/>
                    </a:lnTo>
                    <a:lnTo>
                      <a:pt x="3616" y="1222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31"/>
                    </a:lnTo>
                    <a:lnTo>
                      <a:pt x="5736" y="1231"/>
                    </a:lnTo>
                    <a:lnTo>
                      <a:pt x="5736" y="1207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2764" y="1061"/>
                    </a:move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46"/>
                    </a:lnTo>
                    <a:lnTo>
                      <a:pt x="2764" y="1146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85"/>
                    </a:lnTo>
                    <a:lnTo>
                      <a:pt x="3005" y="885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78"/>
                    </a:lnTo>
                    <a:lnTo>
                      <a:pt x="5037" y="878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59"/>
                    </a:lnTo>
                    <a:lnTo>
                      <a:pt x="0" y="1359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37"/>
                    </a:lnTo>
                    <a:lnTo>
                      <a:pt x="5157" y="637"/>
                    </a:lnTo>
                    <a:lnTo>
                      <a:pt x="5157" y="608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999"/>
                    </a:lnTo>
                    <a:lnTo>
                      <a:pt x="6931" y="999"/>
                    </a:lnTo>
                    <a:lnTo>
                      <a:pt x="6931" y="507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33"/>
                    </a:lnTo>
                    <a:lnTo>
                      <a:pt x="3859" y="833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37"/>
                    </a:lnTo>
                    <a:lnTo>
                      <a:pt x="1714" y="1037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2" y="431"/>
                    </a:lnTo>
                    <a:lnTo>
                      <a:pt x="4554" y="431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3" name="Freeform 46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close/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FCFC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4" name="Freeform 47"/>
              <p:cNvSpPr>
                <a:spLocks noEditPoints="1"/>
              </p:cNvSpPr>
              <p:nvPr/>
            </p:nvSpPr>
            <p:spPr bwMode="auto">
              <a:xfrm>
                <a:off x="49" y="1753"/>
                <a:ext cx="6933" cy="1361"/>
              </a:xfrm>
              <a:custGeom>
                <a:avLst/>
                <a:gdLst>
                  <a:gd name="T0" fmla="*/ 3616 w 6933"/>
                  <a:gd name="T1" fmla="*/ 1224 h 1361"/>
                  <a:gd name="T2" fmla="*/ 3618 w 6933"/>
                  <a:gd name="T3" fmla="*/ 1221 h 1361"/>
                  <a:gd name="T4" fmla="*/ 5736 w 6933"/>
                  <a:gd name="T5" fmla="*/ 1209 h 1361"/>
                  <a:gd name="T6" fmla="*/ 5736 w 6933"/>
                  <a:gd name="T7" fmla="*/ 1207 h 1361"/>
                  <a:gd name="T8" fmla="*/ 5760 w 6933"/>
                  <a:gd name="T9" fmla="*/ 1129 h 1361"/>
                  <a:gd name="T10" fmla="*/ 5763 w 6933"/>
                  <a:gd name="T11" fmla="*/ 1181 h 1361"/>
                  <a:gd name="T12" fmla="*/ 2767 w 6933"/>
                  <a:gd name="T13" fmla="*/ 1063 h 1361"/>
                  <a:gd name="T14" fmla="*/ 2764 w 6933"/>
                  <a:gd name="T15" fmla="*/ 1148 h 1361"/>
                  <a:gd name="T16" fmla="*/ 5838 w 6933"/>
                  <a:gd name="T17" fmla="*/ 1041 h 1361"/>
                  <a:gd name="T18" fmla="*/ 5836 w 6933"/>
                  <a:gd name="T19" fmla="*/ 1053 h 1361"/>
                  <a:gd name="T20" fmla="*/ 5838 w 6933"/>
                  <a:gd name="T21" fmla="*/ 1051 h 1361"/>
                  <a:gd name="T22" fmla="*/ 2783 w 6933"/>
                  <a:gd name="T23" fmla="*/ 1011 h 1361"/>
                  <a:gd name="T24" fmla="*/ 2783 w 6933"/>
                  <a:gd name="T25" fmla="*/ 1044 h 1361"/>
                  <a:gd name="T26" fmla="*/ 2783 w 6933"/>
                  <a:gd name="T27" fmla="*/ 1011 h 1361"/>
                  <a:gd name="T28" fmla="*/ 3675 w 6933"/>
                  <a:gd name="T29" fmla="*/ 994 h 1361"/>
                  <a:gd name="T30" fmla="*/ 3677 w 6933"/>
                  <a:gd name="T31" fmla="*/ 1160 h 1361"/>
                  <a:gd name="T32" fmla="*/ 5855 w 6933"/>
                  <a:gd name="T33" fmla="*/ 989 h 1361"/>
                  <a:gd name="T34" fmla="*/ 5855 w 6933"/>
                  <a:gd name="T35" fmla="*/ 1025 h 1361"/>
                  <a:gd name="T36" fmla="*/ 5855 w 6933"/>
                  <a:gd name="T37" fmla="*/ 1022 h 1361"/>
                  <a:gd name="T38" fmla="*/ 6245 w 6933"/>
                  <a:gd name="T39" fmla="*/ 935 h 1361"/>
                  <a:gd name="T40" fmla="*/ 6245 w 6933"/>
                  <a:gd name="T41" fmla="*/ 1110 h 1361"/>
                  <a:gd name="T42" fmla="*/ 6247 w 6933"/>
                  <a:gd name="T43" fmla="*/ 935 h 1361"/>
                  <a:gd name="T44" fmla="*/ 6295 w 6933"/>
                  <a:gd name="T45" fmla="*/ 880 h 1361"/>
                  <a:gd name="T46" fmla="*/ 6295 w 6933"/>
                  <a:gd name="T47" fmla="*/ 885 h 1361"/>
                  <a:gd name="T48" fmla="*/ 6304 w 6933"/>
                  <a:gd name="T49" fmla="*/ 850 h 1361"/>
                  <a:gd name="T50" fmla="*/ 6302 w 6933"/>
                  <a:gd name="T51" fmla="*/ 871 h 1361"/>
                  <a:gd name="T52" fmla="*/ 6304 w 6933"/>
                  <a:gd name="T53" fmla="*/ 869 h 1361"/>
                  <a:gd name="T54" fmla="*/ 3005 w 6933"/>
                  <a:gd name="T55" fmla="*/ 762 h 1361"/>
                  <a:gd name="T56" fmla="*/ 3008 w 6933"/>
                  <a:gd name="T57" fmla="*/ 887 h 1361"/>
                  <a:gd name="T58" fmla="*/ 5037 w 6933"/>
                  <a:gd name="T59" fmla="*/ 731 h 1361"/>
                  <a:gd name="T60" fmla="*/ 5039 w 6933"/>
                  <a:gd name="T61" fmla="*/ 880 h 1361"/>
                  <a:gd name="T62" fmla="*/ 3043 w 6933"/>
                  <a:gd name="T63" fmla="*/ 655 h 1361"/>
                  <a:gd name="T64" fmla="*/ 3043 w 6933"/>
                  <a:gd name="T65" fmla="*/ 724 h 1361"/>
                  <a:gd name="T66" fmla="*/ 3046 w 6933"/>
                  <a:gd name="T67" fmla="*/ 655 h 1361"/>
                  <a:gd name="T68" fmla="*/ 0 w 6933"/>
                  <a:gd name="T69" fmla="*/ 618 h 1361"/>
                  <a:gd name="T70" fmla="*/ 3 w 6933"/>
                  <a:gd name="T71" fmla="*/ 615 h 1361"/>
                  <a:gd name="T72" fmla="*/ 5157 w 6933"/>
                  <a:gd name="T73" fmla="*/ 610 h 1361"/>
                  <a:gd name="T74" fmla="*/ 5160 w 6933"/>
                  <a:gd name="T75" fmla="*/ 608 h 1361"/>
                  <a:gd name="T76" fmla="*/ 6931 w 6933"/>
                  <a:gd name="T77" fmla="*/ 509 h 1361"/>
                  <a:gd name="T78" fmla="*/ 6933 w 6933"/>
                  <a:gd name="T79" fmla="*/ 509 h 1361"/>
                  <a:gd name="T80" fmla="*/ 3204 w 6933"/>
                  <a:gd name="T81" fmla="*/ 502 h 1361"/>
                  <a:gd name="T82" fmla="*/ 3206 w 6933"/>
                  <a:gd name="T83" fmla="*/ 563 h 1361"/>
                  <a:gd name="T84" fmla="*/ 3944 w 6933"/>
                  <a:gd name="T85" fmla="*/ 454 h 1361"/>
                  <a:gd name="T86" fmla="*/ 3942 w 6933"/>
                  <a:gd name="T87" fmla="*/ 490 h 1361"/>
                  <a:gd name="T88" fmla="*/ 3861 w 6933"/>
                  <a:gd name="T89" fmla="*/ 835 h 1361"/>
                  <a:gd name="T90" fmla="*/ 3944 w 6933"/>
                  <a:gd name="T91" fmla="*/ 454 h 1361"/>
                  <a:gd name="T92" fmla="*/ 3232 w 6933"/>
                  <a:gd name="T93" fmla="*/ 435 h 1361"/>
                  <a:gd name="T94" fmla="*/ 3235 w 6933"/>
                  <a:gd name="T95" fmla="*/ 471 h 1361"/>
                  <a:gd name="T96" fmla="*/ 3949 w 6933"/>
                  <a:gd name="T97" fmla="*/ 390 h 1361"/>
                  <a:gd name="T98" fmla="*/ 3947 w 6933"/>
                  <a:gd name="T99" fmla="*/ 447 h 1361"/>
                  <a:gd name="T100" fmla="*/ 3949 w 6933"/>
                  <a:gd name="T101" fmla="*/ 445 h 1361"/>
                  <a:gd name="T102" fmla="*/ 1714 w 6933"/>
                  <a:gd name="T103" fmla="*/ 367 h 1361"/>
                  <a:gd name="T104" fmla="*/ 1717 w 6933"/>
                  <a:gd name="T105" fmla="*/ 1039 h 1361"/>
                  <a:gd name="T106" fmla="*/ 3956 w 6933"/>
                  <a:gd name="T107" fmla="*/ 326 h 1361"/>
                  <a:gd name="T108" fmla="*/ 3956 w 6933"/>
                  <a:gd name="T109" fmla="*/ 383 h 1361"/>
                  <a:gd name="T110" fmla="*/ 3956 w 6933"/>
                  <a:gd name="T111" fmla="*/ 326 h 1361"/>
                  <a:gd name="T112" fmla="*/ 4609 w 6933"/>
                  <a:gd name="T113" fmla="*/ 232 h 1361"/>
                  <a:gd name="T114" fmla="*/ 4609 w 6933"/>
                  <a:gd name="T115" fmla="*/ 232 h 1361"/>
                  <a:gd name="T116" fmla="*/ 4758 w 6933"/>
                  <a:gd name="T117" fmla="*/ 2 h 1361"/>
                  <a:gd name="T118" fmla="*/ 4758 w 6933"/>
                  <a:gd name="T119" fmla="*/ 120 h 1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61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24"/>
                    </a:lnTo>
                    <a:lnTo>
                      <a:pt x="3618" y="1224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09"/>
                    </a:lnTo>
                    <a:lnTo>
                      <a:pt x="5736" y="1233"/>
                    </a:lnTo>
                    <a:lnTo>
                      <a:pt x="5736" y="1233"/>
                    </a:lnTo>
                    <a:lnTo>
                      <a:pt x="5736" y="1207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48"/>
                    </a:lnTo>
                    <a:lnTo>
                      <a:pt x="2767" y="1148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8" y="1051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887"/>
                    </a:lnTo>
                    <a:lnTo>
                      <a:pt x="3008" y="887"/>
                    </a:lnTo>
                    <a:lnTo>
                      <a:pt x="3008" y="76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80"/>
                    </a:lnTo>
                    <a:lnTo>
                      <a:pt x="5039" y="880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61"/>
                    </a:lnTo>
                    <a:lnTo>
                      <a:pt x="3" y="1361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39"/>
                    </a:lnTo>
                    <a:lnTo>
                      <a:pt x="5160" y="639"/>
                    </a:lnTo>
                    <a:lnTo>
                      <a:pt x="5160" y="608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01"/>
                    </a:lnTo>
                    <a:lnTo>
                      <a:pt x="6933" y="1001"/>
                    </a:lnTo>
                    <a:lnTo>
                      <a:pt x="6933" y="509"/>
                    </a:lnTo>
                    <a:moveTo>
                      <a:pt x="3206" y="499"/>
                    </a:move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35"/>
                    </a:lnTo>
                    <a:lnTo>
                      <a:pt x="3861" y="835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39"/>
                    </a:lnTo>
                    <a:lnTo>
                      <a:pt x="1717" y="1039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4" y="433"/>
                    </a:lnTo>
                    <a:lnTo>
                      <a:pt x="4554" y="431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5" name="Freeform 48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B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6" name="Freeform 49"/>
              <p:cNvSpPr>
                <a:spLocks noEditPoints="1"/>
              </p:cNvSpPr>
              <p:nvPr/>
            </p:nvSpPr>
            <p:spPr bwMode="auto">
              <a:xfrm>
                <a:off x="52" y="1750"/>
                <a:ext cx="6930" cy="1364"/>
              </a:xfrm>
              <a:custGeom>
                <a:avLst/>
                <a:gdLst>
                  <a:gd name="T0" fmla="*/ 3615 w 6930"/>
                  <a:gd name="T1" fmla="*/ 1224 h 1364"/>
                  <a:gd name="T2" fmla="*/ 3617 w 6930"/>
                  <a:gd name="T3" fmla="*/ 1222 h 1364"/>
                  <a:gd name="T4" fmla="*/ 5733 w 6930"/>
                  <a:gd name="T5" fmla="*/ 1210 h 1364"/>
                  <a:gd name="T6" fmla="*/ 5736 w 6930"/>
                  <a:gd name="T7" fmla="*/ 1208 h 1364"/>
                  <a:gd name="T8" fmla="*/ 5760 w 6930"/>
                  <a:gd name="T9" fmla="*/ 1130 h 1364"/>
                  <a:gd name="T10" fmla="*/ 5760 w 6930"/>
                  <a:gd name="T11" fmla="*/ 1182 h 1364"/>
                  <a:gd name="T12" fmla="*/ 2766 w 6930"/>
                  <a:gd name="T13" fmla="*/ 1063 h 1364"/>
                  <a:gd name="T14" fmla="*/ 2764 w 6930"/>
                  <a:gd name="T15" fmla="*/ 1151 h 1364"/>
                  <a:gd name="T16" fmla="*/ 5835 w 6930"/>
                  <a:gd name="T17" fmla="*/ 1042 h 1364"/>
                  <a:gd name="T18" fmla="*/ 5835 w 6930"/>
                  <a:gd name="T19" fmla="*/ 1054 h 1364"/>
                  <a:gd name="T20" fmla="*/ 5835 w 6930"/>
                  <a:gd name="T21" fmla="*/ 1051 h 1364"/>
                  <a:gd name="T22" fmla="*/ 2780 w 6930"/>
                  <a:gd name="T23" fmla="*/ 1014 h 1364"/>
                  <a:gd name="T24" fmla="*/ 2783 w 6930"/>
                  <a:gd name="T25" fmla="*/ 1047 h 1364"/>
                  <a:gd name="T26" fmla="*/ 2783 w 6930"/>
                  <a:gd name="T27" fmla="*/ 1011 h 1364"/>
                  <a:gd name="T28" fmla="*/ 3674 w 6930"/>
                  <a:gd name="T29" fmla="*/ 995 h 1364"/>
                  <a:gd name="T30" fmla="*/ 3676 w 6930"/>
                  <a:gd name="T31" fmla="*/ 1160 h 1364"/>
                  <a:gd name="T32" fmla="*/ 5854 w 6930"/>
                  <a:gd name="T33" fmla="*/ 990 h 1364"/>
                  <a:gd name="T34" fmla="*/ 5852 w 6930"/>
                  <a:gd name="T35" fmla="*/ 1025 h 1364"/>
                  <a:gd name="T36" fmla="*/ 5854 w 6930"/>
                  <a:gd name="T37" fmla="*/ 1023 h 1364"/>
                  <a:gd name="T38" fmla="*/ 6244 w 6930"/>
                  <a:gd name="T39" fmla="*/ 935 h 1364"/>
                  <a:gd name="T40" fmla="*/ 6244 w 6930"/>
                  <a:gd name="T41" fmla="*/ 1111 h 1364"/>
                  <a:gd name="T42" fmla="*/ 6244 w 6930"/>
                  <a:gd name="T43" fmla="*/ 935 h 1364"/>
                  <a:gd name="T44" fmla="*/ 6294 w 6930"/>
                  <a:gd name="T45" fmla="*/ 881 h 1364"/>
                  <a:gd name="T46" fmla="*/ 6294 w 6930"/>
                  <a:gd name="T47" fmla="*/ 886 h 1364"/>
                  <a:gd name="T48" fmla="*/ 6303 w 6930"/>
                  <a:gd name="T49" fmla="*/ 850 h 1364"/>
                  <a:gd name="T50" fmla="*/ 6301 w 6930"/>
                  <a:gd name="T51" fmla="*/ 872 h 1364"/>
                  <a:gd name="T52" fmla="*/ 6303 w 6930"/>
                  <a:gd name="T53" fmla="*/ 869 h 1364"/>
                  <a:gd name="T54" fmla="*/ 3005 w 6930"/>
                  <a:gd name="T55" fmla="*/ 763 h 1364"/>
                  <a:gd name="T56" fmla="*/ 3005 w 6930"/>
                  <a:gd name="T57" fmla="*/ 890 h 1364"/>
                  <a:gd name="T58" fmla="*/ 5036 w 6930"/>
                  <a:gd name="T59" fmla="*/ 732 h 1364"/>
                  <a:gd name="T60" fmla="*/ 5038 w 6930"/>
                  <a:gd name="T61" fmla="*/ 883 h 1364"/>
                  <a:gd name="T62" fmla="*/ 3043 w 6930"/>
                  <a:gd name="T63" fmla="*/ 656 h 1364"/>
                  <a:gd name="T64" fmla="*/ 3043 w 6930"/>
                  <a:gd name="T65" fmla="*/ 725 h 1364"/>
                  <a:gd name="T66" fmla="*/ 3045 w 6930"/>
                  <a:gd name="T67" fmla="*/ 656 h 1364"/>
                  <a:gd name="T68" fmla="*/ 0 w 6930"/>
                  <a:gd name="T69" fmla="*/ 618 h 1364"/>
                  <a:gd name="T70" fmla="*/ 2 w 6930"/>
                  <a:gd name="T71" fmla="*/ 616 h 1364"/>
                  <a:gd name="T72" fmla="*/ 5157 w 6930"/>
                  <a:gd name="T73" fmla="*/ 611 h 1364"/>
                  <a:gd name="T74" fmla="*/ 5159 w 6930"/>
                  <a:gd name="T75" fmla="*/ 609 h 1364"/>
                  <a:gd name="T76" fmla="*/ 6930 w 6930"/>
                  <a:gd name="T77" fmla="*/ 512 h 1364"/>
                  <a:gd name="T78" fmla="*/ 6930 w 6930"/>
                  <a:gd name="T79" fmla="*/ 509 h 1364"/>
                  <a:gd name="T80" fmla="*/ 3203 w 6930"/>
                  <a:gd name="T81" fmla="*/ 502 h 1364"/>
                  <a:gd name="T82" fmla="*/ 3206 w 6930"/>
                  <a:gd name="T83" fmla="*/ 564 h 1364"/>
                  <a:gd name="T84" fmla="*/ 3941 w 6930"/>
                  <a:gd name="T85" fmla="*/ 455 h 1364"/>
                  <a:gd name="T86" fmla="*/ 3941 w 6930"/>
                  <a:gd name="T87" fmla="*/ 457 h 1364"/>
                  <a:gd name="T88" fmla="*/ 3858 w 6930"/>
                  <a:gd name="T89" fmla="*/ 838 h 1364"/>
                  <a:gd name="T90" fmla="*/ 3941 w 6930"/>
                  <a:gd name="T91" fmla="*/ 490 h 1364"/>
                  <a:gd name="T92" fmla="*/ 3232 w 6930"/>
                  <a:gd name="T93" fmla="*/ 434 h 1364"/>
                  <a:gd name="T94" fmla="*/ 3234 w 6930"/>
                  <a:gd name="T95" fmla="*/ 474 h 1364"/>
                  <a:gd name="T96" fmla="*/ 3234 w 6930"/>
                  <a:gd name="T97" fmla="*/ 434 h 1364"/>
                  <a:gd name="T98" fmla="*/ 3946 w 6930"/>
                  <a:gd name="T99" fmla="*/ 393 h 1364"/>
                  <a:gd name="T100" fmla="*/ 3948 w 6930"/>
                  <a:gd name="T101" fmla="*/ 448 h 1364"/>
                  <a:gd name="T102" fmla="*/ 1716 w 6930"/>
                  <a:gd name="T103" fmla="*/ 370 h 1364"/>
                  <a:gd name="T104" fmla="*/ 1714 w 6930"/>
                  <a:gd name="T105" fmla="*/ 1042 h 1364"/>
                  <a:gd name="T106" fmla="*/ 3955 w 6930"/>
                  <a:gd name="T107" fmla="*/ 327 h 1364"/>
                  <a:gd name="T108" fmla="*/ 3953 w 6930"/>
                  <a:gd name="T109" fmla="*/ 384 h 1364"/>
                  <a:gd name="T110" fmla="*/ 3955 w 6930"/>
                  <a:gd name="T111" fmla="*/ 381 h 1364"/>
                  <a:gd name="T112" fmla="*/ 4608 w 6930"/>
                  <a:gd name="T113" fmla="*/ 232 h 1364"/>
                  <a:gd name="T114" fmla="*/ 4554 w 6930"/>
                  <a:gd name="T115" fmla="*/ 434 h 1364"/>
                  <a:gd name="T116" fmla="*/ 4757 w 6930"/>
                  <a:gd name="T117" fmla="*/ 0 h 1364"/>
                  <a:gd name="T118" fmla="*/ 4757 w 6930"/>
                  <a:gd name="T119" fmla="*/ 123 h 1364"/>
                  <a:gd name="T120" fmla="*/ 4757 w 6930"/>
                  <a:gd name="T121" fmla="*/ 0 h 13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4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7"/>
                    </a:lnTo>
                    <a:lnTo>
                      <a:pt x="3617" y="1227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3" y="1208"/>
                    </a:lnTo>
                    <a:lnTo>
                      <a:pt x="5733" y="1210"/>
                    </a:lnTo>
                    <a:lnTo>
                      <a:pt x="5733" y="1236"/>
                    </a:lnTo>
                    <a:lnTo>
                      <a:pt x="5736" y="1236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51"/>
                    </a:lnTo>
                    <a:lnTo>
                      <a:pt x="2766" y="1151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2"/>
                    </a:lnTo>
                    <a:lnTo>
                      <a:pt x="6303" y="872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0"/>
                    </a:lnTo>
                    <a:lnTo>
                      <a:pt x="3005" y="890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83"/>
                    </a:lnTo>
                    <a:lnTo>
                      <a:pt x="5038" y="883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64"/>
                    </a:lnTo>
                    <a:lnTo>
                      <a:pt x="2" y="1364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2"/>
                    </a:lnTo>
                    <a:lnTo>
                      <a:pt x="5159" y="642"/>
                    </a:lnTo>
                    <a:lnTo>
                      <a:pt x="5159" y="609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04"/>
                    </a:lnTo>
                    <a:lnTo>
                      <a:pt x="6930" y="1004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38"/>
                    </a:lnTo>
                    <a:lnTo>
                      <a:pt x="3861" y="838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4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42"/>
                    </a:lnTo>
                    <a:lnTo>
                      <a:pt x="1716" y="1042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51" y="434"/>
                    </a:lnTo>
                    <a:lnTo>
                      <a:pt x="4554" y="434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7" name="Freeform 50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9F9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" name="Freeform 51"/>
              <p:cNvSpPr>
                <a:spLocks noEditPoints="1"/>
              </p:cNvSpPr>
              <p:nvPr/>
            </p:nvSpPr>
            <p:spPr bwMode="auto">
              <a:xfrm>
                <a:off x="54" y="1748"/>
                <a:ext cx="6930" cy="1366"/>
              </a:xfrm>
              <a:custGeom>
                <a:avLst/>
                <a:gdLst>
                  <a:gd name="T0" fmla="*/ 3615 w 6930"/>
                  <a:gd name="T1" fmla="*/ 1224 h 1366"/>
                  <a:gd name="T2" fmla="*/ 3615 w 6930"/>
                  <a:gd name="T3" fmla="*/ 1222 h 1366"/>
                  <a:gd name="T4" fmla="*/ 5734 w 6930"/>
                  <a:gd name="T5" fmla="*/ 1210 h 1366"/>
                  <a:gd name="T6" fmla="*/ 5736 w 6930"/>
                  <a:gd name="T7" fmla="*/ 1210 h 1366"/>
                  <a:gd name="T8" fmla="*/ 5760 w 6930"/>
                  <a:gd name="T9" fmla="*/ 1129 h 1366"/>
                  <a:gd name="T10" fmla="*/ 5760 w 6930"/>
                  <a:gd name="T11" fmla="*/ 1184 h 1366"/>
                  <a:gd name="T12" fmla="*/ 2766 w 6930"/>
                  <a:gd name="T13" fmla="*/ 1063 h 1366"/>
                  <a:gd name="T14" fmla="*/ 2764 w 6930"/>
                  <a:gd name="T15" fmla="*/ 1153 h 1366"/>
                  <a:gd name="T16" fmla="*/ 5836 w 6930"/>
                  <a:gd name="T17" fmla="*/ 1042 h 1366"/>
                  <a:gd name="T18" fmla="*/ 5833 w 6930"/>
                  <a:gd name="T19" fmla="*/ 1053 h 1366"/>
                  <a:gd name="T20" fmla="*/ 5836 w 6930"/>
                  <a:gd name="T21" fmla="*/ 1051 h 1366"/>
                  <a:gd name="T22" fmla="*/ 2781 w 6930"/>
                  <a:gd name="T23" fmla="*/ 1013 h 1366"/>
                  <a:gd name="T24" fmla="*/ 2783 w 6930"/>
                  <a:gd name="T25" fmla="*/ 1046 h 1366"/>
                  <a:gd name="T26" fmla="*/ 2783 w 6930"/>
                  <a:gd name="T27" fmla="*/ 1013 h 1366"/>
                  <a:gd name="T28" fmla="*/ 3674 w 6930"/>
                  <a:gd name="T29" fmla="*/ 997 h 1366"/>
                  <a:gd name="T30" fmla="*/ 3674 w 6930"/>
                  <a:gd name="T31" fmla="*/ 1160 h 1366"/>
                  <a:gd name="T32" fmla="*/ 5854 w 6930"/>
                  <a:gd name="T33" fmla="*/ 990 h 1366"/>
                  <a:gd name="T34" fmla="*/ 5852 w 6930"/>
                  <a:gd name="T35" fmla="*/ 1025 h 1366"/>
                  <a:gd name="T36" fmla="*/ 5854 w 6930"/>
                  <a:gd name="T37" fmla="*/ 1023 h 1366"/>
                  <a:gd name="T38" fmla="*/ 6242 w 6930"/>
                  <a:gd name="T39" fmla="*/ 935 h 1366"/>
                  <a:gd name="T40" fmla="*/ 6245 w 6930"/>
                  <a:gd name="T41" fmla="*/ 1113 h 1366"/>
                  <a:gd name="T42" fmla="*/ 6245 w 6930"/>
                  <a:gd name="T43" fmla="*/ 935 h 1366"/>
                  <a:gd name="T44" fmla="*/ 6292 w 6930"/>
                  <a:gd name="T45" fmla="*/ 878 h 1366"/>
                  <a:gd name="T46" fmla="*/ 6294 w 6930"/>
                  <a:gd name="T47" fmla="*/ 888 h 1366"/>
                  <a:gd name="T48" fmla="*/ 6294 w 6930"/>
                  <a:gd name="T49" fmla="*/ 878 h 1366"/>
                  <a:gd name="T50" fmla="*/ 6301 w 6930"/>
                  <a:gd name="T51" fmla="*/ 852 h 1366"/>
                  <a:gd name="T52" fmla="*/ 6301 w 6930"/>
                  <a:gd name="T53" fmla="*/ 869 h 1366"/>
                  <a:gd name="T54" fmla="*/ 3005 w 6930"/>
                  <a:gd name="T55" fmla="*/ 762 h 1366"/>
                  <a:gd name="T56" fmla="*/ 3003 w 6930"/>
                  <a:gd name="T57" fmla="*/ 892 h 1366"/>
                  <a:gd name="T58" fmla="*/ 5036 w 6930"/>
                  <a:gd name="T59" fmla="*/ 731 h 1366"/>
                  <a:gd name="T60" fmla="*/ 5036 w 6930"/>
                  <a:gd name="T61" fmla="*/ 885 h 1366"/>
                  <a:gd name="T62" fmla="*/ 3043 w 6930"/>
                  <a:gd name="T63" fmla="*/ 658 h 1366"/>
                  <a:gd name="T64" fmla="*/ 3043 w 6930"/>
                  <a:gd name="T65" fmla="*/ 727 h 1366"/>
                  <a:gd name="T66" fmla="*/ 3043 w 6930"/>
                  <a:gd name="T67" fmla="*/ 724 h 1366"/>
                  <a:gd name="T68" fmla="*/ 0 w 6930"/>
                  <a:gd name="T69" fmla="*/ 618 h 1366"/>
                  <a:gd name="T70" fmla="*/ 2 w 6930"/>
                  <a:gd name="T71" fmla="*/ 1366 h 1366"/>
                  <a:gd name="T72" fmla="*/ 5157 w 6930"/>
                  <a:gd name="T73" fmla="*/ 608 h 1366"/>
                  <a:gd name="T74" fmla="*/ 5159 w 6930"/>
                  <a:gd name="T75" fmla="*/ 644 h 1366"/>
                  <a:gd name="T76" fmla="*/ 6928 w 6930"/>
                  <a:gd name="T77" fmla="*/ 509 h 1366"/>
                  <a:gd name="T78" fmla="*/ 6930 w 6930"/>
                  <a:gd name="T79" fmla="*/ 1006 h 1366"/>
                  <a:gd name="T80" fmla="*/ 3204 w 6930"/>
                  <a:gd name="T81" fmla="*/ 502 h 1366"/>
                  <a:gd name="T82" fmla="*/ 3204 w 6930"/>
                  <a:gd name="T83" fmla="*/ 566 h 1366"/>
                  <a:gd name="T84" fmla="*/ 3206 w 6930"/>
                  <a:gd name="T85" fmla="*/ 502 h 1366"/>
                  <a:gd name="T86" fmla="*/ 3939 w 6930"/>
                  <a:gd name="T87" fmla="*/ 454 h 1366"/>
                  <a:gd name="T88" fmla="*/ 3859 w 6930"/>
                  <a:gd name="T89" fmla="*/ 644 h 1366"/>
                  <a:gd name="T90" fmla="*/ 3861 w 6930"/>
                  <a:gd name="T91" fmla="*/ 642 h 1366"/>
                  <a:gd name="T92" fmla="*/ 3235 w 6930"/>
                  <a:gd name="T93" fmla="*/ 433 h 1366"/>
                  <a:gd name="T94" fmla="*/ 3232 w 6930"/>
                  <a:gd name="T95" fmla="*/ 473 h 1366"/>
                  <a:gd name="T96" fmla="*/ 3235 w 6930"/>
                  <a:gd name="T97" fmla="*/ 471 h 1366"/>
                  <a:gd name="T98" fmla="*/ 3946 w 6930"/>
                  <a:gd name="T99" fmla="*/ 391 h 1366"/>
                  <a:gd name="T100" fmla="*/ 3946 w 6930"/>
                  <a:gd name="T101" fmla="*/ 450 h 1366"/>
                  <a:gd name="T102" fmla="*/ 3949 w 6930"/>
                  <a:gd name="T103" fmla="*/ 447 h 1366"/>
                  <a:gd name="T104" fmla="*/ 1714 w 6930"/>
                  <a:gd name="T105" fmla="*/ 369 h 1366"/>
                  <a:gd name="T106" fmla="*/ 1714 w 6930"/>
                  <a:gd name="T107" fmla="*/ 1044 h 1366"/>
                  <a:gd name="T108" fmla="*/ 3953 w 6930"/>
                  <a:gd name="T109" fmla="*/ 327 h 1366"/>
                  <a:gd name="T110" fmla="*/ 3956 w 6930"/>
                  <a:gd name="T111" fmla="*/ 383 h 1366"/>
                  <a:gd name="T112" fmla="*/ 3956 w 6930"/>
                  <a:gd name="T113" fmla="*/ 327 h 1366"/>
                  <a:gd name="T114" fmla="*/ 4606 w 6930"/>
                  <a:gd name="T115" fmla="*/ 234 h 1366"/>
                  <a:gd name="T116" fmla="*/ 4608 w 6930"/>
                  <a:gd name="T117" fmla="*/ 232 h 1366"/>
                  <a:gd name="T118" fmla="*/ 4755 w 6930"/>
                  <a:gd name="T119" fmla="*/ 2 h 1366"/>
                  <a:gd name="T120" fmla="*/ 4757 w 6930"/>
                  <a:gd name="T121" fmla="*/ 123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6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29"/>
                    </a:lnTo>
                    <a:lnTo>
                      <a:pt x="3615" y="1229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38"/>
                    </a:lnTo>
                    <a:lnTo>
                      <a:pt x="5736" y="1238"/>
                    </a:lnTo>
                    <a:lnTo>
                      <a:pt x="5736" y="1210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3"/>
                    </a:lnTo>
                    <a:lnTo>
                      <a:pt x="2766" y="1153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2"/>
                    </a:lnTo>
                    <a:lnTo>
                      <a:pt x="3005" y="892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85"/>
                    </a:lnTo>
                    <a:lnTo>
                      <a:pt x="5036" y="885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66"/>
                    </a:lnTo>
                    <a:lnTo>
                      <a:pt x="2" y="1366"/>
                    </a:lnTo>
                    <a:lnTo>
                      <a:pt x="2" y="618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44"/>
                    </a:lnTo>
                    <a:lnTo>
                      <a:pt x="5159" y="644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6"/>
                    </a:lnTo>
                    <a:lnTo>
                      <a:pt x="6930" y="1006"/>
                    </a:lnTo>
                    <a:lnTo>
                      <a:pt x="6930" y="509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40"/>
                    </a:lnTo>
                    <a:lnTo>
                      <a:pt x="3861" y="840"/>
                    </a:lnTo>
                    <a:lnTo>
                      <a:pt x="3861" y="642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1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44"/>
                    </a:lnTo>
                    <a:lnTo>
                      <a:pt x="1714" y="1044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6"/>
                    </a:lnTo>
                    <a:lnTo>
                      <a:pt x="4554" y="43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" name="Freeform 52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close/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close/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close/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close/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close/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close/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close/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close/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8F8F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" name="Freeform 53"/>
              <p:cNvSpPr>
                <a:spLocks noEditPoints="1"/>
              </p:cNvSpPr>
              <p:nvPr/>
            </p:nvSpPr>
            <p:spPr bwMode="auto">
              <a:xfrm>
                <a:off x="56" y="1746"/>
                <a:ext cx="6931" cy="1368"/>
              </a:xfrm>
              <a:custGeom>
                <a:avLst/>
                <a:gdLst>
                  <a:gd name="T0" fmla="*/ 3613 w 6931"/>
                  <a:gd name="T1" fmla="*/ 1224 h 1368"/>
                  <a:gd name="T2" fmla="*/ 3616 w 6931"/>
                  <a:gd name="T3" fmla="*/ 1224 h 1368"/>
                  <a:gd name="T4" fmla="*/ 5734 w 6931"/>
                  <a:gd name="T5" fmla="*/ 1212 h 1368"/>
                  <a:gd name="T6" fmla="*/ 5737 w 6931"/>
                  <a:gd name="T7" fmla="*/ 1209 h 1368"/>
                  <a:gd name="T8" fmla="*/ 5760 w 6931"/>
                  <a:gd name="T9" fmla="*/ 1131 h 1368"/>
                  <a:gd name="T10" fmla="*/ 5760 w 6931"/>
                  <a:gd name="T11" fmla="*/ 1183 h 1368"/>
                  <a:gd name="T12" fmla="*/ 2764 w 6931"/>
                  <a:gd name="T13" fmla="*/ 1063 h 1368"/>
                  <a:gd name="T14" fmla="*/ 2764 w 6931"/>
                  <a:gd name="T15" fmla="*/ 1155 h 1368"/>
                  <a:gd name="T16" fmla="*/ 5836 w 6931"/>
                  <a:gd name="T17" fmla="*/ 1041 h 1368"/>
                  <a:gd name="T18" fmla="*/ 5834 w 6931"/>
                  <a:gd name="T19" fmla="*/ 1053 h 1368"/>
                  <a:gd name="T20" fmla="*/ 5836 w 6931"/>
                  <a:gd name="T21" fmla="*/ 1053 h 1368"/>
                  <a:gd name="T22" fmla="*/ 2781 w 6931"/>
                  <a:gd name="T23" fmla="*/ 1013 h 1368"/>
                  <a:gd name="T24" fmla="*/ 2781 w 6931"/>
                  <a:gd name="T25" fmla="*/ 1046 h 1368"/>
                  <a:gd name="T26" fmla="*/ 2783 w 6931"/>
                  <a:gd name="T27" fmla="*/ 1013 h 1368"/>
                  <a:gd name="T28" fmla="*/ 3675 w 6931"/>
                  <a:gd name="T29" fmla="*/ 996 h 1368"/>
                  <a:gd name="T30" fmla="*/ 3675 w 6931"/>
                  <a:gd name="T31" fmla="*/ 1162 h 1368"/>
                  <a:gd name="T32" fmla="*/ 5855 w 6931"/>
                  <a:gd name="T33" fmla="*/ 989 h 1368"/>
                  <a:gd name="T34" fmla="*/ 5852 w 6931"/>
                  <a:gd name="T35" fmla="*/ 1025 h 1368"/>
                  <a:gd name="T36" fmla="*/ 5855 w 6931"/>
                  <a:gd name="T37" fmla="*/ 1022 h 1368"/>
                  <a:gd name="T38" fmla="*/ 6243 w 6931"/>
                  <a:gd name="T39" fmla="*/ 937 h 1368"/>
                  <a:gd name="T40" fmla="*/ 6245 w 6931"/>
                  <a:gd name="T41" fmla="*/ 1112 h 1368"/>
                  <a:gd name="T42" fmla="*/ 6245 w 6931"/>
                  <a:gd name="T43" fmla="*/ 937 h 1368"/>
                  <a:gd name="T44" fmla="*/ 6292 w 6931"/>
                  <a:gd name="T45" fmla="*/ 878 h 1368"/>
                  <a:gd name="T46" fmla="*/ 6292 w 6931"/>
                  <a:gd name="T47" fmla="*/ 887 h 1368"/>
                  <a:gd name="T48" fmla="*/ 6295 w 6931"/>
                  <a:gd name="T49" fmla="*/ 878 h 1368"/>
                  <a:gd name="T50" fmla="*/ 6302 w 6931"/>
                  <a:gd name="T51" fmla="*/ 852 h 1368"/>
                  <a:gd name="T52" fmla="*/ 6302 w 6931"/>
                  <a:gd name="T53" fmla="*/ 868 h 1368"/>
                  <a:gd name="T54" fmla="*/ 3006 w 6931"/>
                  <a:gd name="T55" fmla="*/ 762 h 1368"/>
                  <a:gd name="T56" fmla="*/ 3003 w 6931"/>
                  <a:gd name="T57" fmla="*/ 894 h 1368"/>
                  <a:gd name="T58" fmla="*/ 5037 w 6931"/>
                  <a:gd name="T59" fmla="*/ 731 h 1368"/>
                  <a:gd name="T60" fmla="*/ 5034 w 6931"/>
                  <a:gd name="T61" fmla="*/ 887 h 1368"/>
                  <a:gd name="T62" fmla="*/ 3043 w 6931"/>
                  <a:gd name="T63" fmla="*/ 658 h 1368"/>
                  <a:gd name="T64" fmla="*/ 3041 w 6931"/>
                  <a:gd name="T65" fmla="*/ 726 h 1368"/>
                  <a:gd name="T66" fmla="*/ 3043 w 6931"/>
                  <a:gd name="T67" fmla="*/ 724 h 1368"/>
                  <a:gd name="T68" fmla="*/ 0 w 6931"/>
                  <a:gd name="T69" fmla="*/ 617 h 1368"/>
                  <a:gd name="T70" fmla="*/ 3 w 6931"/>
                  <a:gd name="T71" fmla="*/ 1368 h 1368"/>
                  <a:gd name="T72" fmla="*/ 5157 w 6931"/>
                  <a:gd name="T73" fmla="*/ 610 h 1368"/>
                  <a:gd name="T74" fmla="*/ 5157 w 6931"/>
                  <a:gd name="T75" fmla="*/ 646 h 1368"/>
                  <a:gd name="T76" fmla="*/ 6928 w 6931"/>
                  <a:gd name="T77" fmla="*/ 509 h 1368"/>
                  <a:gd name="T78" fmla="*/ 6931 w 6931"/>
                  <a:gd name="T79" fmla="*/ 1008 h 1368"/>
                  <a:gd name="T80" fmla="*/ 3204 w 6931"/>
                  <a:gd name="T81" fmla="*/ 501 h 1368"/>
                  <a:gd name="T82" fmla="*/ 3204 w 6931"/>
                  <a:gd name="T83" fmla="*/ 565 h 1368"/>
                  <a:gd name="T84" fmla="*/ 3204 w 6931"/>
                  <a:gd name="T85" fmla="*/ 501 h 1368"/>
                  <a:gd name="T86" fmla="*/ 3940 w 6931"/>
                  <a:gd name="T87" fmla="*/ 454 h 1368"/>
                  <a:gd name="T88" fmla="*/ 3859 w 6931"/>
                  <a:gd name="T89" fmla="*/ 644 h 1368"/>
                  <a:gd name="T90" fmla="*/ 3859 w 6931"/>
                  <a:gd name="T91" fmla="*/ 641 h 1368"/>
                  <a:gd name="T92" fmla="*/ 3235 w 6931"/>
                  <a:gd name="T93" fmla="*/ 435 h 1368"/>
                  <a:gd name="T94" fmla="*/ 3233 w 6931"/>
                  <a:gd name="T95" fmla="*/ 473 h 1368"/>
                  <a:gd name="T96" fmla="*/ 3235 w 6931"/>
                  <a:gd name="T97" fmla="*/ 471 h 1368"/>
                  <a:gd name="T98" fmla="*/ 3947 w 6931"/>
                  <a:gd name="T99" fmla="*/ 390 h 1368"/>
                  <a:gd name="T100" fmla="*/ 3947 w 6931"/>
                  <a:gd name="T101" fmla="*/ 449 h 1368"/>
                  <a:gd name="T102" fmla="*/ 3947 w 6931"/>
                  <a:gd name="T103" fmla="*/ 447 h 1368"/>
                  <a:gd name="T104" fmla="*/ 1712 w 6931"/>
                  <a:gd name="T105" fmla="*/ 369 h 1368"/>
                  <a:gd name="T106" fmla="*/ 1715 w 6931"/>
                  <a:gd name="T107" fmla="*/ 1046 h 1368"/>
                  <a:gd name="T108" fmla="*/ 3954 w 6931"/>
                  <a:gd name="T109" fmla="*/ 329 h 1368"/>
                  <a:gd name="T110" fmla="*/ 3954 w 6931"/>
                  <a:gd name="T111" fmla="*/ 383 h 1368"/>
                  <a:gd name="T112" fmla="*/ 3956 w 6931"/>
                  <a:gd name="T113" fmla="*/ 329 h 1368"/>
                  <a:gd name="T114" fmla="*/ 4606 w 6931"/>
                  <a:gd name="T115" fmla="*/ 234 h 1368"/>
                  <a:gd name="T116" fmla="*/ 4609 w 6931"/>
                  <a:gd name="T117" fmla="*/ 232 h 1368"/>
                  <a:gd name="T118" fmla="*/ 4755 w 6931"/>
                  <a:gd name="T119" fmla="*/ 2 h 1368"/>
                  <a:gd name="T120" fmla="*/ 4758 w 6931"/>
                  <a:gd name="T121" fmla="*/ 123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68">
                    <a:moveTo>
                      <a:pt x="3616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6" y="1231"/>
                    </a:lnTo>
                    <a:lnTo>
                      <a:pt x="3616" y="1224"/>
                    </a:lnTo>
                    <a:moveTo>
                      <a:pt x="5737" y="1209"/>
                    </a:moveTo>
                    <a:lnTo>
                      <a:pt x="5734" y="1209"/>
                    </a:lnTo>
                    <a:lnTo>
                      <a:pt x="5734" y="1212"/>
                    </a:lnTo>
                    <a:lnTo>
                      <a:pt x="5734" y="1240"/>
                    </a:lnTo>
                    <a:lnTo>
                      <a:pt x="5737" y="1240"/>
                    </a:lnTo>
                    <a:lnTo>
                      <a:pt x="5737" y="1209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1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55"/>
                    </a:lnTo>
                    <a:lnTo>
                      <a:pt x="2764" y="1155"/>
                    </a:lnTo>
                    <a:lnTo>
                      <a:pt x="2764" y="1063"/>
                    </a:lnTo>
                    <a:moveTo>
                      <a:pt x="5836" y="1041"/>
                    </a:moveTo>
                    <a:lnTo>
                      <a:pt x="5834" y="1041"/>
                    </a:lnTo>
                    <a:lnTo>
                      <a:pt x="5834" y="1044"/>
                    </a:lnTo>
                    <a:lnTo>
                      <a:pt x="5834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41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5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5" y="994"/>
                    </a:moveTo>
                    <a:lnTo>
                      <a:pt x="3675" y="994"/>
                    </a:lnTo>
                    <a:lnTo>
                      <a:pt x="3675" y="996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1162"/>
                    </a:lnTo>
                    <a:lnTo>
                      <a:pt x="3675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5" y="937"/>
                    </a:moveTo>
                    <a:lnTo>
                      <a:pt x="6243" y="937"/>
                    </a:lnTo>
                    <a:lnTo>
                      <a:pt x="6243" y="937"/>
                    </a:lnTo>
                    <a:lnTo>
                      <a:pt x="6243" y="1112"/>
                    </a:lnTo>
                    <a:lnTo>
                      <a:pt x="6245" y="1112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7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0"/>
                    </a:lnTo>
                    <a:lnTo>
                      <a:pt x="6292" y="887"/>
                    </a:lnTo>
                    <a:lnTo>
                      <a:pt x="6292" y="887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49"/>
                    </a:moveTo>
                    <a:lnTo>
                      <a:pt x="6302" y="849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2" y="871"/>
                    </a:lnTo>
                    <a:lnTo>
                      <a:pt x="6302" y="868"/>
                    </a:lnTo>
                    <a:lnTo>
                      <a:pt x="6302" y="868"/>
                    </a:lnTo>
                    <a:lnTo>
                      <a:pt x="6302" y="849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894"/>
                    </a:lnTo>
                    <a:lnTo>
                      <a:pt x="3006" y="894"/>
                    </a:lnTo>
                    <a:lnTo>
                      <a:pt x="3006" y="762"/>
                    </a:lnTo>
                    <a:moveTo>
                      <a:pt x="5037" y="731"/>
                    </a:moveTo>
                    <a:lnTo>
                      <a:pt x="5034" y="731"/>
                    </a:lnTo>
                    <a:lnTo>
                      <a:pt x="5034" y="733"/>
                    </a:lnTo>
                    <a:lnTo>
                      <a:pt x="5034" y="887"/>
                    </a:lnTo>
                    <a:lnTo>
                      <a:pt x="5037" y="887"/>
                    </a:lnTo>
                    <a:lnTo>
                      <a:pt x="5037" y="731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0"/>
                    </a:lnTo>
                    <a:lnTo>
                      <a:pt x="3041" y="726"/>
                    </a:lnTo>
                    <a:lnTo>
                      <a:pt x="3043" y="726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3" y="617"/>
                    </a:moveTo>
                    <a:lnTo>
                      <a:pt x="0" y="617"/>
                    </a:lnTo>
                    <a:lnTo>
                      <a:pt x="0" y="620"/>
                    </a:lnTo>
                    <a:lnTo>
                      <a:pt x="0" y="1368"/>
                    </a:lnTo>
                    <a:lnTo>
                      <a:pt x="3" y="1368"/>
                    </a:lnTo>
                    <a:lnTo>
                      <a:pt x="3" y="617"/>
                    </a:lnTo>
                    <a:moveTo>
                      <a:pt x="5157" y="610"/>
                    </a:moveTo>
                    <a:lnTo>
                      <a:pt x="5157" y="610"/>
                    </a:lnTo>
                    <a:lnTo>
                      <a:pt x="5157" y="610"/>
                    </a:lnTo>
                    <a:lnTo>
                      <a:pt x="5157" y="646"/>
                    </a:lnTo>
                    <a:lnTo>
                      <a:pt x="5157" y="646"/>
                    </a:lnTo>
                    <a:lnTo>
                      <a:pt x="5157" y="610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08"/>
                    </a:lnTo>
                    <a:lnTo>
                      <a:pt x="6931" y="1008"/>
                    </a:lnTo>
                    <a:lnTo>
                      <a:pt x="6931" y="509"/>
                    </a:lnTo>
                    <a:moveTo>
                      <a:pt x="3204" y="501"/>
                    </a:moveTo>
                    <a:lnTo>
                      <a:pt x="3204" y="501"/>
                    </a:lnTo>
                    <a:lnTo>
                      <a:pt x="3204" y="504"/>
                    </a:lnTo>
                    <a:lnTo>
                      <a:pt x="3204" y="565"/>
                    </a:lnTo>
                    <a:lnTo>
                      <a:pt x="3204" y="565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1"/>
                    </a:lnTo>
                    <a:moveTo>
                      <a:pt x="3942" y="454"/>
                    </a:moveTo>
                    <a:lnTo>
                      <a:pt x="3940" y="454"/>
                    </a:lnTo>
                    <a:lnTo>
                      <a:pt x="3940" y="454"/>
                    </a:lnTo>
                    <a:lnTo>
                      <a:pt x="3940" y="456"/>
                    </a:lnTo>
                    <a:lnTo>
                      <a:pt x="3940" y="492"/>
                    </a:lnTo>
                    <a:lnTo>
                      <a:pt x="3859" y="644"/>
                    </a:lnTo>
                    <a:lnTo>
                      <a:pt x="3859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5"/>
                    </a:moveTo>
                    <a:lnTo>
                      <a:pt x="3233" y="435"/>
                    </a:lnTo>
                    <a:lnTo>
                      <a:pt x="3233" y="435"/>
                    </a:lnTo>
                    <a:lnTo>
                      <a:pt x="3233" y="473"/>
                    </a:lnTo>
                    <a:lnTo>
                      <a:pt x="3233" y="473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5"/>
                    </a:lnTo>
                    <a:moveTo>
                      <a:pt x="3947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9"/>
                    </a:lnTo>
                    <a:lnTo>
                      <a:pt x="3947" y="449"/>
                    </a:lnTo>
                    <a:lnTo>
                      <a:pt x="3947" y="447"/>
                    </a:lnTo>
                    <a:lnTo>
                      <a:pt x="3947" y="447"/>
                    </a:lnTo>
                    <a:lnTo>
                      <a:pt x="3947" y="390"/>
                    </a:lnTo>
                    <a:moveTo>
                      <a:pt x="1715" y="369"/>
                    </a:moveTo>
                    <a:lnTo>
                      <a:pt x="1712" y="369"/>
                    </a:lnTo>
                    <a:lnTo>
                      <a:pt x="1712" y="371"/>
                    </a:lnTo>
                    <a:lnTo>
                      <a:pt x="1712" y="1046"/>
                    </a:lnTo>
                    <a:lnTo>
                      <a:pt x="1715" y="1046"/>
                    </a:lnTo>
                    <a:lnTo>
                      <a:pt x="1715" y="369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52" y="435"/>
                    </a:lnTo>
                    <a:lnTo>
                      <a:pt x="4554" y="435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8" y="125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" name="Freeform 54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close/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close/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close/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close/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close/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close/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close/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close/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close/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close/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close/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close/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close/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close/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close/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6F6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" name="Freeform 55"/>
              <p:cNvSpPr>
                <a:spLocks noEditPoints="1"/>
              </p:cNvSpPr>
              <p:nvPr/>
            </p:nvSpPr>
            <p:spPr bwMode="auto">
              <a:xfrm>
                <a:off x="59" y="1746"/>
                <a:ext cx="6930" cy="1368"/>
              </a:xfrm>
              <a:custGeom>
                <a:avLst/>
                <a:gdLst>
                  <a:gd name="T0" fmla="*/ 3613 w 6930"/>
                  <a:gd name="T1" fmla="*/ 1224 h 1368"/>
                  <a:gd name="T2" fmla="*/ 3615 w 6930"/>
                  <a:gd name="T3" fmla="*/ 1221 h 1368"/>
                  <a:gd name="T4" fmla="*/ 5734 w 6930"/>
                  <a:gd name="T5" fmla="*/ 1209 h 1368"/>
                  <a:gd name="T6" fmla="*/ 5736 w 6930"/>
                  <a:gd name="T7" fmla="*/ 1207 h 1368"/>
                  <a:gd name="T8" fmla="*/ 5757 w 6930"/>
                  <a:gd name="T9" fmla="*/ 1129 h 1368"/>
                  <a:gd name="T10" fmla="*/ 5760 w 6930"/>
                  <a:gd name="T11" fmla="*/ 1181 h 1368"/>
                  <a:gd name="T12" fmla="*/ 2764 w 6930"/>
                  <a:gd name="T13" fmla="*/ 1060 h 1368"/>
                  <a:gd name="T14" fmla="*/ 2761 w 6930"/>
                  <a:gd name="T15" fmla="*/ 1155 h 1368"/>
                  <a:gd name="T16" fmla="*/ 5835 w 6930"/>
                  <a:gd name="T17" fmla="*/ 1039 h 1368"/>
                  <a:gd name="T18" fmla="*/ 5833 w 6930"/>
                  <a:gd name="T19" fmla="*/ 1053 h 1368"/>
                  <a:gd name="T20" fmla="*/ 5835 w 6930"/>
                  <a:gd name="T21" fmla="*/ 1051 h 1368"/>
                  <a:gd name="T22" fmla="*/ 2780 w 6930"/>
                  <a:gd name="T23" fmla="*/ 1010 h 1368"/>
                  <a:gd name="T24" fmla="*/ 2780 w 6930"/>
                  <a:gd name="T25" fmla="*/ 1044 h 1368"/>
                  <a:gd name="T26" fmla="*/ 2780 w 6930"/>
                  <a:gd name="T27" fmla="*/ 1010 h 1368"/>
                  <a:gd name="T28" fmla="*/ 3672 w 6930"/>
                  <a:gd name="T29" fmla="*/ 994 h 1368"/>
                  <a:gd name="T30" fmla="*/ 3674 w 6930"/>
                  <a:gd name="T31" fmla="*/ 1160 h 1368"/>
                  <a:gd name="T32" fmla="*/ 5854 w 6930"/>
                  <a:gd name="T33" fmla="*/ 989 h 1368"/>
                  <a:gd name="T34" fmla="*/ 5852 w 6930"/>
                  <a:gd name="T35" fmla="*/ 1022 h 1368"/>
                  <a:gd name="T36" fmla="*/ 5854 w 6930"/>
                  <a:gd name="T37" fmla="*/ 1022 h 1368"/>
                  <a:gd name="T38" fmla="*/ 6242 w 6930"/>
                  <a:gd name="T39" fmla="*/ 935 h 1368"/>
                  <a:gd name="T40" fmla="*/ 6244 w 6930"/>
                  <a:gd name="T41" fmla="*/ 1110 h 1368"/>
                  <a:gd name="T42" fmla="*/ 6244 w 6930"/>
                  <a:gd name="T43" fmla="*/ 935 h 1368"/>
                  <a:gd name="T44" fmla="*/ 6292 w 6930"/>
                  <a:gd name="T45" fmla="*/ 878 h 1368"/>
                  <a:gd name="T46" fmla="*/ 6292 w 6930"/>
                  <a:gd name="T47" fmla="*/ 885 h 1368"/>
                  <a:gd name="T48" fmla="*/ 6294 w 6930"/>
                  <a:gd name="T49" fmla="*/ 878 h 1368"/>
                  <a:gd name="T50" fmla="*/ 6299 w 6930"/>
                  <a:gd name="T51" fmla="*/ 849 h 1368"/>
                  <a:gd name="T52" fmla="*/ 6301 w 6930"/>
                  <a:gd name="T53" fmla="*/ 868 h 1368"/>
                  <a:gd name="T54" fmla="*/ 3005 w 6930"/>
                  <a:gd name="T55" fmla="*/ 762 h 1368"/>
                  <a:gd name="T56" fmla="*/ 3003 w 6930"/>
                  <a:gd name="T57" fmla="*/ 894 h 1368"/>
                  <a:gd name="T58" fmla="*/ 5036 w 6930"/>
                  <a:gd name="T59" fmla="*/ 731 h 1368"/>
                  <a:gd name="T60" fmla="*/ 5034 w 6930"/>
                  <a:gd name="T61" fmla="*/ 887 h 1368"/>
                  <a:gd name="T62" fmla="*/ 3043 w 6930"/>
                  <a:gd name="T63" fmla="*/ 655 h 1368"/>
                  <a:gd name="T64" fmla="*/ 3040 w 6930"/>
                  <a:gd name="T65" fmla="*/ 724 h 1368"/>
                  <a:gd name="T66" fmla="*/ 3043 w 6930"/>
                  <a:gd name="T67" fmla="*/ 722 h 1368"/>
                  <a:gd name="T68" fmla="*/ 0 w 6930"/>
                  <a:gd name="T69" fmla="*/ 615 h 1368"/>
                  <a:gd name="T70" fmla="*/ 0 w 6930"/>
                  <a:gd name="T71" fmla="*/ 1368 h 1368"/>
                  <a:gd name="T72" fmla="*/ 5154 w 6930"/>
                  <a:gd name="T73" fmla="*/ 608 h 1368"/>
                  <a:gd name="T74" fmla="*/ 5157 w 6930"/>
                  <a:gd name="T75" fmla="*/ 646 h 1368"/>
                  <a:gd name="T76" fmla="*/ 6928 w 6930"/>
                  <a:gd name="T77" fmla="*/ 506 h 1368"/>
                  <a:gd name="T78" fmla="*/ 6930 w 6930"/>
                  <a:gd name="T79" fmla="*/ 1008 h 1368"/>
                  <a:gd name="T80" fmla="*/ 3201 w 6930"/>
                  <a:gd name="T81" fmla="*/ 499 h 1368"/>
                  <a:gd name="T82" fmla="*/ 3204 w 6930"/>
                  <a:gd name="T83" fmla="*/ 563 h 1368"/>
                  <a:gd name="T84" fmla="*/ 3204 w 6930"/>
                  <a:gd name="T85" fmla="*/ 499 h 1368"/>
                  <a:gd name="T86" fmla="*/ 3939 w 6930"/>
                  <a:gd name="T87" fmla="*/ 452 h 1368"/>
                  <a:gd name="T88" fmla="*/ 3856 w 6930"/>
                  <a:gd name="T89" fmla="*/ 641 h 1368"/>
                  <a:gd name="T90" fmla="*/ 3859 w 6930"/>
                  <a:gd name="T91" fmla="*/ 641 h 1368"/>
                  <a:gd name="T92" fmla="*/ 3232 w 6930"/>
                  <a:gd name="T93" fmla="*/ 433 h 1368"/>
                  <a:gd name="T94" fmla="*/ 3232 w 6930"/>
                  <a:gd name="T95" fmla="*/ 471 h 1368"/>
                  <a:gd name="T96" fmla="*/ 3232 w 6930"/>
                  <a:gd name="T97" fmla="*/ 471 h 1368"/>
                  <a:gd name="T98" fmla="*/ 3946 w 6930"/>
                  <a:gd name="T99" fmla="*/ 390 h 1368"/>
                  <a:gd name="T100" fmla="*/ 3944 w 6930"/>
                  <a:gd name="T101" fmla="*/ 447 h 1368"/>
                  <a:gd name="T102" fmla="*/ 3946 w 6930"/>
                  <a:gd name="T103" fmla="*/ 445 h 1368"/>
                  <a:gd name="T104" fmla="*/ 1712 w 6930"/>
                  <a:gd name="T105" fmla="*/ 366 h 1368"/>
                  <a:gd name="T106" fmla="*/ 1714 w 6930"/>
                  <a:gd name="T107" fmla="*/ 1046 h 1368"/>
                  <a:gd name="T108" fmla="*/ 3953 w 6930"/>
                  <a:gd name="T109" fmla="*/ 326 h 1368"/>
                  <a:gd name="T110" fmla="*/ 3953 w 6930"/>
                  <a:gd name="T111" fmla="*/ 383 h 1368"/>
                  <a:gd name="T112" fmla="*/ 3953 w 6930"/>
                  <a:gd name="T113" fmla="*/ 326 h 1368"/>
                  <a:gd name="T114" fmla="*/ 4606 w 6930"/>
                  <a:gd name="T115" fmla="*/ 232 h 1368"/>
                  <a:gd name="T116" fmla="*/ 4608 w 6930"/>
                  <a:gd name="T117" fmla="*/ 232 h 1368"/>
                  <a:gd name="T118" fmla="*/ 4755 w 6930"/>
                  <a:gd name="T119" fmla="*/ 0 h 1368"/>
                  <a:gd name="T120" fmla="*/ 4755 w 6930"/>
                  <a:gd name="T121" fmla="*/ 120 h 1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68">
                    <a:moveTo>
                      <a:pt x="3615" y="1221"/>
                    </a:moveTo>
                    <a:lnTo>
                      <a:pt x="3613" y="1221"/>
                    </a:lnTo>
                    <a:lnTo>
                      <a:pt x="3613" y="1224"/>
                    </a:lnTo>
                    <a:lnTo>
                      <a:pt x="3613" y="1231"/>
                    </a:lnTo>
                    <a:lnTo>
                      <a:pt x="3615" y="1231"/>
                    </a:lnTo>
                    <a:lnTo>
                      <a:pt x="3615" y="1221"/>
                    </a:lnTo>
                    <a:moveTo>
                      <a:pt x="5736" y="1207"/>
                    </a:moveTo>
                    <a:lnTo>
                      <a:pt x="5734" y="1207"/>
                    </a:lnTo>
                    <a:lnTo>
                      <a:pt x="5734" y="1209"/>
                    </a:lnTo>
                    <a:lnTo>
                      <a:pt x="5734" y="1240"/>
                    </a:lnTo>
                    <a:lnTo>
                      <a:pt x="5736" y="1240"/>
                    </a:lnTo>
                    <a:lnTo>
                      <a:pt x="5736" y="1207"/>
                    </a:lnTo>
                    <a:moveTo>
                      <a:pt x="5760" y="1126"/>
                    </a:moveTo>
                    <a:lnTo>
                      <a:pt x="5757" y="1126"/>
                    </a:lnTo>
                    <a:lnTo>
                      <a:pt x="5757" y="1129"/>
                    </a:lnTo>
                    <a:lnTo>
                      <a:pt x="5757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6"/>
                    </a:lnTo>
                    <a:moveTo>
                      <a:pt x="2764" y="1060"/>
                    </a:moveTo>
                    <a:lnTo>
                      <a:pt x="2761" y="1060"/>
                    </a:lnTo>
                    <a:lnTo>
                      <a:pt x="2761" y="1063"/>
                    </a:lnTo>
                    <a:lnTo>
                      <a:pt x="2761" y="1155"/>
                    </a:lnTo>
                    <a:lnTo>
                      <a:pt x="2764" y="1155"/>
                    </a:lnTo>
                    <a:lnTo>
                      <a:pt x="2764" y="1060"/>
                    </a:lnTo>
                    <a:moveTo>
                      <a:pt x="5835" y="1039"/>
                    </a:moveTo>
                    <a:lnTo>
                      <a:pt x="5833" y="1039"/>
                    </a:lnTo>
                    <a:lnTo>
                      <a:pt x="5833" y="1041"/>
                    </a:lnTo>
                    <a:lnTo>
                      <a:pt x="5833" y="1053"/>
                    </a:lnTo>
                    <a:lnTo>
                      <a:pt x="5835" y="1053"/>
                    </a:lnTo>
                    <a:lnTo>
                      <a:pt x="5835" y="1051"/>
                    </a:lnTo>
                    <a:lnTo>
                      <a:pt x="5835" y="1051"/>
                    </a:lnTo>
                    <a:lnTo>
                      <a:pt x="5835" y="1039"/>
                    </a:lnTo>
                    <a:moveTo>
                      <a:pt x="2780" y="1010"/>
                    </a:moveTo>
                    <a:lnTo>
                      <a:pt x="2780" y="1010"/>
                    </a:lnTo>
                    <a:lnTo>
                      <a:pt x="2780" y="1013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44"/>
                    </a:lnTo>
                    <a:lnTo>
                      <a:pt x="2780" y="1010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4" y="1162"/>
                    </a:lnTo>
                    <a:lnTo>
                      <a:pt x="3674" y="1160"/>
                    </a:lnTo>
                    <a:lnTo>
                      <a:pt x="3674" y="1160"/>
                    </a:lnTo>
                    <a:lnTo>
                      <a:pt x="3674" y="992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89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2" y="1022"/>
                    </a:lnTo>
                    <a:lnTo>
                      <a:pt x="5854" y="1022"/>
                    </a:lnTo>
                    <a:lnTo>
                      <a:pt x="5854" y="989"/>
                    </a:lnTo>
                    <a:moveTo>
                      <a:pt x="6244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0"/>
                    </a:lnTo>
                    <a:lnTo>
                      <a:pt x="6244" y="1110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49"/>
                    </a:moveTo>
                    <a:lnTo>
                      <a:pt x="6299" y="849"/>
                    </a:lnTo>
                    <a:lnTo>
                      <a:pt x="6299" y="849"/>
                    </a:lnTo>
                    <a:lnTo>
                      <a:pt x="6299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68"/>
                    </a:lnTo>
                    <a:lnTo>
                      <a:pt x="6301" y="849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894"/>
                    </a:lnTo>
                    <a:lnTo>
                      <a:pt x="3005" y="894"/>
                    </a:lnTo>
                    <a:lnTo>
                      <a:pt x="3005" y="762"/>
                    </a:lnTo>
                    <a:moveTo>
                      <a:pt x="5036" y="731"/>
                    </a:moveTo>
                    <a:lnTo>
                      <a:pt x="5034" y="731"/>
                    </a:lnTo>
                    <a:lnTo>
                      <a:pt x="5034" y="731"/>
                    </a:lnTo>
                    <a:lnTo>
                      <a:pt x="5034" y="887"/>
                    </a:lnTo>
                    <a:lnTo>
                      <a:pt x="5036" y="887"/>
                    </a:lnTo>
                    <a:lnTo>
                      <a:pt x="5036" y="731"/>
                    </a:lnTo>
                    <a:moveTo>
                      <a:pt x="3043" y="655"/>
                    </a:moveTo>
                    <a:lnTo>
                      <a:pt x="3040" y="655"/>
                    </a:lnTo>
                    <a:lnTo>
                      <a:pt x="3040" y="658"/>
                    </a:lnTo>
                    <a:lnTo>
                      <a:pt x="3040" y="724"/>
                    </a:lnTo>
                    <a:lnTo>
                      <a:pt x="3040" y="724"/>
                    </a:lnTo>
                    <a:lnTo>
                      <a:pt x="3040" y="722"/>
                    </a:lnTo>
                    <a:lnTo>
                      <a:pt x="3043" y="722"/>
                    </a:lnTo>
                    <a:lnTo>
                      <a:pt x="3043" y="655"/>
                    </a:lnTo>
                    <a:moveTo>
                      <a:pt x="0" y="615"/>
                    </a:moveTo>
                    <a:lnTo>
                      <a:pt x="0" y="615"/>
                    </a:lnTo>
                    <a:lnTo>
                      <a:pt x="0" y="617"/>
                    </a:lnTo>
                    <a:lnTo>
                      <a:pt x="0" y="1368"/>
                    </a:lnTo>
                    <a:lnTo>
                      <a:pt x="0" y="1368"/>
                    </a:lnTo>
                    <a:lnTo>
                      <a:pt x="0" y="615"/>
                    </a:lnTo>
                    <a:moveTo>
                      <a:pt x="5157" y="608"/>
                    </a:moveTo>
                    <a:lnTo>
                      <a:pt x="5154" y="608"/>
                    </a:lnTo>
                    <a:lnTo>
                      <a:pt x="5154" y="610"/>
                    </a:lnTo>
                    <a:lnTo>
                      <a:pt x="5154" y="646"/>
                    </a:lnTo>
                    <a:lnTo>
                      <a:pt x="5157" y="646"/>
                    </a:lnTo>
                    <a:lnTo>
                      <a:pt x="5157" y="608"/>
                    </a:lnTo>
                    <a:moveTo>
                      <a:pt x="6930" y="506"/>
                    </a:moveTo>
                    <a:lnTo>
                      <a:pt x="6928" y="506"/>
                    </a:lnTo>
                    <a:lnTo>
                      <a:pt x="6928" y="509"/>
                    </a:lnTo>
                    <a:lnTo>
                      <a:pt x="6928" y="1008"/>
                    </a:lnTo>
                    <a:lnTo>
                      <a:pt x="6930" y="1008"/>
                    </a:lnTo>
                    <a:lnTo>
                      <a:pt x="6930" y="506"/>
                    </a:lnTo>
                    <a:moveTo>
                      <a:pt x="3204" y="499"/>
                    </a:moveTo>
                    <a:lnTo>
                      <a:pt x="3201" y="499"/>
                    </a:lnTo>
                    <a:lnTo>
                      <a:pt x="3201" y="501"/>
                    </a:lnTo>
                    <a:lnTo>
                      <a:pt x="3201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499"/>
                    </a:lnTo>
                    <a:moveTo>
                      <a:pt x="3941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4"/>
                    </a:lnTo>
                    <a:lnTo>
                      <a:pt x="3939" y="490"/>
                    </a:lnTo>
                    <a:lnTo>
                      <a:pt x="3856" y="641"/>
                    </a:lnTo>
                    <a:lnTo>
                      <a:pt x="3856" y="842"/>
                    </a:lnTo>
                    <a:lnTo>
                      <a:pt x="3859" y="842"/>
                    </a:lnTo>
                    <a:lnTo>
                      <a:pt x="3859" y="641"/>
                    </a:lnTo>
                    <a:lnTo>
                      <a:pt x="3941" y="487"/>
                    </a:lnTo>
                    <a:lnTo>
                      <a:pt x="3941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0"/>
                    </a:moveTo>
                    <a:lnTo>
                      <a:pt x="3946" y="390"/>
                    </a:lnTo>
                    <a:lnTo>
                      <a:pt x="3944" y="390"/>
                    </a:lnTo>
                    <a:lnTo>
                      <a:pt x="3944" y="390"/>
                    </a:lnTo>
                    <a:lnTo>
                      <a:pt x="3944" y="447"/>
                    </a:lnTo>
                    <a:lnTo>
                      <a:pt x="3946" y="447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0"/>
                    </a:lnTo>
                    <a:moveTo>
                      <a:pt x="1714" y="366"/>
                    </a:moveTo>
                    <a:lnTo>
                      <a:pt x="1712" y="366"/>
                    </a:lnTo>
                    <a:lnTo>
                      <a:pt x="1712" y="369"/>
                    </a:lnTo>
                    <a:lnTo>
                      <a:pt x="1712" y="1046"/>
                    </a:lnTo>
                    <a:lnTo>
                      <a:pt x="1714" y="1046"/>
                    </a:lnTo>
                    <a:lnTo>
                      <a:pt x="1714" y="366"/>
                    </a:lnTo>
                    <a:moveTo>
                      <a:pt x="3953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3" y="383"/>
                    </a:lnTo>
                    <a:lnTo>
                      <a:pt x="3953" y="381"/>
                    </a:lnTo>
                    <a:lnTo>
                      <a:pt x="3953" y="381"/>
                    </a:lnTo>
                    <a:lnTo>
                      <a:pt x="3953" y="326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51" y="435"/>
                    </a:lnTo>
                    <a:lnTo>
                      <a:pt x="4551" y="43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0"/>
                    </a:lnTo>
                    <a:lnTo>
                      <a:pt x="4757" y="120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" name="Freeform 56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close/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" name="Freeform 57"/>
              <p:cNvSpPr>
                <a:spLocks noEditPoints="1"/>
              </p:cNvSpPr>
              <p:nvPr/>
            </p:nvSpPr>
            <p:spPr bwMode="auto">
              <a:xfrm>
                <a:off x="59" y="1743"/>
                <a:ext cx="6932" cy="1371"/>
              </a:xfrm>
              <a:custGeom>
                <a:avLst/>
                <a:gdLst>
                  <a:gd name="T0" fmla="*/ 3615 w 6932"/>
                  <a:gd name="T1" fmla="*/ 1224 h 1371"/>
                  <a:gd name="T2" fmla="*/ 3617 w 6932"/>
                  <a:gd name="T3" fmla="*/ 1222 h 1371"/>
                  <a:gd name="T4" fmla="*/ 5736 w 6932"/>
                  <a:gd name="T5" fmla="*/ 1210 h 1371"/>
                  <a:gd name="T6" fmla="*/ 5736 w 6932"/>
                  <a:gd name="T7" fmla="*/ 1208 h 1371"/>
                  <a:gd name="T8" fmla="*/ 5760 w 6932"/>
                  <a:gd name="T9" fmla="*/ 1129 h 1371"/>
                  <a:gd name="T10" fmla="*/ 5762 w 6932"/>
                  <a:gd name="T11" fmla="*/ 1182 h 1371"/>
                  <a:gd name="T12" fmla="*/ 2766 w 6932"/>
                  <a:gd name="T13" fmla="*/ 1063 h 1371"/>
                  <a:gd name="T14" fmla="*/ 2764 w 6932"/>
                  <a:gd name="T15" fmla="*/ 1158 h 1371"/>
                  <a:gd name="T16" fmla="*/ 5838 w 6932"/>
                  <a:gd name="T17" fmla="*/ 1042 h 1371"/>
                  <a:gd name="T18" fmla="*/ 5835 w 6932"/>
                  <a:gd name="T19" fmla="*/ 1054 h 1371"/>
                  <a:gd name="T20" fmla="*/ 5838 w 6932"/>
                  <a:gd name="T21" fmla="*/ 1051 h 1371"/>
                  <a:gd name="T22" fmla="*/ 2780 w 6932"/>
                  <a:gd name="T23" fmla="*/ 1013 h 1371"/>
                  <a:gd name="T24" fmla="*/ 2783 w 6932"/>
                  <a:gd name="T25" fmla="*/ 1047 h 1371"/>
                  <a:gd name="T26" fmla="*/ 2783 w 6932"/>
                  <a:gd name="T27" fmla="*/ 1011 h 1371"/>
                  <a:gd name="T28" fmla="*/ 3674 w 6932"/>
                  <a:gd name="T29" fmla="*/ 995 h 1371"/>
                  <a:gd name="T30" fmla="*/ 3676 w 6932"/>
                  <a:gd name="T31" fmla="*/ 1160 h 1371"/>
                  <a:gd name="T32" fmla="*/ 5854 w 6932"/>
                  <a:gd name="T33" fmla="*/ 990 h 1371"/>
                  <a:gd name="T34" fmla="*/ 5854 w 6932"/>
                  <a:gd name="T35" fmla="*/ 1025 h 1371"/>
                  <a:gd name="T36" fmla="*/ 5854 w 6932"/>
                  <a:gd name="T37" fmla="*/ 1023 h 1371"/>
                  <a:gd name="T38" fmla="*/ 6244 w 6932"/>
                  <a:gd name="T39" fmla="*/ 935 h 1371"/>
                  <a:gd name="T40" fmla="*/ 6244 w 6932"/>
                  <a:gd name="T41" fmla="*/ 1111 h 1371"/>
                  <a:gd name="T42" fmla="*/ 6247 w 6932"/>
                  <a:gd name="T43" fmla="*/ 935 h 1371"/>
                  <a:gd name="T44" fmla="*/ 6294 w 6932"/>
                  <a:gd name="T45" fmla="*/ 879 h 1371"/>
                  <a:gd name="T46" fmla="*/ 6294 w 6932"/>
                  <a:gd name="T47" fmla="*/ 888 h 1371"/>
                  <a:gd name="T48" fmla="*/ 6296 w 6932"/>
                  <a:gd name="T49" fmla="*/ 879 h 1371"/>
                  <a:gd name="T50" fmla="*/ 6301 w 6932"/>
                  <a:gd name="T51" fmla="*/ 852 h 1371"/>
                  <a:gd name="T52" fmla="*/ 6303 w 6932"/>
                  <a:gd name="T53" fmla="*/ 869 h 1371"/>
                  <a:gd name="T54" fmla="*/ 3005 w 6932"/>
                  <a:gd name="T55" fmla="*/ 763 h 1371"/>
                  <a:gd name="T56" fmla="*/ 3005 w 6932"/>
                  <a:gd name="T57" fmla="*/ 897 h 1371"/>
                  <a:gd name="T58" fmla="*/ 5038 w 6932"/>
                  <a:gd name="T59" fmla="*/ 732 h 1371"/>
                  <a:gd name="T60" fmla="*/ 5036 w 6932"/>
                  <a:gd name="T61" fmla="*/ 890 h 1371"/>
                  <a:gd name="T62" fmla="*/ 3045 w 6932"/>
                  <a:gd name="T63" fmla="*/ 656 h 1371"/>
                  <a:gd name="T64" fmla="*/ 3043 w 6932"/>
                  <a:gd name="T65" fmla="*/ 725 h 1371"/>
                  <a:gd name="T66" fmla="*/ 3045 w 6932"/>
                  <a:gd name="T67" fmla="*/ 722 h 1371"/>
                  <a:gd name="T68" fmla="*/ 0 w 6932"/>
                  <a:gd name="T69" fmla="*/ 616 h 1371"/>
                  <a:gd name="T70" fmla="*/ 2 w 6932"/>
                  <a:gd name="T71" fmla="*/ 1371 h 1371"/>
                  <a:gd name="T72" fmla="*/ 5157 w 6932"/>
                  <a:gd name="T73" fmla="*/ 609 h 1371"/>
                  <a:gd name="T74" fmla="*/ 5159 w 6932"/>
                  <a:gd name="T75" fmla="*/ 649 h 1371"/>
                  <a:gd name="T76" fmla="*/ 6930 w 6932"/>
                  <a:gd name="T77" fmla="*/ 509 h 1371"/>
                  <a:gd name="T78" fmla="*/ 6932 w 6932"/>
                  <a:gd name="T79" fmla="*/ 1011 h 1371"/>
                  <a:gd name="T80" fmla="*/ 3204 w 6932"/>
                  <a:gd name="T81" fmla="*/ 500 h 1371"/>
                  <a:gd name="T82" fmla="*/ 3206 w 6932"/>
                  <a:gd name="T83" fmla="*/ 566 h 1371"/>
                  <a:gd name="T84" fmla="*/ 3206 w 6932"/>
                  <a:gd name="T85" fmla="*/ 500 h 1371"/>
                  <a:gd name="T86" fmla="*/ 3941 w 6932"/>
                  <a:gd name="T87" fmla="*/ 455 h 1371"/>
                  <a:gd name="T88" fmla="*/ 3859 w 6932"/>
                  <a:gd name="T89" fmla="*/ 644 h 1371"/>
                  <a:gd name="T90" fmla="*/ 3861 w 6932"/>
                  <a:gd name="T91" fmla="*/ 642 h 1371"/>
                  <a:gd name="T92" fmla="*/ 3234 w 6932"/>
                  <a:gd name="T93" fmla="*/ 433 h 1371"/>
                  <a:gd name="T94" fmla="*/ 3232 w 6932"/>
                  <a:gd name="T95" fmla="*/ 474 h 1371"/>
                  <a:gd name="T96" fmla="*/ 3234 w 6932"/>
                  <a:gd name="T97" fmla="*/ 471 h 1371"/>
                  <a:gd name="T98" fmla="*/ 3946 w 6932"/>
                  <a:gd name="T99" fmla="*/ 391 h 1371"/>
                  <a:gd name="T100" fmla="*/ 3946 w 6932"/>
                  <a:gd name="T101" fmla="*/ 448 h 1371"/>
                  <a:gd name="T102" fmla="*/ 3948 w 6932"/>
                  <a:gd name="T103" fmla="*/ 448 h 1371"/>
                  <a:gd name="T104" fmla="*/ 1714 w 6932"/>
                  <a:gd name="T105" fmla="*/ 367 h 1371"/>
                  <a:gd name="T106" fmla="*/ 1716 w 6932"/>
                  <a:gd name="T107" fmla="*/ 1049 h 1371"/>
                  <a:gd name="T108" fmla="*/ 3953 w 6932"/>
                  <a:gd name="T109" fmla="*/ 327 h 1371"/>
                  <a:gd name="T110" fmla="*/ 3955 w 6932"/>
                  <a:gd name="T111" fmla="*/ 384 h 1371"/>
                  <a:gd name="T112" fmla="*/ 3955 w 6932"/>
                  <a:gd name="T113" fmla="*/ 327 h 1371"/>
                  <a:gd name="T114" fmla="*/ 4608 w 6932"/>
                  <a:gd name="T115" fmla="*/ 235 h 1371"/>
                  <a:gd name="T116" fmla="*/ 4608 w 6932"/>
                  <a:gd name="T117" fmla="*/ 232 h 1371"/>
                  <a:gd name="T118" fmla="*/ 4757 w 6932"/>
                  <a:gd name="T119" fmla="*/ 3 h 1371"/>
                  <a:gd name="T120" fmla="*/ 4757 w 6932"/>
                  <a:gd name="T121" fmla="*/ 121 h 1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71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34"/>
                    </a:lnTo>
                    <a:lnTo>
                      <a:pt x="3617" y="1234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43"/>
                    </a:lnTo>
                    <a:lnTo>
                      <a:pt x="5736" y="1243"/>
                    </a:lnTo>
                    <a:lnTo>
                      <a:pt x="5736" y="1208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58"/>
                    </a:lnTo>
                    <a:lnTo>
                      <a:pt x="2766" y="1158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54"/>
                    </a:lnTo>
                    <a:lnTo>
                      <a:pt x="5835" y="1054"/>
                    </a:lnTo>
                    <a:lnTo>
                      <a:pt x="5835" y="1051"/>
                    </a:lnTo>
                    <a:lnTo>
                      <a:pt x="5838" y="1051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6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897"/>
                    </a:lnTo>
                    <a:lnTo>
                      <a:pt x="3005" y="897"/>
                    </a:lnTo>
                    <a:lnTo>
                      <a:pt x="3005" y="76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890"/>
                    </a:lnTo>
                    <a:lnTo>
                      <a:pt x="5038" y="890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1"/>
                    </a:lnTo>
                    <a:lnTo>
                      <a:pt x="2" y="1371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49"/>
                    </a:lnTo>
                    <a:lnTo>
                      <a:pt x="5159" y="649"/>
                    </a:lnTo>
                    <a:lnTo>
                      <a:pt x="5159" y="609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09"/>
                    </a:lnTo>
                    <a:lnTo>
                      <a:pt x="6930" y="1011"/>
                    </a:lnTo>
                    <a:lnTo>
                      <a:pt x="6932" y="1011"/>
                    </a:lnTo>
                    <a:lnTo>
                      <a:pt x="6932" y="509"/>
                    </a:lnTo>
                    <a:moveTo>
                      <a:pt x="3206" y="500"/>
                    </a:move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45"/>
                    </a:lnTo>
                    <a:lnTo>
                      <a:pt x="3861" y="845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49"/>
                    </a:lnTo>
                    <a:lnTo>
                      <a:pt x="1716" y="1049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51" y="438"/>
                    </a:lnTo>
                    <a:lnTo>
                      <a:pt x="4554" y="436"/>
                    </a:lnTo>
                    <a:lnTo>
                      <a:pt x="4608" y="232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" name="Freeform 58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close/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4F3F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" name="Freeform 59"/>
              <p:cNvSpPr>
                <a:spLocks noEditPoints="1"/>
              </p:cNvSpPr>
              <p:nvPr/>
            </p:nvSpPr>
            <p:spPr bwMode="auto">
              <a:xfrm>
                <a:off x="61" y="1741"/>
                <a:ext cx="6930" cy="1373"/>
              </a:xfrm>
              <a:custGeom>
                <a:avLst/>
                <a:gdLst>
                  <a:gd name="T0" fmla="*/ 3615 w 6930"/>
                  <a:gd name="T1" fmla="*/ 1236 h 1373"/>
                  <a:gd name="T2" fmla="*/ 5734 w 6930"/>
                  <a:gd name="T3" fmla="*/ 1210 h 1373"/>
                  <a:gd name="T4" fmla="*/ 5736 w 6930"/>
                  <a:gd name="T5" fmla="*/ 1210 h 1373"/>
                  <a:gd name="T6" fmla="*/ 5760 w 6930"/>
                  <a:gd name="T7" fmla="*/ 1184 h 1373"/>
                  <a:gd name="T8" fmla="*/ 5762 w 6930"/>
                  <a:gd name="T9" fmla="*/ 1127 h 1373"/>
                  <a:gd name="T10" fmla="*/ 6228 w 6930"/>
                  <a:gd name="T11" fmla="*/ 1129 h 1373"/>
                  <a:gd name="T12" fmla="*/ 2764 w 6930"/>
                  <a:gd name="T13" fmla="*/ 1065 h 1373"/>
                  <a:gd name="T14" fmla="*/ 5836 w 6930"/>
                  <a:gd name="T15" fmla="*/ 1042 h 1373"/>
                  <a:gd name="T16" fmla="*/ 5836 w 6930"/>
                  <a:gd name="T17" fmla="*/ 1053 h 1373"/>
                  <a:gd name="T18" fmla="*/ 2783 w 6930"/>
                  <a:gd name="T19" fmla="*/ 1011 h 1373"/>
                  <a:gd name="T20" fmla="*/ 2783 w 6930"/>
                  <a:gd name="T21" fmla="*/ 1046 h 1373"/>
                  <a:gd name="T22" fmla="*/ 3677 w 6930"/>
                  <a:gd name="T23" fmla="*/ 994 h 1373"/>
                  <a:gd name="T24" fmla="*/ 3677 w 6930"/>
                  <a:gd name="T25" fmla="*/ 1162 h 1373"/>
                  <a:gd name="T26" fmla="*/ 5855 w 6930"/>
                  <a:gd name="T27" fmla="*/ 989 h 1373"/>
                  <a:gd name="T28" fmla="*/ 5852 w 6930"/>
                  <a:gd name="T29" fmla="*/ 1025 h 1373"/>
                  <a:gd name="T30" fmla="*/ 6245 w 6930"/>
                  <a:gd name="T31" fmla="*/ 935 h 1373"/>
                  <a:gd name="T32" fmla="*/ 6245 w 6930"/>
                  <a:gd name="T33" fmla="*/ 1110 h 1373"/>
                  <a:gd name="T34" fmla="*/ 6294 w 6930"/>
                  <a:gd name="T35" fmla="*/ 878 h 1373"/>
                  <a:gd name="T36" fmla="*/ 6294 w 6930"/>
                  <a:gd name="T37" fmla="*/ 888 h 1373"/>
                  <a:gd name="T38" fmla="*/ 6294 w 6930"/>
                  <a:gd name="T39" fmla="*/ 878 h 1373"/>
                  <a:gd name="T40" fmla="*/ 6301 w 6930"/>
                  <a:gd name="T41" fmla="*/ 871 h 1373"/>
                  <a:gd name="T42" fmla="*/ 6304 w 6930"/>
                  <a:gd name="T43" fmla="*/ 850 h 1373"/>
                  <a:gd name="T44" fmla="*/ 3003 w 6930"/>
                  <a:gd name="T45" fmla="*/ 899 h 1373"/>
                  <a:gd name="T46" fmla="*/ 5036 w 6930"/>
                  <a:gd name="T47" fmla="*/ 731 h 1373"/>
                  <a:gd name="T48" fmla="*/ 5039 w 6930"/>
                  <a:gd name="T49" fmla="*/ 731 h 1373"/>
                  <a:gd name="T50" fmla="*/ 3043 w 6930"/>
                  <a:gd name="T51" fmla="*/ 724 h 1373"/>
                  <a:gd name="T52" fmla="*/ 3043 w 6930"/>
                  <a:gd name="T53" fmla="*/ 656 h 1373"/>
                  <a:gd name="T54" fmla="*/ 0 w 6930"/>
                  <a:gd name="T55" fmla="*/ 1373 h 1373"/>
                  <a:gd name="T56" fmla="*/ 5157 w 6930"/>
                  <a:gd name="T57" fmla="*/ 608 h 1373"/>
                  <a:gd name="T58" fmla="*/ 5159 w 6930"/>
                  <a:gd name="T59" fmla="*/ 608 h 1373"/>
                  <a:gd name="T60" fmla="*/ 6930 w 6930"/>
                  <a:gd name="T61" fmla="*/ 1013 h 1373"/>
                  <a:gd name="T62" fmla="*/ 4098 w 6930"/>
                  <a:gd name="T63" fmla="*/ 502 h 1373"/>
                  <a:gd name="T64" fmla="*/ 3206 w 6930"/>
                  <a:gd name="T65" fmla="*/ 502 h 1373"/>
                  <a:gd name="T66" fmla="*/ 3204 w 6930"/>
                  <a:gd name="T67" fmla="*/ 566 h 1373"/>
                  <a:gd name="T68" fmla="*/ 3942 w 6930"/>
                  <a:gd name="T69" fmla="*/ 454 h 1373"/>
                  <a:gd name="T70" fmla="*/ 3939 w 6930"/>
                  <a:gd name="T71" fmla="*/ 490 h 1373"/>
                  <a:gd name="T72" fmla="*/ 3861 w 6930"/>
                  <a:gd name="T73" fmla="*/ 641 h 1373"/>
                  <a:gd name="T74" fmla="*/ 3232 w 6930"/>
                  <a:gd name="T75" fmla="*/ 433 h 1373"/>
                  <a:gd name="T76" fmla="*/ 3232 w 6930"/>
                  <a:gd name="T77" fmla="*/ 471 h 1373"/>
                  <a:gd name="T78" fmla="*/ 3946 w 6930"/>
                  <a:gd name="T79" fmla="*/ 390 h 1373"/>
                  <a:gd name="T80" fmla="*/ 3949 w 6930"/>
                  <a:gd name="T81" fmla="*/ 450 h 1373"/>
                  <a:gd name="T82" fmla="*/ 1714 w 6930"/>
                  <a:gd name="T83" fmla="*/ 369 h 1373"/>
                  <a:gd name="T84" fmla="*/ 1714 w 6930"/>
                  <a:gd name="T85" fmla="*/ 1051 h 1373"/>
                  <a:gd name="T86" fmla="*/ 3953 w 6930"/>
                  <a:gd name="T87" fmla="*/ 329 h 1373"/>
                  <a:gd name="T88" fmla="*/ 3956 w 6930"/>
                  <a:gd name="T89" fmla="*/ 381 h 1373"/>
                  <a:gd name="T90" fmla="*/ 4606 w 6930"/>
                  <a:gd name="T91" fmla="*/ 234 h 1373"/>
                  <a:gd name="T92" fmla="*/ 4757 w 6930"/>
                  <a:gd name="T93" fmla="*/ 0 h 1373"/>
                  <a:gd name="T94" fmla="*/ 4757 w 6930"/>
                  <a:gd name="T95" fmla="*/ 123 h 1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30" h="1373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36"/>
                    </a:lnTo>
                    <a:lnTo>
                      <a:pt x="3618" y="1236"/>
                    </a:lnTo>
                    <a:lnTo>
                      <a:pt x="3618" y="1221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45"/>
                    </a:lnTo>
                    <a:lnTo>
                      <a:pt x="5736" y="1245"/>
                    </a:lnTo>
                    <a:lnTo>
                      <a:pt x="5736" y="1210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8" y="1129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60"/>
                    </a:lnTo>
                    <a:lnTo>
                      <a:pt x="2767" y="116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3"/>
                    </a:lnTo>
                    <a:lnTo>
                      <a:pt x="5836" y="1053"/>
                    </a:lnTo>
                    <a:lnTo>
                      <a:pt x="5836" y="1051"/>
                    </a:lnTo>
                    <a:lnTo>
                      <a:pt x="5836" y="1051"/>
                    </a:lnTo>
                    <a:lnTo>
                      <a:pt x="5836" y="1042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899"/>
                    </a:lnTo>
                    <a:lnTo>
                      <a:pt x="3005" y="899"/>
                    </a:lnTo>
                    <a:lnTo>
                      <a:pt x="3005" y="762"/>
                    </a:lnTo>
                    <a:moveTo>
                      <a:pt x="5039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892"/>
                    </a:lnTo>
                    <a:lnTo>
                      <a:pt x="5039" y="892"/>
                    </a:lnTo>
                    <a:lnTo>
                      <a:pt x="5039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73"/>
                    </a:lnTo>
                    <a:lnTo>
                      <a:pt x="2" y="1373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1"/>
                    </a:lnTo>
                    <a:lnTo>
                      <a:pt x="5159" y="651"/>
                    </a:lnTo>
                    <a:lnTo>
                      <a:pt x="5159" y="608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13"/>
                    </a:lnTo>
                    <a:lnTo>
                      <a:pt x="6930" y="1013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8" y="502"/>
                    </a:lnTo>
                    <a:lnTo>
                      <a:pt x="4098" y="504"/>
                    </a:lnTo>
                    <a:lnTo>
                      <a:pt x="4098" y="504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47"/>
                    </a:lnTo>
                    <a:lnTo>
                      <a:pt x="3861" y="847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51"/>
                    </a:lnTo>
                    <a:lnTo>
                      <a:pt x="1714" y="1051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52" y="438"/>
                    </a:lnTo>
                    <a:lnTo>
                      <a:pt x="4554" y="438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" name="Freeform 60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" name="Freeform 61"/>
              <p:cNvSpPr>
                <a:spLocks noEditPoints="1"/>
              </p:cNvSpPr>
              <p:nvPr/>
            </p:nvSpPr>
            <p:spPr bwMode="auto">
              <a:xfrm>
                <a:off x="63" y="1738"/>
                <a:ext cx="6931" cy="1376"/>
              </a:xfrm>
              <a:custGeom>
                <a:avLst/>
                <a:gdLst>
                  <a:gd name="T0" fmla="*/ 3616 w 6931"/>
                  <a:gd name="T1" fmla="*/ 1239 h 1376"/>
                  <a:gd name="T2" fmla="*/ 5734 w 6931"/>
                  <a:gd name="T3" fmla="*/ 1210 h 1376"/>
                  <a:gd name="T4" fmla="*/ 5737 w 6931"/>
                  <a:gd name="T5" fmla="*/ 1210 h 1376"/>
                  <a:gd name="T6" fmla="*/ 5760 w 6931"/>
                  <a:gd name="T7" fmla="*/ 1187 h 1376"/>
                  <a:gd name="T8" fmla="*/ 5760 w 6931"/>
                  <a:gd name="T9" fmla="*/ 1130 h 1376"/>
                  <a:gd name="T10" fmla="*/ 6226 w 6931"/>
                  <a:gd name="T11" fmla="*/ 1130 h 1376"/>
                  <a:gd name="T12" fmla="*/ 2765 w 6931"/>
                  <a:gd name="T13" fmla="*/ 1063 h 1376"/>
                  <a:gd name="T14" fmla="*/ 2765 w 6931"/>
                  <a:gd name="T15" fmla="*/ 1163 h 1376"/>
                  <a:gd name="T16" fmla="*/ 5836 w 6931"/>
                  <a:gd name="T17" fmla="*/ 1042 h 1376"/>
                  <a:gd name="T18" fmla="*/ 5836 w 6931"/>
                  <a:gd name="T19" fmla="*/ 1054 h 1376"/>
                  <a:gd name="T20" fmla="*/ 2783 w 6931"/>
                  <a:gd name="T21" fmla="*/ 1014 h 1376"/>
                  <a:gd name="T22" fmla="*/ 2783 w 6931"/>
                  <a:gd name="T23" fmla="*/ 1047 h 1376"/>
                  <a:gd name="T24" fmla="*/ 3675 w 6931"/>
                  <a:gd name="T25" fmla="*/ 995 h 1376"/>
                  <a:gd name="T26" fmla="*/ 3675 w 6931"/>
                  <a:gd name="T27" fmla="*/ 1163 h 1376"/>
                  <a:gd name="T28" fmla="*/ 5855 w 6931"/>
                  <a:gd name="T29" fmla="*/ 990 h 1376"/>
                  <a:gd name="T30" fmla="*/ 5853 w 6931"/>
                  <a:gd name="T31" fmla="*/ 1026 h 1376"/>
                  <a:gd name="T32" fmla="*/ 6245 w 6931"/>
                  <a:gd name="T33" fmla="*/ 936 h 1376"/>
                  <a:gd name="T34" fmla="*/ 6245 w 6931"/>
                  <a:gd name="T35" fmla="*/ 1113 h 1376"/>
                  <a:gd name="T36" fmla="*/ 6295 w 6931"/>
                  <a:gd name="T37" fmla="*/ 879 h 1376"/>
                  <a:gd name="T38" fmla="*/ 6292 w 6931"/>
                  <a:gd name="T39" fmla="*/ 888 h 1376"/>
                  <a:gd name="T40" fmla="*/ 6295 w 6931"/>
                  <a:gd name="T41" fmla="*/ 879 h 1376"/>
                  <a:gd name="T42" fmla="*/ 6302 w 6931"/>
                  <a:gd name="T43" fmla="*/ 872 h 1376"/>
                  <a:gd name="T44" fmla="*/ 6304 w 6931"/>
                  <a:gd name="T45" fmla="*/ 850 h 1376"/>
                  <a:gd name="T46" fmla="*/ 3003 w 6931"/>
                  <a:gd name="T47" fmla="*/ 902 h 1376"/>
                  <a:gd name="T48" fmla="*/ 5037 w 6931"/>
                  <a:gd name="T49" fmla="*/ 732 h 1376"/>
                  <a:gd name="T50" fmla="*/ 5037 w 6931"/>
                  <a:gd name="T51" fmla="*/ 732 h 1376"/>
                  <a:gd name="T52" fmla="*/ 3041 w 6931"/>
                  <a:gd name="T53" fmla="*/ 727 h 1376"/>
                  <a:gd name="T54" fmla="*/ 3044 w 6931"/>
                  <a:gd name="T55" fmla="*/ 659 h 1376"/>
                  <a:gd name="T56" fmla="*/ 0 w 6931"/>
                  <a:gd name="T57" fmla="*/ 1376 h 1376"/>
                  <a:gd name="T58" fmla="*/ 5157 w 6931"/>
                  <a:gd name="T59" fmla="*/ 611 h 1376"/>
                  <a:gd name="T60" fmla="*/ 5157 w 6931"/>
                  <a:gd name="T61" fmla="*/ 611 h 1376"/>
                  <a:gd name="T62" fmla="*/ 6928 w 6931"/>
                  <a:gd name="T63" fmla="*/ 1016 h 1376"/>
                  <a:gd name="T64" fmla="*/ 4098 w 6931"/>
                  <a:gd name="T65" fmla="*/ 505 h 1376"/>
                  <a:gd name="T66" fmla="*/ 4098 w 6931"/>
                  <a:gd name="T67" fmla="*/ 505 h 1376"/>
                  <a:gd name="T68" fmla="*/ 3204 w 6931"/>
                  <a:gd name="T69" fmla="*/ 566 h 1376"/>
                  <a:gd name="T70" fmla="*/ 3204 w 6931"/>
                  <a:gd name="T71" fmla="*/ 502 h 1376"/>
                  <a:gd name="T72" fmla="*/ 3940 w 6931"/>
                  <a:gd name="T73" fmla="*/ 457 h 1376"/>
                  <a:gd name="T74" fmla="*/ 3859 w 6931"/>
                  <a:gd name="T75" fmla="*/ 850 h 1376"/>
                  <a:gd name="T76" fmla="*/ 3235 w 6931"/>
                  <a:gd name="T77" fmla="*/ 434 h 1376"/>
                  <a:gd name="T78" fmla="*/ 3233 w 6931"/>
                  <a:gd name="T79" fmla="*/ 474 h 1376"/>
                  <a:gd name="T80" fmla="*/ 3947 w 6931"/>
                  <a:gd name="T81" fmla="*/ 391 h 1376"/>
                  <a:gd name="T82" fmla="*/ 3947 w 6931"/>
                  <a:gd name="T83" fmla="*/ 450 h 1376"/>
                  <a:gd name="T84" fmla="*/ 3947 w 6931"/>
                  <a:gd name="T85" fmla="*/ 391 h 1376"/>
                  <a:gd name="T86" fmla="*/ 1712 w 6931"/>
                  <a:gd name="T87" fmla="*/ 1054 h 1376"/>
                  <a:gd name="T88" fmla="*/ 3954 w 6931"/>
                  <a:gd name="T89" fmla="*/ 327 h 1376"/>
                  <a:gd name="T90" fmla="*/ 3956 w 6931"/>
                  <a:gd name="T91" fmla="*/ 382 h 1376"/>
                  <a:gd name="T92" fmla="*/ 4606 w 6931"/>
                  <a:gd name="T93" fmla="*/ 232 h 1376"/>
                  <a:gd name="T94" fmla="*/ 4609 w 6931"/>
                  <a:gd name="T95" fmla="*/ 232 h 1376"/>
                  <a:gd name="T96" fmla="*/ 4755 w 6931"/>
                  <a:gd name="T97" fmla="*/ 126 h 1376"/>
                  <a:gd name="T98" fmla="*/ 4758 w 6931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1" h="1376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39"/>
                    </a:lnTo>
                    <a:lnTo>
                      <a:pt x="3616" y="1239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48"/>
                    </a:lnTo>
                    <a:lnTo>
                      <a:pt x="5737" y="1248"/>
                    </a:lnTo>
                    <a:lnTo>
                      <a:pt x="5737" y="1210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9" y="1132"/>
                    </a:lnTo>
                    <a:lnTo>
                      <a:pt x="6229" y="1130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63"/>
                    </a:lnTo>
                    <a:lnTo>
                      <a:pt x="2765" y="1163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1163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2"/>
                    </a:lnTo>
                    <a:lnTo>
                      <a:pt x="3006" y="902"/>
                    </a:lnTo>
                    <a:lnTo>
                      <a:pt x="3006" y="76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895"/>
                    </a:lnTo>
                    <a:lnTo>
                      <a:pt x="5037" y="895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3" y="1376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54"/>
                    </a:lnTo>
                    <a:lnTo>
                      <a:pt x="5157" y="654"/>
                    </a:lnTo>
                    <a:lnTo>
                      <a:pt x="5157" y="611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16"/>
                    </a:lnTo>
                    <a:lnTo>
                      <a:pt x="6931" y="1016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96" y="507"/>
                    </a:lnTo>
                    <a:lnTo>
                      <a:pt x="4096" y="507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50"/>
                    </a:lnTo>
                    <a:lnTo>
                      <a:pt x="3859" y="850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54"/>
                    </a:lnTo>
                    <a:lnTo>
                      <a:pt x="1715" y="1054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52" y="441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" name="Freeform 62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close/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close/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close/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close/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close/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F1F1F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" name="Freeform 63"/>
              <p:cNvSpPr>
                <a:spLocks noEditPoints="1"/>
              </p:cNvSpPr>
              <p:nvPr/>
            </p:nvSpPr>
            <p:spPr bwMode="auto">
              <a:xfrm>
                <a:off x="66" y="1738"/>
                <a:ext cx="6930" cy="1376"/>
              </a:xfrm>
              <a:custGeom>
                <a:avLst/>
                <a:gdLst>
                  <a:gd name="T0" fmla="*/ 3613 w 6930"/>
                  <a:gd name="T1" fmla="*/ 1239 h 1376"/>
                  <a:gd name="T2" fmla="*/ 5734 w 6930"/>
                  <a:gd name="T3" fmla="*/ 1208 h 1376"/>
                  <a:gd name="T4" fmla="*/ 5736 w 6930"/>
                  <a:gd name="T5" fmla="*/ 1208 h 1376"/>
                  <a:gd name="T6" fmla="*/ 5757 w 6930"/>
                  <a:gd name="T7" fmla="*/ 1184 h 1376"/>
                  <a:gd name="T8" fmla="*/ 5760 w 6930"/>
                  <a:gd name="T9" fmla="*/ 1127 h 1376"/>
                  <a:gd name="T10" fmla="*/ 6226 w 6930"/>
                  <a:gd name="T11" fmla="*/ 1130 h 1376"/>
                  <a:gd name="T12" fmla="*/ 2764 w 6930"/>
                  <a:gd name="T13" fmla="*/ 1061 h 1376"/>
                  <a:gd name="T14" fmla="*/ 2762 w 6930"/>
                  <a:gd name="T15" fmla="*/ 1163 h 1376"/>
                  <a:gd name="T16" fmla="*/ 5835 w 6930"/>
                  <a:gd name="T17" fmla="*/ 1040 h 1376"/>
                  <a:gd name="T18" fmla="*/ 5835 w 6930"/>
                  <a:gd name="T19" fmla="*/ 1054 h 1376"/>
                  <a:gd name="T20" fmla="*/ 2783 w 6930"/>
                  <a:gd name="T21" fmla="*/ 1011 h 1376"/>
                  <a:gd name="T22" fmla="*/ 2780 w 6930"/>
                  <a:gd name="T23" fmla="*/ 1045 h 1376"/>
                  <a:gd name="T24" fmla="*/ 3674 w 6930"/>
                  <a:gd name="T25" fmla="*/ 992 h 1376"/>
                  <a:gd name="T26" fmla="*/ 3674 w 6930"/>
                  <a:gd name="T27" fmla="*/ 1163 h 1376"/>
                  <a:gd name="T28" fmla="*/ 5854 w 6930"/>
                  <a:gd name="T29" fmla="*/ 988 h 1376"/>
                  <a:gd name="T30" fmla="*/ 5852 w 6930"/>
                  <a:gd name="T31" fmla="*/ 1023 h 1376"/>
                  <a:gd name="T32" fmla="*/ 6244 w 6930"/>
                  <a:gd name="T33" fmla="*/ 936 h 1376"/>
                  <a:gd name="T34" fmla="*/ 6244 w 6930"/>
                  <a:gd name="T35" fmla="*/ 1111 h 1376"/>
                  <a:gd name="T36" fmla="*/ 6294 w 6930"/>
                  <a:gd name="T37" fmla="*/ 876 h 1376"/>
                  <a:gd name="T38" fmla="*/ 6292 w 6930"/>
                  <a:gd name="T39" fmla="*/ 886 h 1376"/>
                  <a:gd name="T40" fmla="*/ 6294 w 6930"/>
                  <a:gd name="T41" fmla="*/ 876 h 1376"/>
                  <a:gd name="T42" fmla="*/ 6301 w 6930"/>
                  <a:gd name="T43" fmla="*/ 869 h 1376"/>
                  <a:gd name="T44" fmla="*/ 6301 w 6930"/>
                  <a:gd name="T45" fmla="*/ 850 h 1376"/>
                  <a:gd name="T46" fmla="*/ 3003 w 6930"/>
                  <a:gd name="T47" fmla="*/ 902 h 1376"/>
                  <a:gd name="T48" fmla="*/ 5034 w 6930"/>
                  <a:gd name="T49" fmla="*/ 732 h 1376"/>
                  <a:gd name="T50" fmla="*/ 5036 w 6930"/>
                  <a:gd name="T51" fmla="*/ 732 h 1376"/>
                  <a:gd name="T52" fmla="*/ 3041 w 6930"/>
                  <a:gd name="T53" fmla="*/ 725 h 1376"/>
                  <a:gd name="T54" fmla="*/ 3043 w 6930"/>
                  <a:gd name="T55" fmla="*/ 656 h 1376"/>
                  <a:gd name="T56" fmla="*/ 0 w 6930"/>
                  <a:gd name="T57" fmla="*/ 1376 h 1376"/>
                  <a:gd name="T58" fmla="*/ 5154 w 6930"/>
                  <a:gd name="T59" fmla="*/ 609 h 1376"/>
                  <a:gd name="T60" fmla="*/ 5157 w 6930"/>
                  <a:gd name="T61" fmla="*/ 609 h 1376"/>
                  <a:gd name="T62" fmla="*/ 6928 w 6930"/>
                  <a:gd name="T63" fmla="*/ 1016 h 1376"/>
                  <a:gd name="T64" fmla="*/ 4097 w 6930"/>
                  <a:gd name="T65" fmla="*/ 502 h 1376"/>
                  <a:gd name="T66" fmla="*/ 4097 w 6930"/>
                  <a:gd name="T67" fmla="*/ 502 h 1376"/>
                  <a:gd name="T68" fmla="*/ 3201 w 6930"/>
                  <a:gd name="T69" fmla="*/ 564 h 1376"/>
                  <a:gd name="T70" fmla="*/ 3204 w 6930"/>
                  <a:gd name="T71" fmla="*/ 500 h 1376"/>
                  <a:gd name="T72" fmla="*/ 3939 w 6930"/>
                  <a:gd name="T73" fmla="*/ 455 h 1376"/>
                  <a:gd name="T74" fmla="*/ 3859 w 6930"/>
                  <a:gd name="T75" fmla="*/ 850 h 1376"/>
                  <a:gd name="T76" fmla="*/ 3232 w 6930"/>
                  <a:gd name="T77" fmla="*/ 434 h 1376"/>
                  <a:gd name="T78" fmla="*/ 3232 w 6930"/>
                  <a:gd name="T79" fmla="*/ 472 h 1376"/>
                  <a:gd name="T80" fmla="*/ 3946 w 6930"/>
                  <a:gd name="T81" fmla="*/ 391 h 1376"/>
                  <a:gd name="T82" fmla="*/ 3944 w 6930"/>
                  <a:gd name="T83" fmla="*/ 448 h 1376"/>
                  <a:gd name="T84" fmla="*/ 3946 w 6930"/>
                  <a:gd name="T85" fmla="*/ 391 h 1376"/>
                  <a:gd name="T86" fmla="*/ 1712 w 6930"/>
                  <a:gd name="T87" fmla="*/ 1054 h 1376"/>
                  <a:gd name="T88" fmla="*/ 3953 w 6930"/>
                  <a:gd name="T89" fmla="*/ 327 h 1376"/>
                  <a:gd name="T90" fmla="*/ 3953 w 6930"/>
                  <a:gd name="T91" fmla="*/ 382 h 1376"/>
                  <a:gd name="T92" fmla="*/ 4606 w 6930"/>
                  <a:gd name="T93" fmla="*/ 230 h 1376"/>
                  <a:gd name="T94" fmla="*/ 4608 w 6930"/>
                  <a:gd name="T95" fmla="*/ 230 h 1376"/>
                  <a:gd name="T96" fmla="*/ 4755 w 6930"/>
                  <a:gd name="T97" fmla="*/ 124 h 1376"/>
                  <a:gd name="T98" fmla="*/ 4757 w 6930"/>
                  <a:gd name="T99" fmla="*/ 0 h 1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30" h="1376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2"/>
                    </a:lnTo>
                    <a:lnTo>
                      <a:pt x="3613" y="1239"/>
                    </a:lnTo>
                    <a:lnTo>
                      <a:pt x="3615" y="1239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48"/>
                    </a:lnTo>
                    <a:lnTo>
                      <a:pt x="5736" y="1248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8" y="1132"/>
                    </a:lnTo>
                    <a:lnTo>
                      <a:pt x="6228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3"/>
                    </a:lnTo>
                    <a:lnTo>
                      <a:pt x="2764" y="1163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5" y="1054"/>
                    </a:lnTo>
                    <a:lnTo>
                      <a:pt x="5835" y="1052"/>
                    </a:lnTo>
                    <a:lnTo>
                      <a:pt x="5835" y="1052"/>
                    </a:lnTo>
                    <a:lnTo>
                      <a:pt x="5835" y="1040"/>
                    </a:lnTo>
                    <a:moveTo>
                      <a:pt x="2783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3"/>
                    </a:lnTo>
                    <a:lnTo>
                      <a:pt x="3674" y="1163"/>
                    </a:lnTo>
                    <a:lnTo>
                      <a:pt x="3674" y="1161"/>
                    </a:lnTo>
                    <a:lnTo>
                      <a:pt x="3674" y="1161"/>
                    </a:lnTo>
                    <a:lnTo>
                      <a:pt x="3674" y="992"/>
                    </a:lnTo>
                    <a:moveTo>
                      <a:pt x="5854" y="988"/>
                    </a:moveTo>
                    <a:lnTo>
                      <a:pt x="5852" y="988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1"/>
                    </a:lnTo>
                    <a:lnTo>
                      <a:pt x="5854" y="1021"/>
                    </a:lnTo>
                    <a:lnTo>
                      <a:pt x="5854" y="988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6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4" y="1108"/>
                    </a:lnTo>
                    <a:lnTo>
                      <a:pt x="6244" y="936"/>
                    </a:lnTo>
                    <a:moveTo>
                      <a:pt x="6294" y="876"/>
                    </a:moveTo>
                    <a:lnTo>
                      <a:pt x="6292" y="876"/>
                    </a:lnTo>
                    <a:lnTo>
                      <a:pt x="6292" y="876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4"/>
                    </a:lnTo>
                    <a:lnTo>
                      <a:pt x="6294" y="884"/>
                    </a:lnTo>
                    <a:lnTo>
                      <a:pt x="6294" y="876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0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902"/>
                    </a:lnTo>
                    <a:lnTo>
                      <a:pt x="3005" y="902"/>
                    </a:lnTo>
                    <a:lnTo>
                      <a:pt x="3005" y="76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895"/>
                    </a:lnTo>
                    <a:lnTo>
                      <a:pt x="5036" y="895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9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6"/>
                    </a:lnTo>
                    <a:lnTo>
                      <a:pt x="2" y="1376"/>
                    </a:lnTo>
                    <a:lnTo>
                      <a:pt x="2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54"/>
                    </a:lnTo>
                    <a:lnTo>
                      <a:pt x="5157" y="654"/>
                    </a:lnTo>
                    <a:lnTo>
                      <a:pt x="5157" y="609"/>
                    </a:lnTo>
                    <a:moveTo>
                      <a:pt x="6930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16"/>
                    </a:lnTo>
                    <a:lnTo>
                      <a:pt x="6930" y="1016"/>
                    </a:lnTo>
                    <a:lnTo>
                      <a:pt x="6930" y="507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93" y="507"/>
                    </a:lnTo>
                    <a:lnTo>
                      <a:pt x="4093" y="509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2"/>
                    </a:lnTo>
                    <a:lnTo>
                      <a:pt x="3204" y="562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50"/>
                    </a:lnTo>
                    <a:lnTo>
                      <a:pt x="3859" y="850"/>
                    </a:lnTo>
                    <a:lnTo>
                      <a:pt x="3859" y="640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4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54"/>
                    </a:lnTo>
                    <a:lnTo>
                      <a:pt x="1714" y="1054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7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6" y="382"/>
                    </a:lnTo>
                    <a:lnTo>
                      <a:pt x="3956" y="327"/>
                    </a:lnTo>
                    <a:moveTo>
                      <a:pt x="4608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49" y="438"/>
                    </a:lnTo>
                    <a:lnTo>
                      <a:pt x="4551" y="438"/>
                    </a:lnTo>
                    <a:lnTo>
                      <a:pt x="4608" y="230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7" y="124"/>
                    </a:lnTo>
                    <a:lnTo>
                      <a:pt x="4757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" name="Freeform 64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close/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close/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close/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close/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" name="Freeform 65"/>
              <p:cNvSpPr>
                <a:spLocks noEditPoints="1"/>
              </p:cNvSpPr>
              <p:nvPr/>
            </p:nvSpPr>
            <p:spPr bwMode="auto">
              <a:xfrm>
                <a:off x="68" y="1736"/>
                <a:ext cx="6930" cy="1378"/>
              </a:xfrm>
              <a:custGeom>
                <a:avLst/>
                <a:gdLst>
                  <a:gd name="T0" fmla="*/ 3613 w 6930"/>
                  <a:gd name="T1" fmla="*/ 1241 h 1378"/>
                  <a:gd name="T2" fmla="*/ 5734 w 6930"/>
                  <a:gd name="T3" fmla="*/ 1208 h 1378"/>
                  <a:gd name="T4" fmla="*/ 5736 w 6930"/>
                  <a:gd name="T5" fmla="*/ 1208 h 1378"/>
                  <a:gd name="T6" fmla="*/ 5758 w 6930"/>
                  <a:gd name="T7" fmla="*/ 1184 h 1378"/>
                  <a:gd name="T8" fmla="*/ 5760 w 6930"/>
                  <a:gd name="T9" fmla="*/ 1127 h 1378"/>
                  <a:gd name="T10" fmla="*/ 6226 w 6930"/>
                  <a:gd name="T11" fmla="*/ 1129 h 1378"/>
                  <a:gd name="T12" fmla="*/ 2764 w 6930"/>
                  <a:gd name="T13" fmla="*/ 1061 h 1378"/>
                  <a:gd name="T14" fmla="*/ 2762 w 6930"/>
                  <a:gd name="T15" fmla="*/ 1165 h 1378"/>
                  <a:gd name="T16" fmla="*/ 5836 w 6930"/>
                  <a:gd name="T17" fmla="*/ 1042 h 1378"/>
                  <a:gd name="T18" fmla="*/ 5836 w 6930"/>
                  <a:gd name="T19" fmla="*/ 1054 h 1378"/>
                  <a:gd name="T20" fmla="*/ 2781 w 6930"/>
                  <a:gd name="T21" fmla="*/ 1013 h 1378"/>
                  <a:gd name="T22" fmla="*/ 2781 w 6930"/>
                  <a:gd name="T23" fmla="*/ 1044 h 1378"/>
                  <a:gd name="T24" fmla="*/ 3672 w 6930"/>
                  <a:gd name="T25" fmla="*/ 994 h 1378"/>
                  <a:gd name="T26" fmla="*/ 3675 w 6930"/>
                  <a:gd name="T27" fmla="*/ 1160 h 1378"/>
                  <a:gd name="T28" fmla="*/ 5852 w 6930"/>
                  <a:gd name="T29" fmla="*/ 990 h 1378"/>
                  <a:gd name="T30" fmla="*/ 5852 w 6930"/>
                  <a:gd name="T31" fmla="*/ 1023 h 1378"/>
                  <a:gd name="T32" fmla="*/ 6242 w 6930"/>
                  <a:gd name="T33" fmla="*/ 938 h 1378"/>
                  <a:gd name="T34" fmla="*/ 6245 w 6930"/>
                  <a:gd name="T35" fmla="*/ 1108 h 1378"/>
                  <a:gd name="T36" fmla="*/ 6292 w 6930"/>
                  <a:gd name="T37" fmla="*/ 878 h 1378"/>
                  <a:gd name="T38" fmla="*/ 6292 w 6930"/>
                  <a:gd name="T39" fmla="*/ 886 h 1378"/>
                  <a:gd name="T40" fmla="*/ 6299 w 6930"/>
                  <a:gd name="T41" fmla="*/ 850 h 1378"/>
                  <a:gd name="T42" fmla="*/ 6302 w 6930"/>
                  <a:gd name="T43" fmla="*/ 869 h 1378"/>
                  <a:gd name="T44" fmla="*/ 3003 w 6930"/>
                  <a:gd name="T45" fmla="*/ 762 h 1378"/>
                  <a:gd name="T46" fmla="*/ 3005 w 6930"/>
                  <a:gd name="T47" fmla="*/ 762 h 1378"/>
                  <a:gd name="T48" fmla="*/ 5034 w 6930"/>
                  <a:gd name="T49" fmla="*/ 897 h 1378"/>
                  <a:gd name="T50" fmla="*/ 3041 w 6930"/>
                  <a:gd name="T51" fmla="*/ 656 h 1378"/>
                  <a:gd name="T52" fmla="*/ 3041 w 6930"/>
                  <a:gd name="T53" fmla="*/ 722 h 1378"/>
                  <a:gd name="T54" fmla="*/ 0 w 6930"/>
                  <a:gd name="T55" fmla="*/ 616 h 1378"/>
                  <a:gd name="T56" fmla="*/ 0 w 6930"/>
                  <a:gd name="T57" fmla="*/ 616 h 1378"/>
                  <a:gd name="T58" fmla="*/ 5155 w 6930"/>
                  <a:gd name="T59" fmla="*/ 656 h 1378"/>
                  <a:gd name="T60" fmla="*/ 3185 w 6930"/>
                  <a:gd name="T61" fmla="*/ 580 h 1378"/>
                  <a:gd name="T62" fmla="*/ 3187 w 6930"/>
                  <a:gd name="T63" fmla="*/ 580 h 1378"/>
                  <a:gd name="T64" fmla="*/ 6928 w 6930"/>
                  <a:gd name="T65" fmla="*/ 1018 h 1378"/>
                  <a:gd name="T66" fmla="*/ 4098 w 6930"/>
                  <a:gd name="T67" fmla="*/ 502 h 1378"/>
                  <a:gd name="T68" fmla="*/ 4098 w 6930"/>
                  <a:gd name="T69" fmla="*/ 502 h 1378"/>
                  <a:gd name="T70" fmla="*/ 3202 w 6930"/>
                  <a:gd name="T71" fmla="*/ 564 h 1378"/>
                  <a:gd name="T72" fmla="*/ 3204 w 6930"/>
                  <a:gd name="T73" fmla="*/ 500 h 1378"/>
                  <a:gd name="T74" fmla="*/ 3939 w 6930"/>
                  <a:gd name="T75" fmla="*/ 455 h 1378"/>
                  <a:gd name="T76" fmla="*/ 3859 w 6930"/>
                  <a:gd name="T77" fmla="*/ 852 h 1378"/>
                  <a:gd name="T78" fmla="*/ 3232 w 6930"/>
                  <a:gd name="T79" fmla="*/ 433 h 1378"/>
                  <a:gd name="T80" fmla="*/ 3232 w 6930"/>
                  <a:gd name="T81" fmla="*/ 474 h 1378"/>
                  <a:gd name="T82" fmla="*/ 3946 w 6930"/>
                  <a:gd name="T83" fmla="*/ 391 h 1378"/>
                  <a:gd name="T84" fmla="*/ 3944 w 6930"/>
                  <a:gd name="T85" fmla="*/ 448 h 1378"/>
                  <a:gd name="T86" fmla="*/ 3946 w 6930"/>
                  <a:gd name="T87" fmla="*/ 391 h 1378"/>
                  <a:gd name="T88" fmla="*/ 1712 w 6930"/>
                  <a:gd name="T89" fmla="*/ 1056 h 1378"/>
                  <a:gd name="T90" fmla="*/ 3954 w 6930"/>
                  <a:gd name="T91" fmla="*/ 327 h 1378"/>
                  <a:gd name="T92" fmla="*/ 3954 w 6930"/>
                  <a:gd name="T93" fmla="*/ 381 h 1378"/>
                  <a:gd name="T94" fmla="*/ 4606 w 6930"/>
                  <a:gd name="T95" fmla="*/ 232 h 1378"/>
                  <a:gd name="T96" fmla="*/ 4609 w 6930"/>
                  <a:gd name="T97" fmla="*/ 232 h 1378"/>
                  <a:gd name="T98" fmla="*/ 4755 w 6930"/>
                  <a:gd name="T99" fmla="*/ 123 h 1378"/>
                  <a:gd name="T100" fmla="*/ 4758 w 6930"/>
                  <a:gd name="T101" fmla="*/ 0 h 1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930" h="1378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1"/>
                    </a:lnTo>
                    <a:lnTo>
                      <a:pt x="3615" y="1241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50"/>
                    </a:lnTo>
                    <a:lnTo>
                      <a:pt x="5736" y="1250"/>
                    </a:lnTo>
                    <a:lnTo>
                      <a:pt x="5736" y="1208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6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4"/>
                    </a:lnTo>
                    <a:lnTo>
                      <a:pt x="6226" y="1134"/>
                    </a:lnTo>
                    <a:lnTo>
                      <a:pt x="6226" y="1127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65"/>
                    </a:lnTo>
                    <a:lnTo>
                      <a:pt x="2764" y="1165"/>
                    </a:lnTo>
                    <a:lnTo>
                      <a:pt x="2764" y="1061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2"/>
                    </a:lnTo>
                    <a:lnTo>
                      <a:pt x="5833" y="1054"/>
                    </a:lnTo>
                    <a:lnTo>
                      <a:pt x="5836" y="1054"/>
                    </a:lnTo>
                    <a:lnTo>
                      <a:pt x="5836" y="1042"/>
                    </a:lnTo>
                    <a:moveTo>
                      <a:pt x="2781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3"/>
                    </a:lnTo>
                    <a:lnTo>
                      <a:pt x="3675" y="1163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2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990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8"/>
                    </a:lnTo>
                    <a:lnTo>
                      <a:pt x="6242" y="1110"/>
                    </a:lnTo>
                    <a:lnTo>
                      <a:pt x="6242" y="1110"/>
                    </a:lnTo>
                    <a:lnTo>
                      <a:pt x="6242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4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2"/>
                    </a:lnTo>
                    <a:lnTo>
                      <a:pt x="6299" y="871"/>
                    </a:lnTo>
                    <a:lnTo>
                      <a:pt x="6302" y="871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04"/>
                    </a:lnTo>
                    <a:lnTo>
                      <a:pt x="3005" y="904"/>
                    </a:lnTo>
                    <a:lnTo>
                      <a:pt x="3005" y="762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897"/>
                    </a:lnTo>
                    <a:lnTo>
                      <a:pt x="5037" y="897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5"/>
                    </a:lnTo>
                    <a:lnTo>
                      <a:pt x="3041" y="725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78"/>
                    </a:lnTo>
                    <a:lnTo>
                      <a:pt x="0" y="1378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5" y="609"/>
                    </a:lnTo>
                    <a:lnTo>
                      <a:pt x="5155" y="611"/>
                    </a:lnTo>
                    <a:lnTo>
                      <a:pt x="5155" y="656"/>
                    </a:lnTo>
                    <a:lnTo>
                      <a:pt x="5157" y="656"/>
                    </a:lnTo>
                    <a:lnTo>
                      <a:pt x="5157" y="609"/>
                    </a:lnTo>
                    <a:moveTo>
                      <a:pt x="3187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7" y="582"/>
                    </a:lnTo>
                    <a:lnTo>
                      <a:pt x="3187" y="580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09"/>
                    </a:lnTo>
                    <a:lnTo>
                      <a:pt x="6928" y="1018"/>
                    </a:lnTo>
                    <a:lnTo>
                      <a:pt x="6930" y="1018"/>
                    </a:lnTo>
                    <a:lnTo>
                      <a:pt x="6930" y="509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5" y="504"/>
                    </a:lnTo>
                    <a:lnTo>
                      <a:pt x="4091" y="511"/>
                    </a:lnTo>
                    <a:lnTo>
                      <a:pt x="4091" y="51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2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2"/>
                    </a:lnTo>
                    <a:lnTo>
                      <a:pt x="3859" y="852"/>
                    </a:lnTo>
                    <a:lnTo>
                      <a:pt x="3859" y="642"/>
                    </a:lnTo>
                    <a:lnTo>
                      <a:pt x="3942" y="488"/>
                    </a:lnTo>
                    <a:lnTo>
                      <a:pt x="3942" y="455"/>
                    </a:lnTo>
                    <a:moveTo>
                      <a:pt x="3232" y="433"/>
                    </a:moveTo>
                    <a:lnTo>
                      <a:pt x="3230" y="433"/>
                    </a:lnTo>
                    <a:lnTo>
                      <a:pt x="3230" y="436"/>
                    </a:lnTo>
                    <a:lnTo>
                      <a:pt x="3230" y="474"/>
                    </a:lnTo>
                    <a:lnTo>
                      <a:pt x="3232" y="474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6" y="391"/>
                    </a:move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393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5"/>
                    </a:lnTo>
                    <a:lnTo>
                      <a:pt x="3946" y="445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56"/>
                    </a:lnTo>
                    <a:lnTo>
                      <a:pt x="1714" y="1056"/>
                    </a:lnTo>
                    <a:lnTo>
                      <a:pt x="1714" y="367"/>
                    </a:lnTo>
                    <a:moveTo>
                      <a:pt x="3954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27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2"/>
                    </a:lnTo>
                    <a:lnTo>
                      <a:pt x="4549" y="440"/>
                    </a:lnTo>
                    <a:lnTo>
                      <a:pt x="4552" y="438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3"/>
                    </a:lnTo>
                    <a:lnTo>
                      <a:pt x="4755" y="123"/>
                    </a:lnTo>
                    <a:lnTo>
                      <a:pt x="4755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3" name="Freeform 66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close/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close/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close/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EEE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4" name="Freeform 67"/>
              <p:cNvSpPr>
                <a:spLocks noEditPoints="1"/>
              </p:cNvSpPr>
              <p:nvPr/>
            </p:nvSpPr>
            <p:spPr bwMode="auto">
              <a:xfrm>
                <a:off x="68" y="1734"/>
                <a:ext cx="6930" cy="1380"/>
              </a:xfrm>
              <a:custGeom>
                <a:avLst/>
                <a:gdLst>
                  <a:gd name="T0" fmla="*/ 3615 w 6930"/>
                  <a:gd name="T1" fmla="*/ 1243 h 1380"/>
                  <a:gd name="T2" fmla="*/ 5736 w 6930"/>
                  <a:gd name="T3" fmla="*/ 1207 h 1380"/>
                  <a:gd name="T4" fmla="*/ 5736 w 6930"/>
                  <a:gd name="T5" fmla="*/ 1207 h 1380"/>
                  <a:gd name="T6" fmla="*/ 5760 w 6930"/>
                  <a:gd name="T7" fmla="*/ 1183 h 1380"/>
                  <a:gd name="T8" fmla="*/ 5762 w 6930"/>
                  <a:gd name="T9" fmla="*/ 1127 h 1380"/>
                  <a:gd name="T10" fmla="*/ 6226 w 6930"/>
                  <a:gd name="T11" fmla="*/ 1129 h 1380"/>
                  <a:gd name="T12" fmla="*/ 2767 w 6930"/>
                  <a:gd name="T13" fmla="*/ 1063 h 1380"/>
                  <a:gd name="T14" fmla="*/ 2764 w 6930"/>
                  <a:gd name="T15" fmla="*/ 1167 h 1380"/>
                  <a:gd name="T16" fmla="*/ 5836 w 6930"/>
                  <a:gd name="T17" fmla="*/ 1041 h 1380"/>
                  <a:gd name="T18" fmla="*/ 5838 w 6930"/>
                  <a:gd name="T19" fmla="*/ 1056 h 1380"/>
                  <a:gd name="T20" fmla="*/ 2781 w 6930"/>
                  <a:gd name="T21" fmla="*/ 1013 h 1380"/>
                  <a:gd name="T22" fmla="*/ 2783 w 6930"/>
                  <a:gd name="T23" fmla="*/ 1044 h 1380"/>
                  <a:gd name="T24" fmla="*/ 3675 w 6930"/>
                  <a:gd name="T25" fmla="*/ 994 h 1380"/>
                  <a:gd name="T26" fmla="*/ 3677 w 6930"/>
                  <a:gd name="T27" fmla="*/ 1160 h 1380"/>
                  <a:gd name="T28" fmla="*/ 5852 w 6930"/>
                  <a:gd name="T29" fmla="*/ 992 h 1380"/>
                  <a:gd name="T30" fmla="*/ 5855 w 6930"/>
                  <a:gd name="T31" fmla="*/ 1022 h 1380"/>
                  <a:gd name="T32" fmla="*/ 6245 w 6930"/>
                  <a:gd name="T33" fmla="*/ 937 h 1380"/>
                  <a:gd name="T34" fmla="*/ 6247 w 6930"/>
                  <a:gd name="T35" fmla="*/ 1108 h 1380"/>
                  <a:gd name="T36" fmla="*/ 6294 w 6930"/>
                  <a:gd name="T37" fmla="*/ 878 h 1380"/>
                  <a:gd name="T38" fmla="*/ 6294 w 6930"/>
                  <a:gd name="T39" fmla="*/ 885 h 1380"/>
                  <a:gd name="T40" fmla="*/ 6302 w 6930"/>
                  <a:gd name="T41" fmla="*/ 850 h 1380"/>
                  <a:gd name="T42" fmla="*/ 6304 w 6930"/>
                  <a:gd name="T43" fmla="*/ 869 h 1380"/>
                  <a:gd name="T44" fmla="*/ 3005 w 6930"/>
                  <a:gd name="T45" fmla="*/ 762 h 1380"/>
                  <a:gd name="T46" fmla="*/ 3005 w 6930"/>
                  <a:gd name="T47" fmla="*/ 762 h 1380"/>
                  <a:gd name="T48" fmla="*/ 915 w 6930"/>
                  <a:gd name="T49" fmla="*/ 755 h 1380"/>
                  <a:gd name="T50" fmla="*/ 5037 w 6930"/>
                  <a:gd name="T51" fmla="*/ 734 h 1380"/>
                  <a:gd name="T52" fmla="*/ 3046 w 6930"/>
                  <a:gd name="T53" fmla="*/ 656 h 1380"/>
                  <a:gd name="T54" fmla="*/ 3043 w 6930"/>
                  <a:gd name="T55" fmla="*/ 724 h 1380"/>
                  <a:gd name="T56" fmla="*/ 2 w 6930"/>
                  <a:gd name="T57" fmla="*/ 615 h 1380"/>
                  <a:gd name="T58" fmla="*/ 2 w 6930"/>
                  <a:gd name="T59" fmla="*/ 1380 h 1380"/>
                  <a:gd name="T60" fmla="*/ 5157 w 6930"/>
                  <a:gd name="T61" fmla="*/ 611 h 1380"/>
                  <a:gd name="T62" fmla="*/ 3190 w 6930"/>
                  <a:gd name="T63" fmla="*/ 582 h 1380"/>
                  <a:gd name="T64" fmla="*/ 3187 w 6930"/>
                  <a:gd name="T65" fmla="*/ 584 h 1380"/>
                  <a:gd name="T66" fmla="*/ 6930 w 6930"/>
                  <a:gd name="T67" fmla="*/ 509 h 1380"/>
                  <a:gd name="T68" fmla="*/ 6930 w 6930"/>
                  <a:gd name="T69" fmla="*/ 509 h 1380"/>
                  <a:gd name="T70" fmla="*/ 4091 w 6930"/>
                  <a:gd name="T71" fmla="*/ 513 h 1380"/>
                  <a:gd name="T72" fmla="*/ 3204 w 6930"/>
                  <a:gd name="T73" fmla="*/ 502 h 1380"/>
                  <a:gd name="T74" fmla="*/ 3206 w 6930"/>
                  <a:gd name="T75" fmla="*/ 563 h 1380"/>
                  <a:gd name="T76" fmla="*/ 3942 w 6930"/>
                  <a:gd name="T77" fmla="*/ 454 h 1380"/>
                  <a:gd name="T78" fmla="*/ 3859 w 6930"/>
                  <a:gd name="T79" fmla="*/ 644 h 1380"/>
                  <a:gd name="T80" fmla="*/ 3942 w 6930"/>
                  <a:gd name="T81" fmla="*/ 487 h 1380"/>
                  <a:gd name="T82" fmla="*/ 3232 w 6930"/>
                  <a:gd name="T83" fmla="*/ 435 h 1380"/>
                  <a:gd name="T84" fmla="*/ 3235 w 6930"/>
                  <a:gd name="T85" fmla="*/ 471 h 1380"/>
                  <a:gd name="T86" fmla="*/ 3946 w 6930"/>
                  <a:gd name="T87" fmla="*/ 390 h 1380"/>
                  <a:gd name="T88" fmla="*/ 3949 w 6930"/>
                  <a:gd name="T89" fmla="*/ 447 h 1380"/>
                  <a:gd name="T90" fmla="*/ 1714 w 6930"/>
                  <a:gd name="T91" fmla="*/ 367 h 1380"/>
                  <a:gd name="T92" fmla="*/ 1717 w 6930"/>
                  <a:gd name="T93" fmla="*/ 367 h 1380"/>
                  <a:gd name="T94" fmla="*/ 3954 w 6930"/>
                  <a:gd name="T95" fmla="*/ 383 h 1380"/>
                  <a:gd name="T96" fmla="*/ 3956 w 6930"/>
                  <a:gd name="T97" fmla="*/ 326 h 1380"/>
                  <a:gd name="T98" fmla="*/ 4552 w 6930"/>
                  <a:gd name="T99" fmla="*/ 440 h 1380"/>
                  <a:gd name="T100" fmla="*/ 4758 w 6930"/>
                  <a:gd name="T101" fmla="*/ 0 h 1380"/>
                  <a:gd name="T102" fmla="*/ 4758 w 6930"/>
                  <a:gd name="T103" fmla="*/ 120 h 1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930" h="1380">
                    <a:moveTo>
                      <a:pt x="3618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43"/>
                    </a:lnTo>
                    <a:lnTo>
                      <a:pt x="3618" y="1243"/>
                    </a:lnTo>
                    <a:lnTo>
                      <a:pt x="3618" y="1221"/>
                    </a:lnTo>
                    <a:moveTo>
                      <a:pt x="5736" y="1207"/>
                    </a:moveTo>
                    <a:lnTo>
                      <a:pt x="5736" y="1207"/>
                    </a:lnTo>
                    <a:lnTo>
                      <a:pt x="5736" y="1210"/>
                    </a:lnTo>
                    <a:lnTo>
                      <a:pt x="5736" y="1252"/>
                    </a:lnTo>
                    <a:lnTo>
                      <a:pt x="5736" y="1252"/>
                    </a:lnTo>
                    <a:lnTo>
                      <a:pt x="5736" y="1207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0" y="1183"/>
                    </a:lnTo>
                    <a:lnTo>
                      <a:pt x="5760" y="1181"/>
                    </a:lnTo>
                    <a:lnTo>
                      <a:pt x="5762" y="1181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36"/>
                    </a:lnTo>
                    <a:lnTo>
                      <a:pt x="6228" y="1136"/>
                    </a:lnTo>
                    <a:lnTo>
                      <a:pt x="6228" y="1127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67"/>
                    </a:lnTo>
                    <a:lnTo>
                      <a:pt x="2767" y="1167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56"/>
                    </a:lnTo>
                    <a:lnTo>
                      <a:pt x="5838" y="1056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6297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4"/>
                    </a:lnTo>
                    <a:lnTo>
                      <a:pt x="3005" y="906"/>
                    </a:lnTo>
                    <a:lnTo>
                      <a:pt x="3005" y="906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5" y="755"/>
                    </a:lnTo>
                    <a:lnTo>
                      <a:pt x="915" y="753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899"/>
                    </a:lnTo>
                    <a:lnTo>
                      <a:pt x="5039" y="899"/>
                    </a:lnTo>
                    <a:lnTo>
                      <a:pt x="5039" y="731"/>
                    </a:lnTo>
                    <a:moveTo>
                      <a:pt x="3046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6" y="724"/>
                    </a:lnTo>
                    <a:lnTo>
                      <a:pt x="3046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0"/>
                    </a:lnTo>
                    <a:lnTo>
                      <a:pt x="2" y="1380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58"/>
                    </a:lnTo>
                    <a:lnTo>
                      <a:pt x="5159" y="658"/>
                    </a:lnTo>
                    <a:lnTo>
                      <a:pt x="5159" y="608"/>
                    </a:lnTo>
                    <a:moveTo>
                      <a:pt x="3190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4"/>
                    </a:lnTo>
                    <a:lnTo>
                      <a:pt x="3190" y="584"/>
                    </a:lnTo>
                    <a:lnTo>
                      <a:pt x="3190" y="582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20"/>
                    </a:lnTo>
                    <a:lnTo>
                      <a:pt x="6930" y="102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91" y="513"/>
                    </a:lnTo>
                    <a:lnTo>
                      <a:pt x="4091" y="513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7"/>
                    </a:lnTo>
                    <a:lnTo>
                      <a:pt x="3942" y="490"/>
                    </a:lnTo>
                    <a:lnTo>
                      <a:pt x="3859" y="644"/>
                    </a:lnTo>
                    <a:lnTo>
                      <a:pt x="3859" y="854"/>
                    </a:lnTo>
                    <a:lnTo>
                      <a:pt x="3861" y="854"/>
                    </a:lnTo>
                    <a:lnTo>
                      <a:pt x="3861" y="641"/>
                    </a:lnTo>
                    <a:lnTo>
                      <a:pt x="3942" y="487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58"/>
                    </a:lnTo>
                    <a:lnTo>
                      <a:pt x="1717" y="1058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4" y="326"/>
                    </a:lnTo>
                    <a:lnTo>
                      <a:pt x="3954" y="329"/>
                    </a:lnTo>
                    <a:lnTo>
                      <a:pt x="3954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4"/>
                    </a:lnTo>
                    <a:lnTo>
                      <a:pt x="4552" y="440"/>
                    </a:lnTo>
                    <a:lnTo>
                      <a:pt x="4552" y="440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58" y="120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5" name="Freeform 68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close/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close/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close/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close/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close/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close/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close/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close/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close/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close/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close/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close/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DEC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6" name="Freeform 69"/>
              <p:cNvSpPr>
                <a:spLocks noEditPoints="1"/>
              </p:cNvSpPr>
              <p:nvPr/>
            </p:nvSpPr>
            <p:spPr bwMode="auto">
              <a:xfrm>
                <a:off x="70" y="1731"/>
                <a:ext cx="6931" cy="1383"/>
              </a:xfrm>
              <a:custGeom>
                <a:avLst/>
                <a:gdLst>
                  <a:gd name="T0" fmla="*/ 3616 w 6931"/>
                  <a:gd name="T1" fmla="*/ 1246 h 1383"/>
                  <a:gd name="T2" fmla="*/ 5737 w 6931"/>
                  <a:gd name="T3" fmla="*/ 1210 h 1383"/>
                  <a:gd name="T4" fmla="*/ 5737 w 6931"/>
                  <a:gd name="T5" fmla="*/ 1255 h 1383"/>
                  <a:gd name="T6" fmla="*/ 5760 w 6931"/>
                  <a:gd name="T7" fmla="*/ 1130 h 1383"/>
                  <a:gd name="T8" fmla="*/ 5763 w 6931"/>
                  <a:gd name="T9" fmla="*/ 1184 h 1383"/>
                  <a:gd name="T10" fmla="*/ 6226 w 6931"/>
                  <a:gd name="T11" fmla="*/ 1130 h 1383"/>
                  <a:gd name="T12" fmla="*/ 6229 w 6931"/>
                  <a:gd name="T13" fmla="*/ 1130 h 1383"/>
                  <a:gd name="T14" fmla="*/ 2765 w 6931"/>
                  <a:gd name="T15" fmla="*/ 1066 h 1383"/>
                  <a:gd name="T16" fmla="*/ 5836 w 6931"/>
                  <a:gd name="T17" fmla="*/ 1042 h 1383"/>
                  <a:gd name="T18" fmla="*/ 5836 w 6931"/>
                  <a:gd name="T19" fmla="*/ 1059 h 1383"/>
                  <a:gd name="T20" fmla="*/ 2781 w 6931"/>
                  <a:gd name="T21" fmla="*/ 1014 h 1383"/>
                  <a:gd name="T22" fmla="*/ 2784 w 6931"/>
                  <a:gd name="T23" fmla="*/ 1044 h 1383"/>
                  <a:gd name="T24" fmla="*/ 3675 w 6931"/>
                  <a:gd name="T25" fmla="*/ 995 h 1383"/>
                  <a:gd name="T26" fmla="*/ 3677 w 6931"/>
                  <a:gd name="T27" fmla="*/ 1160 h 1383"/>
                  <a:gd name="T28" fmla="*/ 5853 w 6931"/>
                  <a:gd name="T29" fmla="*/ 990 h 1383"/>
                  <a:gd name="T30" fmla="*/ 5853 w 6931"/>
                  <a:gd name="T31" fmla="*/ 1023 h 1383"/>
                  <a:gd name="T32" fmla="*/ 6245 w 6931"/>
                  <a:gd name="T33" fmla="*/ 936 h 1383"/>
                  <a:gd name="T34" fmla="*/ 6245 w 6931"/>
                  <a:gd name="T35" fmla="*/ 1111 h 1383"/>
                  <a:gd name="T36" fmla="*/ 6295 w 6931"/>
                  <a:gd name="T37" fmla="*/ 879 h 1383"/>
                  <a:gd name="T38" fmla="*/ 6295 w 6931"/>
                  <a:gd name="T39" fmla="*/ 888 h 1383"/>
                  <a:gd name="T40" fmla="*/ 6304 w 6931"/>
                  <a:gd name="T41" fmla="*/ 850 h 1383"/>
                  <a:gd name="T42" fmla="*/ 6302 w 6931"/>
                  <a:gd name="T43" fmla="*/ 872 h 1383"/>
                  <a:gd name="T44" fmla="*/ 3006 w 6931"/>
                  <a:gd name="T45" fmla="*/ 763 h 1383"/>
                  <a:gd name="T46" fmla="*/ 3006 w 6931"/>
                  <a:gd name="T47" fmla="*/ 909 h 1383"/>
                  <a:gd name="T48" fmla="*/ 913 w 6931"/>
                  <a:gd name="T49" fmla="*/ 756 h 1383"/>
                  <a:gd name="T50" fmla="*/ 5037 w 6931"/>
                  <a:gd name="T51" fmla="*/ 732 h 1383"/>
                  <a:gd name="T52" fmla="*/ 5037 w 6931"/>
                  <a:gd name="T53" fmla="*/ 902 h 1383"/>
                  <a:gd name="T54" fmla="*/ 3044 w 6931"/>
                  <a:gd name="T55" fmla="*/ 659 h 1383"/>
                  <a:gd name="T56" fmla="*/ 3044 w 6931"/>
                  <a:gd name="T57" fmla="*/ 725 h 1383"/>
                  <a:gd name="T58" fmla="*/ 0 w 6931"/>
                  <a:gd name="T59" fmla="*/ 618 h 1383"/>
                  <a:gd name="T60" fmla="*/ 5160 w 6931"/>
                  <a:gd name="T61" fmla="*/ 609 h 1383"/>
                  <a:gd name="T62" fmla="*/ 5160 w 6931"/>
                  <a:gd name="T63" fmla="*/ 661 h 1383"/>
                  <a:gd name="T64" fmla="*/ 3188 w 6931"/>
                  <a:gd name="T65" fmla="*/ 583 h 1383"/>
                  <a:gd name="T66" fmla="*/ 3188 w 6931"/>
                  <a:gd name="T67" fmla="*/ 583 h 1383"/>
                  <a:gd name="T68" fmla="*/ 6928 w 6931"/>
                  <a:gd name="T69" fmla="*/ 1023 h 1383"/>
                  <a:gd name="T70" fmla="*/ 4098 w 6931"/>
                  <a:gd name="T71" fmla="*/ 505 h 1383"/>
                  <a:gd name="T72" fmla="*/ 4101 w 6931"/>
                  <a:gd name="T73" fmla="*/ 505 h 1383"/>
                  <a:gd name="T74" fmla="*/ 3204 w 6931"/>
                  <a:gd name="T75" fmla="*/ 566 h 1383"/>
                  <a:gd name="T76" fmla="*/ 3207 w 6931"/>
                  <a:gd name="T77" fmla="*/ 502 h 1383"/>
                  <a:gd name="T78" fmla="*/ 3940 w 6931"/>
                  <a:gd name="T79" fmla="*/ 457 h 1383"/>
                  <a:gd name="T80" fmla="*/ 3862 w 6931"/>
                  <a:gd name="T81" fmla="*/ 857 h 1383"/>
                  <a:gd name="T82" fmla="*/ 3235 w 6931"/>
                  <a:gd name="T83" fmla="*/ 434 h 1383"/>
                  <a:gd name="T84" fmla="*/ 3233 w 6931"/>
                  <a:gd name="T85" fmla="*/ 474 h 1383"/>
                  <a:gd name="T86" fmla="*/ 3949 w 6931"/>
                  <a:gd name="T87" fmla="*/ 391 h 1383"/>
                  <a:gd name="T88" fmla="*/ 3947 w 6931"/>
                  <a:gd name="T89" fmla="*/ 450 h 1383"/>
                  <a:gd name="T90" fmla="*/ 3949 w 6931"/>
                  <a:gd name="T91" fmla="*/ 391 h 1383"/>
                  <a:gd name="T92" fmla="*/ 1715 w 6931"/>
                  <a:gd name="T93" fmla="*/ 1061 h 1383"/>
                  <a:gd name="T94" fmla="*/ 3954 w 6931"/>
                  <a:gd name="T95" fmla="*/ 327 h 1383"/>
                  <a:gd name="T96" fmla="*/ 3956 w 6931"/>
                  <a:gd name="T97" fmla="*/ 381 h 1383"/>
                  <a:gd name="T98" fmla="*/ 4609 w 6931"/>
                  <a:gd name="T99" fmla="*/ 232 h 1383"/>
                  <a:gd name="T100" fmla="*/ 4609 w 6931"/>
                  <a:gd name="T101" fmla="*/ 232 h 1383"/>
                  <a:gd name="T102" fmla="*/ 4756 w 6931"/>
                  <a:gd name="T103" fmla="*/ 123 h 1383"/>
                  <a:gd name="T104" fmla="*/ 4758 w 6931"/>
                  <a:gd name="T105" fmla="*/ 0 h 1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931" h="1383">
                    <a:moveTo>
                      <a:pt x="3616" y="1222"/>
                    </a:moveTo>
                    <a:lnTo>
                      <a:pt x="3616" y="1222"/>
                    </a:lnTo>
                    <a:lnTo>
                      <a:pt x="3616" y="1224"/>
                    </a:lnTo>
                    <a:lnTo>
                      <a:pt x="3616" y="1246"/>
                    </a:lnTo>
                    <a:lnTo>
                      <a:pt x="3616" y="1246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7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55"/>
                    </a:lnTo>
                    <a:lnTo>
                      <a:pt x="5737" y="1255"/>
                    </a:lnTo>
                    <a:lnTo>
                      <a:pt x="5737" y="1210"/>
                    </a:lnTo>
                    <a:moveTo>
                      <a:pt x="5763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3" y="1184"/>
                    </a:lnTo>
                    <a:lnTo>
                      <a:pt x="5763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9"/>
                    </a:lnTo>
                    <a:lnTo>
                      <a:pt x="6229" y="1139"/>
                    </a:lnTo>
                    <a:lnTo>
                      <a:pt x="6229" y="1130"/>
                    </a:lnTo>
                    <a:moveTo>
                      <a:pt x="2767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70"/>
                    </a:lnTo>
                    <a:lnTo>
                      <a:pt x="2767" y="1170"/>
                    </a:lnTo>
                    <a:lnTo>
                      <a:pt x="2767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6" y="1042"/>
                    </a:lnTo>
                    <a:lnTo>
                      <a:pt x="5836" y="1044"/>
                    </a:lnTo>
                    <a:lnTo>
                      <a:pt x="5836" y="1059"/>
                    </a:lnTo>
                    <a:lnTo>
                      <a:pt x="5836" y="1059"/>
                    </a:lnTo>
                    <a:lnTo>
                      <a:pt x="5836" y="1042"/>
                    </a:lnTo>
                    <a:moveTo>
                      <a:pt x="2784" y="1011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4" y="1047"/>
                    </a:lnTo>
                    <a:lnTo>
                      <a:pt x="2784" y="1044"/>
                    </a:lnTo>
                    <a:lnTo>
                      <a:pt x="2784" y="1044"/>
                    </a:lnTo>
                    <a:lnTo>
                      <a:pt x="2784" y="1011"/>
                    </a:lnTo>
                    <a:moveTo>
                      <a:pt x="3677" y="995"/>
                    </a:moveTo>
                    <a:lnTo>
                      <a:pt x="3675" y="995"/>
                    </a:lnTo>
                    <a:lnTo>
                      <a:pt x="3675" y="995"/>
                    </a:lnTo>
                    <a:lnTo>
                      <a:pt x="3675" y="1163"/>
                    </a:lnTo>
                    <a:lnTo>
                      <a:pt x="3677" y="1163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5"/>
                    </a:lnTo>
                    <a:lnTo>
                      <a:pt x="5853" y="1025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5" y="936"/>
                    </a:lnTo>
                    <a:lnTo>
                      <a:pt x="6245" y="938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5" y="879"/>
                    </a:lnTo>
                    <a:lnTo>
                      <a:pt x="6295" y="881"/>
                    </a:lnTo>
                    <a:lnTo>
                      <a:pt x="6295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09"/>
                    </a:lnTo>
                    <a:lnTo>
                      <a:pt x="3006" y="909"/>
                    </a:lnTo>
                    <a:lnTo>
                      <a:pt x="3006" y="763"/>
                    </a:lnTo>
                    <a:moveTo>
                      <a:pt x="916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58"/>
                    </a:lnTo>
                    <a:lnTo>
                      <a:pt x="916" y="758"/>
                    </a:lnTo>
                    <a:lnTo>
                      <a:pt x="916" y="753"/>
                    </a:lnTo>
                    <a:moveTo>
                      <a:pt x="5037" y="732"/>
                    </a:moveTo>
                    <a:lnTo>
                      <a:pt x="5037" y="732"/>
                    </a:lnTo>
                    <a:lnTo>
                      <a:pt x="5037" y="734"/>
                    </a:lnTo>
                    <a:lnTo>
                      <a:pt x="5037" y="902"/>
                    </a:lnTo>
                    <a:lnTo>
                      <a:pt x="5037" y="902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4" y="659"/>
                    </a:lnTo>
                    <a:lnTo>
                      <a:pt x="3044" y="659"/>
                    </a:lnTo>
                    <a:lnTo>
                      <a:pt x="3044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3"/>
                    </a:lnTo>
                    <a:lnTo>
                      <a:pt x="3" y="1383"/>
                    </a:lnTo>
                    <a:lnTo>
                      <a:pt x="3" y="616"/>
                    </a:lnTo>
                    <a:moveTo>
                      <a:pt x="5160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1"/>
                    </a:lnTo>
                    <a:lnTo>
                      <a:pt x="5160" y="661"/>
                    </a:lnTo>
                    <a:lnTo>
                      <a:pt x="5160" y="609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8" y="583"/>
                    </a:lnTo>
                    <a:lnTo>
                      <a:pt x="3188" y="585"/>
                    </a:lnTo>
                    <a:lnTo>
                      <a:pt x="3188" y="587"/>
                    </a:lnTo>
                    <a:lnTo>
                      <a:pt x="3188" y="587"/>
                    </a:lnTo>
                    <a:lnTo>
                      <a:pt x="3188" y="583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23"/>
                    </a:lnTo>
                    <a:lnTo>
                      <a:pt x="6931" y="1023"/>
                    </a:lnTo>
                    <a:lnTo>
                      <a:pt x="6931" y="509"/>
                    </a:lnTo>
                    <a:moveTo>
                      <a:pt x="4101" y="505"/>
                    </a:moveTo>
                    <a:lnTo>
                      <a:pt x="4098" y="505"/>
                    </a:lnTo>
                    <a:lnTo>
                      <a:pt x="4098" y="505"/>
                    </a:lnTo>
                    <a:lnTo>
                      <a:pt x="4089" y="516"/>
                    </a:lnTo>
                    <a:lnTo>
                      <a:pt x="4089" y="516"/>
                    </a:lnTo>
                    <a:lnTo>
                      <a:pt x="4101" y="505"/>
                    </a:lnTo>
                    <a:moveTo>
                      <a:pt x="3207" y="502"/>
                    </a:move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7" y="564"/>
                    </a:lnTo>
                    <a:lnTo>
                      <a:pt x="3207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0"/>
                    </a:lnTo>
                    <a:lnTo>
                      <a:pt x="3859" y="644"/>
                    </a:lnTo>
                    <a:lnTo>
                      <a:pt x="3859" y="857"/>
                    </a:lnTo>
                    <a:lnTo>
                      <a:pt x="3862" y="857"/>
                    </a:lnTo>
                    <a:lnTo>
                      <a:pt x="3862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1"/>
                    </a:lnTo>
                    <a:lnTo>
                      <a:pt x="3235" y="471"/>
                    </a:lnTo>
                    <a:lnTo>
                      <a:pt x="3235" y="434"/>
                    </a:lnTo>
                    <a:moveTo>
                      <a:pt x="3949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9" y="450"/>
                    </a:lnTo>
                    <a:lnTo>
                      <a:pt x="3949" y="448"/>
                    </a:lnTo>
                    <a:lnTo>
                      <a:pt x="3949" y="448"/>
                    </a:lnTo>
                    <a:lnTo>
                      <a:pt x="3949" y="391"/>
                    </a:lnTo>
                    <a:moveTo>
                      <a:pt x="1715" y="370"/>
                    </a:moveTo>
                    <a:lnTo>
                      <a:pt x="1715" y="370"/>
                    </a:lnTo>
                    <a:lnTo>
                      <a:pt x="1715" y="370"/>
                    </a:lnTo>
                    <a:lnTo>
                      <a:pt x="1715" y="1061"/>
                    </a:lnTo>
                    <a:lnTo>
                      <a:pt x="1715" y="1061"/>
                    </a:lnTo>
                    <a:lnTo>
                      <a:pt x="1715" y="370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7" y="235"/>
                    </a:lnTo>
                    <a:lnTo>
                      <a:pt x="4550" y="443"/>
                    </a:lnTo>
                    <a:lnTo>
                      <a:pt x="4552" y="441"/>
                    </a:lnTo>
                    <a:lnTo>
                      <a:pt x="4609" y="232"/>
                    </a:lnTo>
                    <a:moveTo>
                      <a:pt x="4758" y="0"/>
                    </a:moveTo>
                    <a:lnTo>
                      <a:pt x="4756" y="0"/>
                    </a:lnTo>
                    <a:lnTo>
                      <a:pt x="4756" y="3"/>
                    </a:lnTo>
                    <a:lnTo>
                      <a:pt x="4756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7" name="Freeform 70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close/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close/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close/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close/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close/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close/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close/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8" name="Freeform 71"/>
              <p:cNvSpPr>
                <a:spLocks noEditPoints="1"/>
              </p:cNvSpPr>
              <p:nvPr/>
            </p:nvSpPr>
            <p:spPr bwMode="auto">
              <a:xfrm>
                <a:off x="73" y="1729"/>
                <a:ext cx="6930" cy="1385"/>
              </a:xfrm>
              <a:custGeom>
                <a:avLst/>
                <a:gdLst>
                  <a:gd name="T0" fmla="*/ 3613 w 6930"/>
                  <a:gd name="T1" fmla="*/ 1248 h 1385"/>
                  <a:gd name="T2" fmla="*/ 5734 w 6930"/>
                  <a:gd name="T3" fmla="*/ 1210 h 1385"/>
                  <a:gd name="T4" fmla="*/ 5736 w 6930"/>
                  <a:gd name="T5" fmla="*/ 1257 h 1385"/>
                  <a:gd name="T6" fmla="*/ 5760 w 6930"/>
                  <a:gd name="T7" fmla="*/ 1132 h 1385"/>
                  <a:gd name="T8" fmla="*/ 5760 w 6930"/>
                  <a:gd name="T9" fmla="*/ 1184 h 1385"/>
                  <a:gd name="T10" fmla="*/ 6226 w 6930"/>
                  <a:gd name="T11" fmla="*/ 1129 h 1385"/>
                  <a:gd name="T12" fmla="*/ 6228 w 6930"/>
                  <a:gd name="T13" fmla="*/ 1129 h 1385"/>
                  <a:gd name="T14" fmla="*/ 2764 w 6930"/>
                  <a:gd name="T15" fmla="*/ 1065 h 1385"/>
                  <a:gd name="T16" fmla="*/ 5835 w 6930"/>
                  <a:gd name="T17" fmla="*/ 1042 h 1385"/>
                  <a:gd name="T18" fmla="*/ 5833 w 6930"/>
                  <a:gd name="T19" fmla="*/ 1061 h 1385"/>
                  <a:gd name="T20" fmla="*/ 2781 w 6930"/>
                  <a:gd name="T21" fmla="*/ 1013 h 1385"/>
                  <a:gd name="T22" fmla="*/ 2781 w 6930"/>
                  <a:gd name="T23" fmla="*/ 1044 h 1385"/>
                  <a:gd name="T24" fmla="*/ 3674 w 6930"/>
                  <a:gd name="T25" fmla="*/ 994 h 1385"/>
                  <a:gd name="T26" fmla="*/ 3674 w 6930"/>
                  <a:gd name="T27" fmla="*/ 1162 h 1385"/>
                  <a:gd name="T28" fmla="*/ 5852 w 6930"/>
                  <a:gd name="T29" fmla="*/ 990 h 1385"/>
                  <a:gd name="T30" fmla="*/ 5852 w 6930"/>
                  <a:gd name="T31" fmla="*/ 1023 h 1385"/>
                  <a:gd name="T32" fmla="*/ 6242 w 6930"/>
                  <a:gd name="T33" fmla="*/ 938 h 1385"/>
                  <a:gd name="T34" fmla="*/ 6245 w 6930"/>
                  <a:gd name="T35" fmla="*/ 1110 h 1385"/>
                  <a:gd name="T36" fmla="*/ 6294 w 6930"/>
                  <a:gd name="T37" fmla="*/ 878 h 1385"/>
                  <a:gd name="T38" fmla="*/ 6292 w 6930"/>
                  <a:gd name="T39" fmla="*/ 888 h 1385"/>
                  <a:gd name="T40" fmla="*/ 6301 w 6930"/>
                  <a:gd name="T41" fmla="*/ 850 h 1385"/>
                  <a:gd name="T42" fmla="*/ 6301 w 6930"/>
                  <a:gd name="T43" fmla="*/ 871 h 1385"/>
                  <a:gd name="T44" fmla="*/ 3005 w 6930"/>
                  <a:gd name="T45" fmla="*/ 762 h 1385"/>
                  <a:gd name="T46" fmla="*/ 3005 w 6930"/>
                  <a:gd name="T47" fmla="*/ 911 h 1385"/>
                  <a:gd name="T48" fmla="*/ 913 w 6930"/>
                  <a:gd name="T49" fmla="*/ 755 h 1385"/>
                  <a:gd name="T50" fmla="*/ 5036 w 6930"/>
                  <a:gd name="T51" fmla="*/ 732 h 1385"/>
                  <a:gd name="T52" fmla="*/ 5036 w 6930"/>
                  <a:gd name="T53" fmla="*/ 904 h 1385"/>
                  <a:gd name="T54" fmla="*/ 3041 w 6930"/>
                  <a:gd name="T55" fmla="*/ 661 h 1385"/>
                  <a:gd name="T56" fmla="*/ 3043 w 6930"/>
                  <a:gd name="T57" fmla="*/ 724 h 1385"/>
                  <a:gd name="T58" fmla="*/ 0 w 6930"/>
                  <a:gd name="T59" fmla="*/ 618 h 1385"/>
                  <a:gd name="T60" fmla="*/ 5157 w 6930"/>
                  <a:gd name="T61" fmla="*/ 611 h 1385"/>
                  <a:gd name="T62" fmla="*/ 5157 w 6930"/>
                  <a:gd name="T63" fmla="*/ 663 h 1385"/>
                  <a:gd name="T64" fmla="*/ 3185 w 6930"/>
                  <a:gd name="T65" fmla="*/ 582 h 1385"/>
                  <a:gd name="T66" fmla="*/ 3187 w 6930"/>
                  <a:gd name="T67" fmla="*/ 582 h 1385"/>
                  <a:gd name="T68" fmla="*/ 208 w 6930"/>
                  <a:gd name="T69" fmla="*/ 549 h 1385"/>
                  <a:gd name="T70" fmla="*/ 6928 w 6930"/>
                  <a:gd name="T71" fmla="*/ 511 h 1385"/>
                  <a:gd name="T72" fmla="*/ 4098 w 6930"/>
                  <a:gd name="T73" fmla="*/ 504 h 1385"/>
                  <a:gd name="T74" fmla="*/ 4086 w 6930"/>
                  <a:gd name="T75" fmla="*/ 518 h 1385"/>
                  <a:gd name="T76" fmla="*/ 3204 w 6930"/>
                  <a:gd name="T77" fmla="*/ 504 h 1385"/>
                  <a:gd name="T78" fmla="*/ 3204 w 6930"/>
                  <a:gd name="T79" fmla="*/ 563 h 1385"/>
                  <a:gd name="T80" fmla="*/ 3939 w 6930"/>
                  <a:gd name="T81" fmla="*/ 455 h 1385"/>
                  <a:gd name="T82" fmla="*/ 3859 w 6930"/>
                  <a:gd name="T83" fmla="*/ 859 h 1385"/>
                  <a:gd name="T84" fmla="*/ 3941 w 6930"/>
                  <a:gd name="T85" fmla="*/ 455 h 1385"/>
                  <a:gd name="T86" fmla="*/ 3232 w 6930"/>
                  <a:gd name="T87" fmla="*/ 473 h 1385"/>
                  <a:gd name="T88" fmla="*/ 3234 w 6930"/>
                  <a:gd name="T89" fmla="*/ 436 h 1385"/>
                  <a:gd name="T90" fmla="*/ 3946 w 6930"/>
                  <a:gd name="T91" fmla="*/ 393 h 1385"/>
                  <a:gd name="T92" fmla="*/ 3946 w 6930"/>
                  <a:gd name="T93" fmla="*/ 447 h 1385"/>
                  <a:gd name="T94" fmla="*/ 1712 w 6930"/>
                  <a:gd name="T95" fmla="*/ 372 h 1385"/>
                  <a:gd name="T96" fmla="*/ 3956 w 6930"/>
                  <a:gd name="T97" fmla="*/ 329 h 1385"/>
                  <a:gd name="T98" fmla="*/ 3956 w 6930"/>
                  <a:gd name="T99" fmla="*/ 383 h 1385"/>
                  <a:gd name="T100" fmla="*/ 4608 w 6930"/>
                  <a:gd name="T101" fmla="*/ 232 h 1385"/>
                  <a:gd name="T102" fmla="*/ 4552 w 6930"/>
                  <a:gd name="T103" fmla="*/ 443 h 1385"/>
                  <a:gd name="T104" fmla="*/ 4755 w 6930"/>
                  <a:gd name="T105" fmla="*/ 2 h 1385"/>
                  <a:gd name="T106" fmla="*/ 4757 w 6930"/>
                  <a:gd name="T107" fmla="*/ 123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30" h="1385">
                    <a:moveTo>
                      <a:pt x="3615" y="1224"/>
                    </a:moveTo>
                    <a:lnTo>
                      <a:pt x="3613" y="1224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5" y="1248"/>
                    </a:lnTo>
                    <a:lnTo>
                      <a:pt x="3615" y="1224"/>
                    </a:lnTo>
                    <a:moveTo>
                      <a:pt x="5736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2"/>
                    </a:lnTo>
                    <a:lnTo>
                      <a:pt x="5734" y="1257"/>
                    </a:lnTo>
                    <a:lnTo>
                      <a:pt x="5736" y="1257"/>
                    </a:lnTo>
                    <a:lnTo>
                      <a:pt x="5736" y="1210"/>
                    </a:lnTo>
                    <a:moveTo>
                      <a:pt x="5760" y="1129"/>
                    </a:moveTo>
                    <a:lnTo>
                      <a:pt x="5760" y="1129"/>
                    </a:lnTo>
                    <a:lnTo>
                      <a:pt x="5760" y="1132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32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9"/>
                    </a:lnTo>
                    <a:moveTo>
                      <a:pt x="2764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2"/>
                    </a:lnTo>
                    <a:lnTo>
                      <a:pt x="2764" y="1172"/>
                    </a:lnTo>
                    <a:lnTo>
                      <a:pt x="2764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1"/>
                    </a:lnTo>
                    <a:lnTo>
                      <a:pt x="5835" y="1061"/>
                    </a:lnTo>
                    <a:lnTo>
                      <a:pt x="5835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1" y="1046"/>
                    </a:lnTo>
                    <a:lnTo>
                      <a:pt x="2781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4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994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5" y="938"/>
                    </a:moveTo>
                    <a:lnTo>
                      <a:pt x="6242" y="938"/>
                    </a:lnTo>
                    <a:lnTo>
                      <a:pt x="6242" y="938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1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1"/>
                    </a:lnTo>
                    <a:lnTo>
                      <a:pt x="3005" y="911"/>
                    </a:lnTo>
                    <a:lnTo>
                      <a:pt x="3005" y="762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04"/>
                    </a:lnTo>
                    <a:lnTo>
                      <a:pt x="5036" y="904"/>
                    </a:lnTo>
                    <a:lnTo>
                      <a:pt x="5036" y="732"/>
                    </a:lnTo>
                    <a:moveTo>
                      <a:pt x="3043" y="658"/>
                    </a:moveTo>
                    <a:lnTo>
                      <a:pt x="3041" y="658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2" y="1385"/>
                    </a:lnTo>
                    <a:lnTo>
                      <a:pt x="2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63"/>
                    </a:lnTo>
                    <a:lnTo>
                      <a:pt x="5157" y="663"/>
                    </a:lnTo>
                    <a:lnTo>
                      <a:pt x="5157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89"/>
                    </a:lnTo>
                    <a:lnTo>
                      <a:pt x="3187" y="589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8" y="549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25"/>
                    </a:lnTo>
                    <a:lnTo>
                      <a:pt x="6930" y="1025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7"/>
                    </a:lnTo>
                    <a:lnTo>
                      <a:pt x="4086" y="518"/>
                    </a:lnTo>
                    <a:lnTo>
                      <a:pt x="4086" y="518"/>
                    </a:lnTo>
                    <a:lnTo>
                      <a:pt x="4098" y="504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4" y="563"/>
                    </a:lnTo>
                    <a:lnTo>
                      <a:pt x="3204" y="502"/>
                    </a:lnTo>
                    <a:moveTo>
                      <a:pt x="3941" y="455"/>
                    </a:moveTo>
                    <a:lnTo>
                      <a:pt x="3939" y="455"/>
                    </a:lnTo>
                    <a:lnTo>
                      <a:pt x="3939" y="455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59"/>
                    </a:lnTo>
                    <a:lnTo>
                      <a:pt x="3859" y="859"/>
                    </a:lnTo>
                    <a:lnTo>
                      <a:pt x="3859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6"/>
                    </a:moveTo>
                    <a:lnTo>
                      <a:pt x="3232" y="436"/>
                    </a:lnTo>
                    <a:lnTo>
                      <a:pt x="3232" y="436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4" y="471"/>
                    </a:lnTo>
                    <a:lnTo>
                      <a:pt x="3234" y="436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6" y="447"/>
                    </a:lnTo>
                    <a:lnTo>
                      <a:pt x="3946" y="391"/>
                    </a:lnTo>
                    <a:moveTo>
                      <a:pt x="1714" y="369"/>
                    </a:moveTo>
                    <a:lnTo>
                      <a:pt x="1712" y="369"/>
                    </a:lnTo>
                    <a:lnTo>
                      <a:pt x="1712" y="372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9"/>
                    </a:lnTo>
                    <a:moveTo>
                      <a:pt x="3956" y="329"/>
                    </a:moveTo>
                    <a:lnTo>
                      <a:pt x="3953" y="329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9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3"/>
                    </a:lnTo>
                    <a:lnTo>
                      <a:pt x="4552" y="443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9" name="Freeform 72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close/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close/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close/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close/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close/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close/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close/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close/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close/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close/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close/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close/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close/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close/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close/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close/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close/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close/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close/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AEA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0" name="Freeform 73"/>
              <p:cNvSpPr>
                <a:spLocks noEditPoints="1"/>
              </p:cNvSpPr>
              <p:nvPr/>
            </p:nvSpPr>
            <p:spPr bwMode="auto">
              <a:xfrm>
                <a:off x="75" y="1729"/>
                <a:ext cx="6931" cy="1385"/>
              </a:xfrm>
              <a:custGeom>
                <a:avLst/>
                <a:gdLst>
                  <a:gd name="T0" fmla="*/ 3613 w 6931"/>
                  <a:gd name="T1" fmla="*/ 1248 h 1385"/>
                  <a:gd name="T2" fmla="*/ 5734 w 6931"/>
                  <a:gd name="T3" fmla="*/ 1207 h 1385"/>
                  <a:gd name="T4" fmla="*/ 5737 w 6931"/>
                  <a:gd name="T5" fmla="*/ 1257 h 1385"/>
                  <a:gd name="T6" fmla="*/ 1592 w 6931"/>
                  <a:gd name="T7" fmla="*/ 1132 h 1385"/>
                  <a:gd name="T8" fmla="*/ 5758 w 6931"/>
                  <a:gd name="T9" fmla="*/ 1127 h 1385"/>
                  <a:gd name="T10" fmla="*/ 5760 w 6931"/>
                  <a:gd name="T11" fmla="*/ 1181 h 1385"/>
                  <a:gd name="T12" fmla="*/ 6226 w 6931"/>
                  <a:gd name="T13" fmla="*/ 1127 h 1385"/>
                  <a:gd name="T14" fmla="*/ 6228 w 6931"/>
                  <a:gd name="T15" fmla="*/ 1141 h 1385"/>
                  <a:gd name="T16" fmla="*/ 1369 w 6931"/>
                  <a:gd name="T17" fmla="*/ 1106 h 1385"/>
                  <a:gd name="T18" fmla="*/ 2764 w 6931"/>
                  <a:gd name="T19" fmla="*/ 1061 h 1385"/>
                  <a:gd name="T20" fmla="*/ 2764 w 6931"/>
                  <a:gd name="T21" fmla="*/ 1172 h 1385"/>
                  <a:gd name="T22" fmla="*/ 5833 w 6931"/>
                  <a:gd name="T23" fmla="*/ 1039 h 1385"/>
                  <a:gd name="T24" fmla="*/ 5836 w 6931"/>
                  <a:gd name="T25" fmla="*/ 1039 h 1385"/>
                  <a:gd name="T26" fmla="*/ 2781 w 6931"/>
                  <a:gd name="T27" fmla="*/ 1044 h 1385"/>
                  <a:gd name="T28" fmla="*/ 2783 w 6931"/>
                  <a:gd name="T29" fmla="*/ 1011 h 1385"/>
                  <a:gd name="T30" fmla="*/ 3672 w 6931"/>
                  <a:gd name="T31" fmla="*/ 1162 h 1385"/>
                  <a:gd name="T32" fmla="*/ 3675 w 6931"/>
                  <a:gd name="T33" fmla="*/ 992 h 1385"/>
                  <a:gd name="T34" fmla="*/ 5852 w 6931"/>
                  <a:gd name="T35" fmla="*/ 1023 h 1385"/>
                  <a:gd name="T36" fmla="*/ 5855 w 6931"/>
                  <a:gd name="T37" fmla="*/ 990 h 1385"/>
                  <a:gd name="T38" fmla="*/ 6243 w 6931"/>
                  <a:gd name="T39" fmla="*/ 1110 h 1385"/>
                  <a:gd name="T40" fmla="*/ 6245 w 6931"/>
                  <a:gd name="T41" fmla="*/ 935 h 1385"/>
                  <a:gd name="T42" fmla="*/ 6292 w 6931"/>
                  <a:gd name="T43" fmla="*/ 878 h 1385"/>
                  <a:gd name="T44" fmla="*/ 6295 w 6931"/>
                  <a:gd name="T45" fmla="*/ 885 h 1385"/>
                  <a:gd name="T46" fmla="*/ 6299 w 6931"/>
                  <a:gd name="T47" fmla="*/ 850 h 1385"/>
                  <a:gd name="T48" fmla="*/ 6302 w 6931"/>
                  <a:gd name="T49" fmla="*/ 869 h 1385"/>
                  <a:gd name="T50" fmla="*/ 3003 w 6931"/>
                  <a:gd name="T51" fmla="*/ 762 h 1385"/>
                  <a:gd name="T52" fmla="*/ 913 w 6931"/>
                  <a:gd name="T53" fmla="*/ 753 h 1385"/>
                  <a:gd name="T54" fmla="*/ 913 w 6931"/>
                  <a:gd name="T55" fmla="*/ 760 h 1385"/>
                  <a:gd name="T56" fmla="*/ 5034 w 6931"/>
                  <a:gd name="T57" fmla="*/ 732 h 1385"/>
                  <a:gd name="T58" fmla="*/ 3043 w 6931"/>
                  <a:gd name="T59" fmla="*/ 656 h 1385"/>
                  <a:gd name="T60" fmla="*/ 3041 w 6931"/>
                  <a:gd name="T61" fmla="*/ 724 h 1385"/>
                  <a:gd name="T62" fmla="*/ 0 w 6931"/>
                  <a:gd name="T63" fmla="*/ 616 h 1385"/>
                  <a:gd name="T64" fmla="*/ 0 w 6931"/>
                  <a:gd name="T65" fmla="*/ 1385 h 1385"/>
                  <a:gd name="T66" fmla="*/ 5155 w 6931"/>
                  <a:gd name="T67" fmla="*/ 611 h 1385"/>
                  <a:gd name="T68" fmla="*/ 3188 w 6931"/>
                  <a:gd name="T69" fmla="*/ 580 h 1385"/>
                  <a:gd name="T70" fmla="*/ 3185 w 6931"/>
                  <a:gd name="T71" fmla="*/ 589 h 1385"/>
                  <a:gd name="T72" fmla="*/ 206 w 6931"/>
                  <a:gd name="T73" fmla="*/ 547 h 1385"/>
                  <a:gd name="T74" fmla="*/ 206 w 6931"/>
                  <a:gd name="T75" fmla="*/ 547 h 1385"/>
                  <a:gd name="T76" fmla="*/ 6928 w 6931"/>
                  <a:gd name="T77" fmla="*/ 1025 h 1385"/>
                  <a:gd name="T78" fmla="*/ 4098 w 6931"/>
                  <a:gd name="T79" fmla="*/ 502 h 1385"/>
                  <a:gd name="T80" fmla="*/ 4098 w 6931"/>
                  <a:gd name="T81" fmla="*/ 502 h 1385"/>
                  <a:gd name="T82" fmla="*/ 3202 w 6931"/>
                  <a:gd name="T83" fmla="*/ 502 h 1385"/>
                  <a:gd name="T84" fmla="*/ 3204 w 6931"/>
                  <a:gd name="T85" fmla="*/ 561 h 1385"/>
                  <a:gd name="T86" fmla="*/ 3939 w 6931"/>
                  <a:gd name="T87" fmla="*/ 452 h 1385"/>
                  <a:gd name="T88" fmla="*/ 3857 w 6931"/>
                  <a:gd name="T89" fmla="*/ 859 h 1385"/>
                  <a:gd name="T90" fmla="*/ 3942 w 6931"/>
                  <a:gd name="T91" fmla="*/ 452 h 1385"/>
                  <a:gd name="T92" fmla="*/ 3232 w 6931"/>
                  <a:gd name="T93" fmla="*/ 471 h 1385"/>
                  <a:gd name="T94" fmla="*/ 3232 w 6931"/>
                  <a:gd name="T95" fmla="*/ 433 h 1385"/>
                  <a:gd name="T96" fmla="*/ 3944 w 6931"/>
                  <a:gd name="T97" fmla="*/ 391 h 1385"/>
                  <a:gd name="T98" fmla="*/ 3947 w 6931"/>
                  <a:gd name="T99" fmla="*/ 445 h 1385"/>
                  <a:gd name="T100" fmla="*/ 1712 w 6931"/>
                  <a:gd name="T101" fmla="*/ 369 h 1385"/>
                  <a:gd name="T102" fmla="*/ 3956 w 6931"/>
                  <a:gd name="T103" fmla="*/ 327 h 1385"/>
                  <a:gd name="T104" fmla="*/ 3954 w 6931"/>
                  <a:gd name="T105" fmla="*/ 381 h 1385"/>
                  <a:gd name="T106" fmla="*/ 4609 w 6931"/>
                  <a:gd name="T107" fmla="*/ 230 h 1385"/>
                  <a:gd name="T108" fmla="*/ 4550 w 6931"/>
                  <a:gd name="T109" fmla="*/ 440 h 1385"/>
                  <a:gd name="T110" fmla="*/ 4755 w 6931"/>
                  <a:gd name="T111" fmla="*/ 0 h 1385"/>
                  <a:gd name="T112" fmla="*/ 4758 w 6931"/>
                  <a:gd name="T113" fmla="*/ 121 h 1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31" h="1385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48"/>
                    </a:lnTo>
                    <a:lnTo>
                      <a:pt x="3616" y="1248"/>
                    </a:lnTo>
                    <a:lnTo>
                      <a:pt x="3616" y="1222"/>
                    </a:lnTo>
                    <a:moveTo>
                      <a:pt x="5737" y="1207"/>
                    </a:moveTo>
                    <a:lnTo>
                      <a:pt x="5734" y="1207"/>
                    </a:lnTo>
                    <a:lnTo>
                      <a:pt x="5734" y="1207"/>
                    </a:lnTo>
                    <a:lnTo>
                      <a:pt x="5734" y="1210"/>
                    </a:lnTo>
                    <a:lnTo>
                      <a:pt x="5734" y="1257"/>
                    </a:lnTo>
                    <a:lnTo>
                      <a:pt x="5737" y="1257"/>
                    </a:lnTo>
                    <a:lnTo>
                      <a:pt x="5737" y="1207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2"/>
                    </a:lnTo>
                    <a:lnTo>
                      <a:pt x="1594" y="1132"/>
                    </a:lnTo>
                    <a:lnTo>
                      <a:pt x="1594" y="1132"/>
                    </a:lnTo>
                    <a:moveTo>
                      <a:pt x="5760" y="1127"/>
                    </a:moveTo>
                    <a:lnTo>
                      <a:pt x="5758" y="1127"/>
                    </a:lnTo>
                    <a:lnTo>
                      <a:pt x="5758" y="1129"/>
                    </a:lnTo>
                    <a:lnTo>
                      <a:pt x="5758" y="1184"/>
                    </a:lnTo>
                    <a:lnTo>
                      <a:pt x="5760" y="1184"/>
                    </a:lnTo>
                    <a:lnTo>
                      <a:pt x="5760" y="1181"/>
                    </a:lnTo>
                    <a:lnTo>
                      <a:pt x="5760" y="1181"/>
                    </a:lnTo>
                    <a:lnTo>
                      <a:pt x="5760" y="1127"/>
                    </a:lnTo>
                    <a:moveTo>
                      <a:pt x="6228" y="1127"/>
                    </a:moveTo>
                    <a:lnTo>
                      <a:pt x="6226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41"/>
                    </a:lnTo>
                    <a:lnTo>
                      <a:pt x="6228" y="1141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2" y="1061"/>
                    </a:lnTo>
                    <a:lnTo>
                      <a:pt x="2762" y="1063"/>
                    </a:lnTo>
                    <a:lnTo>
                      <a:pt x="2762" y="1172"/>
                    </a:lnTo>
                    <a:lnTo>
                      <a:pt x="2764" y="1172"/>
                    </a:lnTo>
                    <a:lnTo>
                      <a:pt x="2764" y="1061"/>
                    </a:lnTo>
                    <a:moveTo>
                      <a:pt x="5836" y="1039"/>
                    </a:moveTo>
                    <a:lnTo>
                      <a:pt x="5836" y="1039"/>
                    </a:lnTo>
                    <a:lnTo>
                      <a:pt x="5833" y="1039"/>
                    </a:lnTo>
                    <a:lnTo>
                      <a:pt x="5833" y="1042"/>
                    </a:lnTo>
                    <a:lnTo>
                      <a:pt x="5833" y="1061"/>
                    </a:lnTo>
                    <a:lnTo>
                      <a:pt x="5836" y="1061"/>
                    </a:lnTo>
                    <a:lnTo>
                      <a:pt x="5836" y="1039"/>
                    </a:lnTo>
                    <a:moveTo>
                      <a:pt x="2783" y="1011"/>
                    </a:moveTo>
                    <a:lnTo>
                      <a:pt x="2781" y="1011"/>
                    </a:lnTo>
                    <a:lnTo>
                      <a:pt x="2781" y="1013"/>
                    </a:lnTo>
                    <a:lnTo>
                      <a:pt x="2781" y="1044"/>
                    </a:lnTo>
                    <a:lnTo>
                      <a:pt x="2781" y="1044"/>
                    </a:lnTo>
                    <a:lnTo>
                      <a:pt x="2781" y="1042"/>
                    </a:lnTo>
                    <a:lnTo>
                      <a:pt x="2783" y="1042"/>
                    </a:lnTo>
                    <a:lnTo>
                      <a:pt x="2783" y="1011"/>
                    </a:lnTo>
                    <a:moveTo>
                      <a:pt x="3675" y="992"/>
                    </a:moveTo>
                    <a:lnTo>
                      <a:pt x="3672" y="992"/>
                    </a:lnTo>
                    <a:lnTo>
                      <a:pt x="3672" y="994"/>
                    </a:lnTo>
                    <a:lnTo>
                      <a:pt x="3672" y="1162"/>
                    </a:lnTo>
                    <a:lnTo>
                      <a:pt x="3675" y="1162"/>
                    </a:lnTo>
                    <a:lnTo>
                      <a:pt x="3675" y="1160"/>
                    </a:lnTo>
                    <a:lnTo>
                      <a:pt x="3675" y="1160"/>
                    </a:lnTo>
                    <a:lnTo>
                      <a:pt x="3675" y="992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5"/>
                    </a:moveTo>
                    <a:lnTo>
                      <a:pt x="6243" y="935"/>
                    </a:lnTo>
                    <a:lnTo>
                      <a:pt x="6243" y="938"/>
                    </a:lnTo>
                    <a:lnTo>
                      <a:pt x="6243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5" y="1108"/>
                    </a:lnTo>
                    <a:lnTo>
                      <a:pt x="6245" y="935"/>
                    </a:lnTo>
                    <a:moveTo>
                      <a:pt x="6295" y="878"/>
                    </a:move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78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2" y="885"/>
                    </a:lnTo>
                    <a:lnTo>
                      <a:pt x="6295" y="885"/>
                    </a:lnTo>
                    <a:lnTo>
                      <a:pt x="6295" y="878"/>
                    </a:lnTo>
                    <a:moveTo>
                      <a:pt x="6302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69"/>
                    </a:lnTo>
                    <a:lnTo>
                      <a:pt x="6302" y="850"/>
                    </a:lnTo>
                    <a:moveTo>
                      <a:pt x="3006" y="762"/>
                    </a:moveTo>
                    <a:lnTo>
                      <a:pt x="3003" y="762"/>
                    </a:lnTo>
                    <a:lnTo>
                      <a:pt x="3003" y="762"/>
                    </a:lnTo>
                    <a:lnTo>
                      <a:pt x="3003" y="911"/>
                    </a:lnTo>
                    <a:lnTo>
                      <a:pt x="3006" y="911"/>
                    </a:lnTo>
                    <a:lnTo>
                      <a:pt x="3006" y="762"/>
                    </a:lnTo>
                    <a:moveTo>
                      <a:pt x="913" y="753"/>
                    </a:moveTo>
                    <a:lnTo>
                      <a:pt x="911" y="753"/>
                    </a:lnTo>
                    <a:lnTo>
                      <a:pt x="911" y="753"/>
                    </a:lnTo>
                    <a:lnTo>
                      <a:pt x="911" y="760"/>
                    </a:lnTo>
                    <a:lnTo>
                      <a:pt x="913" y="760"/>
                    </a:lnTo>
                    <a:lnTo>
                      <a:pt x="913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2"/>
                    </a:lnTo>
                    <a:lnTo>
                      <a:pt x="5034" y="904"/>
                    </a:lnTo>
                    <a:lnTo>
                      <a:pt x="5037" y="904"/>
                    </a:lnTo>
                    <a:lnTo>
                      <a:pt x="5037" y="732"/>
                    </a:lnTo>
                    <a:moveTo>
                      <a:pt x="3043" y="656"/>
                    </a:moveTo>
                    <a:lnTo>
                      <a:pt x="3041" y="656"/>
                    </a:lnTo>
                    <a:lnTo>
                      <a:pt x="3041" y="658"/>
                    </a:lnTo>
                    <a:lnTo>
                      <a:pt x="3041" y="724"/>
                    </a:lnTo>
                    <a:lnTo>
                      <a:pt x="3041" y="724"/>
                    </a:lnTo>
                    <a:lnTo>
                      <a:pt x="3041" y="722"/>
                    </a:lnTo>
                    <a:lnTo>
                      <a:pt x="3043" y="722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85"/>
                    </a:lnTo>
                    <a:lnTo>
                      <a:pt x="0" y="1385"/>
                    </a:lnTo>
                    <a:lnTo>
                      <a:pt x="0" y="616"/>
                    </a:lnTo>
                    <a:moveTo>
                      <a:pt x="5157" y="608"/>
                    </a:moveTo>
                    <a:lnTo>
                      <a:pt x="5155" y="608"/>
                    </a:lnTo>
                    <a:lnTo>
                      <a:pt x="5155" y="611"/>
                    </a:lnTo>
                    <a:lnTo>
                      <a:pt x="5155" y="663"/>
                    </a:lnTo>
                    <a:lnTo>
                      <a:pt x="5157" y="663"/>
                    </a:lnTo>
                    <a:lnTo>
                      <a:pt x="5157" y="608"/>
                    </a:lnTo>
                    <a:moveTo>
                      <a:pt x="3188" y="580"/>
                    </a:moveTo>
                    <a:lnTo>
                      <a:pt x="3185" y="580"/>
                    </a:lnTo>
                    <a:lnTo>
                      <a:pt x="3185" y="580"/>
                    </a:lnTo>
                    <a:lnTo>
                      <a:pt x="3185" y="582"/>
                    </a:lnTo>
                    <a:lnTo>
                      <a:pt x="3185" y="589"/>
                    </a:lnTo>
                    <a:lnTo>
                      <a:pt x="3188" y="589"/>
                    </a:lnTo>
                    <a:lnTo>
                      <a:pt x="3188" y="580"/>
                    </a:lnTo>
                    <a:moveTo>
                      <a:pt x="206" y="547"/>
                    </a:moveTo>
                    <a:lnTo>
                      <a:pt x="206" y="547"/>
                    </a:ln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49"/>
                    </a:lnTo>
                    <a:lnTo>
                      <a:pt x="206" y="547"/>
                    </a:lnTo>
                    <a:moveTo>
                      <a:pt x="6931" y="507"/>
                    </a:moveTo>
                    <a:lnTo>
                      <a:pt x="6928" y="507"/>
                    </a:lnTo>
                    <a:lnTo>
                      <a:pt x="6928" y="509"/>
                    </a:lnTo>
                    <a:lnTo>
                      <a:pt x="6928" y="1025"/>
                    </a:lnTo>
                    <a:lnTo>
                      <a:pt x="6931" y="1025"/>
                    </a:lnTo>
                    <a:lnTo>
                      <a:pt x="6931" y="507"/>
                    </a:lnTo>
                    <a:moveTo>
                      <a:pt x="4098" y="502"/>
                    </a:moveTo>
                    <a:lnTo>
                      <a:pt x="4098" y="502"/>
                    </a:lnTo>
                    <a:lnTo>
                      <a:pt x="4096" y="504"/>
                    </a:lnTo>
                    <a:lnTo>
                      <a:pt x="4084" y="518"/>
                    </a:lnTo>
                    <a:lnTo>
                      <a:pt x="4086" y="521"/>
                    </a:lnTo>
                    <a:lnTo>
                      <a:pt x="4098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2" y="500"/>
                    </a:lnTo>
                    <a:lnTo>
                      <a:pt x="3202" y="502"/>
                    </a:lnTo>
                    <a:lnTo>
                      <a:pt x="3202" y="563"/>
                    </a:lnTo>
                    <a:lnTo>
                      <a:pt x="3204" y="563"/>
                    </a:lnTo>
                    <a:lnTo>
                      <a:pt x="3204" y="561"/>
                    </a:lnTo>
                    <a:lnTo>
                      <a:pt x="3204" y="561"/>
                    </a:lnTo>
                    <a:lnTo>
                      <a:pt x="3204" y="500"/>
                    </a:lnTo>
                    <a:moveTo>
                      <a:pt x="3942" y="452"/>
                    </a:moveTo>
                    <a:lnTo>
                      <a:pt x="3939" y="452"/>
                    </a:lnTo>
                    <a:lnTo>
                      <a:pt x="3939" y="452"/>
                    </a:lnTo>
                    <a:lnTo>
                      <a:pt x="3939" y="455"/>
                    </a:lnTo>
                    <a:lnTo>
                      <a:pt x="3939" y="490"/>
                    </a:lnTo>
                    <a:lnTo>
                      <a:pt x="3857" y="642"/>
                    </a:lnTo>
                    <a:lnTo>
                      <a:pt x="3857" y="859"/>
                    </a:lnTo>
                    <a:lnTo>
                      <a:pt x="3859" y="859"/>
                    </a:lnTo>
                    <a:lnTo>
                      <a:pt x="3859" y="639"/>
                    </a:lnTo>
                    <a:lnTo>
                      <a:pt x="3942" y="488"/>
                    </a:lnTo>
                    <a:lnTo>
                      <a:pt x="3942" y="452"/>
                    </a:lnTo>
                    <a:moveTo>
                      <a:pt x="3232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71"/>
                    </a:lnTo>
                    <a:lnTo>
                      <a:pt x="3232" y="433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7"/>
                    </a:lnTo>
                    <a:lnTo>
                      <a:pt x="3947" y="447"/>
                    </a:lnTo>
                    <a:lnTo>
                      <a:pt x="3947" y="445"/>
                    </a:lnTo>
                    <a:lnTo>
                      <a:pt x="3947" y="445"/>
                    </a:lnTo>
                    <a:lnTo>
                      <a:pt x="3947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69"/>
                    </a:lnTo>
                    <a:lnTo>
                      <a:pt x="1712" y="1063"/>
                    </a:lnTo>
                    <a:lnTo>
                      <a:pt x="1714" y="1063"/>
                    </a:lnTo>
                    <a:lnTo>
                      <a:pt x="1714" y="367"/>
                    </a:lnTo>
                    <a:moveTo>
                      <a:pt x="3956" y="327"/>
                    </a:moveTo>
                    <a:lnTo>
                      <a:pt x="3954" y="327"/>
                    </a:lnTo>
                    <a:lnTo>
                      <a:pt x="3954" y="329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4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9" y="230"/>
                    </a:moveTo>
                    <a:lnTo>
                      <a:pt x="4606" y="230"/>
                    </a:lnTo>
                    <a:lnTo>
                      <a:pt x="4606" y="232"/>
                    </a:lnTo>
                    <a:lnTo>
                      <a:pt x="4550" y="443"/>
                    </a:lnTo>
                    <a:lnTo>
                      <a:pt x="4550" y="440"/>
                    </a:lnTo>
                    <a:lnTo>
                      <a:pt x="4609" y="230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3"/>
                    </a:lnTo>
                    <a:lnTo>
                      <a:pt x="4758" y="123"/>
                    </a:lnTo>
                    <a:lnTo>
                      <a:pt x="4758" y="121"/>
                    </a:lnTo>
                    <a:lnTo>
                      <a:pt x="4758" y="121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1" name="Freeform 74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close/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close/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close/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close/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close/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close/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close/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close/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close/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close/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close/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close/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close/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close/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close/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close/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close/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close/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close/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close/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close/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close/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close/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2" name="Freeform 75"/>
              <p:cNvSpPr>
                <a:spLocks noEditPoints="1"/>
              </p:cNvSpPr>
              <p:nvPr/>
            </p:nvSpPr>
            <p:spPr bwMode="auto">
              <a:xfrm>
                <a:off x="75" y="1727"/>
                <a:ext cx="6933" cy="1387"/>
              </a:xfrm>
              <a:custGeom>
                <a:avLst/>
                <a:gdLst>
                  <a:gd name="T0" fmla="*/ 3616 w 6933"/>
                  <a:gd name="T1" fmla="*/ 1250 h 1387"/>
                  <a:gd name="T2" fmla="*/ 5737 w 6933"/>
                  <a:gd name="T3" fmla="*/ 1207 h 1387"/>
                  <a:gd name="T4" fmla="*/ 5737 w 6933"/>
                  <a:gd name="T5" fmla="*/ 1259 h 1387"/>
                  <a:gd name="T6" fmla="*/ 1594 w 6933"/>
                  <a:gd name="T7" fmla="*/ 1134 h 1387"/>
                  <a:gd name="T8" fmla="*/ 1596 w 6933"/>
                  <a:gd name="T9" fmla="*/ 1131 h 1387"/>
                  <a:gd name="T10" fmla="*/ 5760 w 6933"/>
                  <a:gd name="T11" fmla="*/ 1129 h 1387"/>
                  <a:gd name="T12" fmla="*/ 5763 w 6933"/>
                  <a:gd name="T13" fmla="*/ 1181 h 1387"/>
                  <a:gd name="T14" fmla="*/ 6228 w 6933"/>
                  <a:gd name="T15" fmla="*/ 1127 h 1387"/>
                  <a:gd name="T16" fmla="*/ 6228 w 6933"/>
                  <a:gd name="T17" fmla="*/ 1127 h 1387"/>
                  <a:gd name="T18" fmla="*/ 1369 w 6933"/>
                  <a:gd name="T19" fmla="*/ 1108 h 1387"/>
                  <a:gd name="T20" fmla="*/ 1369 w 6933"/>
                  <a:gd name="T21" fmla="*/ 1082 h 1387"/>
                  <a:gd name="T22" fmla="*/ 2764 w 6933"/>
                  <a:gd name="T23" fmla="*/ 1063 h 1387"/>
                  <a:gd name="T24" fmla="*/ 5838 w 6933"/>
                  <a:gd name="T25" fmla="*/ 1041 h 1387"/>
                  <a:gd name="T26" fmla="*/ 5836 w 6933"/>
                  <a:gd name="T27" fmla="*/ 1063 h 1387"/>
                  <a:gd name="T28" fmla="*/ 2783 w 6933"/>
                  <a:gd name="T29" fmla="*/ 1011 h 1387"/>
                  <a:gd name="T30" fmla="*/ 2783 w 6933"/>
                  <a:gd name="T31" fmla="*/ 1044 h 1387"/>
                  <a:gd name="T32" fmla="*/ 3675 w 6933"/>
                  <a:gd name="T33" fmla="*/ 992 h 1387"/>
                  <a:gd name="T34" fmla="*/ 3677 w 6933"/>
                  <a:gd name="T35" fmla="*/ 1160 h 1387"/>
                  <a:gd name="T36" fmla="*/ 5855 w 6933"/>
                  <a:gd name="T37" fmla="*/ 989 h 1387"/>
                  <a:gd name="T38" fmla="*/ 5855 w 6933"/>
                  <a:gd name="T39" fmla="*/ 1022 h 1387"/>
                  <a:gd name="T40" fmla="*/ 6245 w 6933"/>
                  <a:gd name="T41" fmla="*/ 935 h 1387"/>
                  <a:gd name="T42" fmla="*/ 6245 w 6933"/>
                  <a:gd name="T43" fmla="*/ 1108 h 1387"/>
                  <a:gd name="T44" fmla="*/ 3750 w 6933"/>
                  <a:gd name="T45" fmla="*/ 928 h 1387"/>
                  <a:gd name="T46" fmla="*/ 6297 w 6933"/>
                  <a:gd name="T47" fmla="*/ 878 h 1387"/>
                  <a:gd name="T48" fmla="*/ 6295 w 6933"/>
                  <a:gd name="T49" fmla="*/ 887 h 1387"/>
                  <a:gd name="T50" fmla="*/ 6297 w 6933"/>
                  <a:gd name="T51" fmla="*/ 878 h 1387"/>
                  <a:gd name="T52" fmla="*/ 6302 w 6933"/>
                  <a:gd name="T53" fmla="*/ 871 h 1387"/>
                  <a:gd name="T54" fmla="*/ 6304 w 6933"/>
                  <a:gd name="T55" fmla="*/ 850 h 1387"/>
                  <a:gd name="T56" fmla="*/ 3006 w 6933"/>
                  <a:gd name="T57" fmla="*/ 913 h 1387"/>
                  <a:gd name="T58" fmla="*/ 913 w 6933"/>
                  <a:gd name="T59" fmla="*/ 752 h 1387"/>
                  <a:gd name="T60" fmla="*/ 915 w 6933"/>
                  <a:gd name="T61" fmla="*/ 752 h 1387"/>
                  <a:gd name="T62" fmla="*/ 5037 w 6933"/>
                  <a:gd name="T63" fmla="*/ 906 h 1387"/>
                  <a:gd name="T64" fmla="*/ 3043 w 6933"/>
                  <a:gd name="T65" fmla="*/ 655 h 1387"/>
                  <a:gd name="T66" fmla="*/ 3043 w 6933"/>
                  <a:gd name="T67" fmla="*/ 722 h 1387"/>
                  <a:gd name="T68" fmla="*/ 0 w 6933"/>
                  <a:gd name="T69" fmla="*/ 615 h 1387"/>
                  <a:gd name="T70" fmla="*/ 3 w 6933"/>
                  <a:gd name="T71" fmla="*/ 615 h 1387"/>
                  <a:gd name="T72" fmla="*/ 5157 w 6933"/>
                  <a:gd name="T73" fmla="*/ 665 h 1387"/>
                  <a:gd name="T74" fmla="*/ 3188 w 6933"/>
                  <a:gd name="T75" fmla="*/ 582 h 1387"/>
                  <a:gd name="T76" fmla="*/ 3190 w 6933"/>
                  <a:gd name="T77" fmla="*/ 591 h 1387"/>
                  <a:gd name="T78" fmla="*/ 206 w 6933"/>
                  <a:gd name="T79" fmla="*/ 549 h 1387"/>
                  <a:gd name="T80" fmla="*/ 6933 w 6933"/>
                  <a:gd name="T81" fmla="*/ 509 h 1387"/>
                  <a:gd name="T82" fmla="*/ 6933 w 6933"/>
                  <a:gd name="T83" fmla="*/ 1027 h 1387"/>
                  <a:gd name="T84" fmla="*/ 4098 w 6933"/>
                  <a:gd name="T85" fmla="*/ 504 h 1387"/>
                  <a:gd name="T86" fmla="*/ 3206 w 6933"/>
                  <a:gd name="T87" fmla="*/ 499 h 1387"/>
                  <a:gd name="T88" fmla="*/ 3204 w 6933"/>
                  <a:gd name="T89" fmla="*/ 563 h 1387"/>
                  <a:gd name="T90" fmla="*/ 3206 w 6933"/>
                  <a:gd name="T91" fmla="*/ 499 h 1387"/>
                  <a:gd name="T92" fmla="*/ 3942 w 6933"/>
                  <a:gd name="T93" fmla="*/ 454 h 1387"/>
                  <a:gd name="T94" fmla="*/ 3861 w 6933"/>
                  <a:gd name="T95" fmla="*/ 861 h 1387"/>
                  <a:gd name="T96" fmla="*/ 3235 w 6933"/>
                  <a:gd name="T97" fmla="*/ 433 h 1387"/>
                  <a:gd name="T98" fmla="*/ 3235 w 6933"/>
                  <a:gd name="T99" fmla="*/ 473 h 1387"/>
                  <a:gd name="T100" fmla="*/ 3949 w 6933"/>
                  <a:gd name="T101" fmla="*/ 390 h 1387"/>
                  <a:gd name="T102" fmla="*/ 3947 w 6933"/>
                  <a:gd name="T103" fmla="*/ 447 h 1387"/>
                  <a:gd name="T104" fmla="*/ 3949 w 6933"/>
                  <a:gd name="T105" fmla="*/ 390 h 1387"/>
                  <a:gd name="T106" fmla="*/ 1714 w 6933"/>
                  <a:gd name="T107" fmla="*/ 1065 h 1387"/>
                  <a:gd name="T108" fmla="*/ 3956 w 6933"/>
                  <a:gd name="T109" fmla="*/ 326 h 1387"/>
                  <a:gd name="T110" fmla="*/ 3956 w 6933"/>
                  <a:gd name="T111" fmla="*/ 381 h 1387"/>
                  <a:gd name="T112" fmla="*/ 4609 w 6933"/>
                  <a:gd name="T113" fmla="*/ 232 h 1387"/>
                  <a:gd name="T114" fmla="*/ 4609 w 6933"/>
                  <a:gd name="T115" fmla="*/ 232 h 1387"/>
                  <a:gd name="T116" fmla="*/ 4758 w 6933"/>
                  <a:gd name="T117" fmla="*/ 123 h 1387"/>
                  <a:gd name="T118" fmla="*/ 4760 w 6933"/>
                  <a:gd name="T119" fmla="*/ 0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3" h="1387">
                    <a:moveTo>
                      <a:pt x="3618" y="1221"/>
                    </a:moveTo>
                    <a:lnTo>
                      <a:pt x="3616" y="1221"/>
                    </a:lnTo>
                    <a:lnTo>
                      <a:pt x="3616" y="1224"/>
                    </a:lnTo>
                    <a:lnTo>
                      <a:pt x="3616" y="1250"/>
                    </a:lnTo>
                    <a:lnTo>
                      <a:pt x="3618" y="1250"/>
                    </a:lnTo>
                    <a:lnTo>
                      <a:pt x="3618" y="1221"/>
                    </a:lnTo>
                    <a:moveTo>
                      <a:pt x="5737" y="1207"/>
                    </a:moveTo>
                    <a:lnTo>
                      <a:pt x="5737" y="1207"/>
                    </a:lnTo>
                    <a:lnTo>
                      <a:pt x="5737" y="1207"/>
                    </a:lnTo>
                    <a:lnTo>
                      <a:pt x="5737" y="1209"/>
                    </a:lnTo>
                    <a:lnTo>
                      <a:pt x="5737" y="1259"/>
                    </a:lnTo>
                    <a:lnTo>
                      <a:pt x="5737" y="1259"/>
                    </a:lnTo>
                    <a:lnTo>
                      <a:pt x="5737" y="1207"/>
                    </a:lnTo>
                    <a:moveTo>
                      <a:pt x="1596" y="1131"/>
                    </a:moveTo>
                    <a:lnTo>
                      <a:pt x="1594" y="1131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6" y="1131"/>
                    </a:lnTo>
                    <a:lnTo>
                      <a:pt x="1596" y="1131"/>
                    </a:lnTo>
                    <a:moveTo>
                      <a:pt x="5763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3"/>
                    </a:lnTo>
                    <a:lnTo>
                      <a:pt x="5763" y="1183"/>
                    </a:lnTo>
                    <a:lnTo>
                      <a:pt x="5763" y="1181"/>
                    </a:lnTo>
                    <a:lnTo>
                      <a:pt x="5763" y="1181"/>
                    </a:lnTo>
                    <a:lnTo>
                      <a:pt x="5763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8" y="1127"/>
                    </a:lnTo>
                    <a:lnTo>
                      <a:pt x="6228" y="1129"/>
                    </a:lnTo>
                    <a:lnTo>
                      <a:pt x="6228" y="1143"/>
                    </a:lnTo>
                    <a:lnTo>
                      <a:pt x="6228" y="1143"/>
                    </a:lnTo>
                    <a:lnTo>
                      <a:pt x="6228" y="1127"/>
                    </a:lnTo>
                    <a:moveTo>
                      <a:pt x="1369" y="1082"/>
                    </a:moveTo>
                    <a:lnTo>
                      <a:pt x="1369" y="1082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5"/>
                    </a:lnTo>
                    <a:lnTo>
                      <a:pt x="1369" y="1105"/>
                    </a:lnTo>
                    <a:lnTo>
                      <a:pt x="1369" y="1082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74"/>
                    </a:lnTo>
                    <a:lnTo>
                      <a:pt x="2767" y="1174"/>
                    </a:lnTo>
                    <a:lnTo>
                      <a:pt x="2767" y="1063"/>
                    </a:lnTo>
                    <a:moveTo>
                      <a:pt x="5838" y="1041"/>
                    </a:moveTo>
                    <a:lnTo>
                      <a:pt x="5838" y="1041"/>
                    </a:ln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63"/>
                    </a:lnTo>
                    <a:lnTo>
                      <a:pt x="5838" y="1063"/>
                    </a:lnTo>
                    <a:lnTo>
                      <a:pt x="5838" y="1041"/>
                    </a:lnTo>
                    <a:moveTo>
                      <a:pt x="2783" y="1011"/>
                    </a:moveTo>
                    <a:lnTo>
                      <a:pt x="2783" y="1011"/>
                    </a:lnTo>
                    <a:lnTo>
                      <a:pt x="2783" y="1013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2"/>
                    </a:moveTo>
                    <a:lnTo>
                      <a:pt x="3675" y="992"/>
                    </a:lnTo>
                    <a:lnTo>
                      <a:pt x="3675" y="994"/>
                    </a:lnTo>
                    <a:lnTo>
                      <a:pt x="3675" y="1162"/>
                    </a:lnTo>
                    <a:lnTo>
                      <a:pt x="3677" y="1162"/>
                    </a:lnTo>
                    <a:lnTo>
                      <a:pt x="3677" y="1160"/>
                    </a:lnTo>
                    <a:lnTo>
                      <a:pt x="3677" y="1160"/>
                    </a:lnTo>
                    <a:lnTo>
                      <a:pt x="3677" y="992"/>
                    </a:lnTo>
                    <a:moveTo>
                      <a:pt x="5855" y="989"/>
                    </a:moveTo>
                    <a:lnTo>
                      <a:pt x="5855" y="989"/>
                    </a:lnTo>
                    <a:lnTo>
                      <a:pt x="5855" y="992"/>
                    </a:lnTo>
                    <a:lnTo>
                      <a:pt x="5855" y="1025"/>
                    </a:lnTo>
                    <a:lnTo>
                      <a:pt x="5855" y="1025"/>
                    </a:lnTo>
                    <a:lnTo>
                      <a:pt x="5855" y="1022"/>
                    </a:lnTo>
                    <a:lnTo>
                      <a:pt x="5855" y="1022"/>
                    </a:lnTo>
                    <a:lnTo>
                      <a:pt x="5855" y="989"/>
                    </a:lnTo>
                    <a:moveTo>
                      <a:pt x="6247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3" y="928"/>
                    </a:moveTo>
                    <a:lnTo>
                      <a:pt x="3750" y="928"/>
                    </a:lnTo>
                    <a:lnTo>
                      <a:pt x="3750" y="928"/>
                    </a:lnTo>
                    <a:lnTo>
                      <a:pt x="3753" y="928"/>
                    </a:lnTo>
                    <a:lnTo>
                      <a:pt x="3753" y="928"/>
                    </a:lnTo>
                    <a:moveTo>
                      <a:pt x="6297" y="878"/>
                    </a:moveTo>
                    <a:lnTo>
                      <a:pt x="6295" y="878"/>
                    </a:lnTo>
                    <a:lnTo>
                      <a:pt x="6295" y="878"/>
                    </a:lnTo>
                    <a:lnTo>
                      <a:pt x="6295" y="880"/>
                    </a:lnTo>
                    <a:lnTo>
                      <a:pt x="6295" y="887"/>
                    </a:lnTo>
                    <a:lnTo>
                      <a:pt x="6295" y="887"/>
                    </a:lnTo>
                    <a:lnTo>
                      <a:pt x="6295" y="885"/>
                    </a:lnTo>
                    <a:lnTo>
                      <a:pt x="6297" y="885"/>
                    </a:lnTo>
                    <a:lnTo>
                      <a:pt x="6297" y="878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2"/>
                    </a:lnTo>
                    <a:lnTo>
                      <a:pt x="6302" y="871"/>
                    </a:lnTo>
                    <a:lnTo>
                      <a:pt x="6304" y="871"/>
                    </a:lnTo>
                    <a:lnTo>
                      <a:pt x="6304" y="868"/>
                    </a:lnTo>
                    <a:lnTo>
                      <a:pt x="6304" y="868"/>
                    </a:lnTo>
                    <a:lnTo>
                      <a:pt x="6304" y="850"/>
                    </a:lnTo>
                    <a:moveTo>
                      <a:pt x="3008" y="762"/>
                    </a:moveTo>
                    <a:lnTo>
                      <a:pt x="3006" y="762"/>
                    </a:lnTo>
                    <a:lnTo>
                      <a:pt x="3006" y="764"/>
                    </a:lnTo>
                    <a:lnTo>
                      <a:pt x="3006" y="913"/>
                    </a:lnTo>
                    <a:lnTo>
                      <a:pt x="3008" y="913"/>
                    </a:lnTo>
                    <a:lnTo>
                      <a:pt x="3008" y="762"/>
                    </a:lnTo>
                    <a:moveTo>
                      <a:pt x="915" y="752"/>
                    </a:moveTo>
                    <a:lnTo>
                      <a:pt x="913" y="752"/>
                    </a:lnTo>
                    <a:lnTo>
                      <a:pt x="913" y="755"/>
                    </a:lnTo>
                    <a:lnTo>
                      <a:pt x="913" y="762"/>
                    </a:lnTo>
                    <a:lnTo>
                      <a:pt x="915" y="762"/>
                    </a:lnTo>
                    <a:lnTo>
                      <a:pt x="915" y="752"/>
                    </a:lnTo>
                    <a:moveTo>
                      <a:pt x="5039" y="731"/>
                    </a:moveTo>
                    <a:lnTo>
                      <a:pt x="5037" y="731"/>
                    </a:lnTo>
                    <a:lnTo>
                      <a:pt x="5037" y="734"/>
                    </a:lnTo>
                    <a:lnTo>
                      <a:pt x="5037" y="906"/>
                    </a:lnTo>
                    <a:lnTo>
                      <a:pt x="5039" y="906"/>
                    </a:lnTo>
                    <a:lnTo>
                      <a:pt x="5039" y="731"/>
                    </a:lnTo>
                    <a:moveTo>
                      <a:pt x="3046" y="655"/>
                    </a:moveTo>
                    <a:lnTo>
                      <a:pt x="3043" y="655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2"/>
                    </a:lnTo>
                    <a:lnTo>
                      <a:pt x="3046" y="722"/>
                    </a:lnTo>
                    <a:lnTo>
                      <a:pt x="3046" y="655"/>
                    </a:lnTo>
                    <a:moveTo>
                      <a:pt x="3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87"/>
                    </a:lnTo>
                    <a:lnTo>
                      <a:pt x="3" y="1387"/>
                    </a:lnTo>
                    <a:lnTo>
                      <a:pt x="3" y="615"/>
                    </a:lnTo>
                    <a:moveTo>
                      <a:pt x="5160" y="608"/>
                    </a:moveTo>
                    <a:lnTo>
                      <a:pt x="5157" y="608"/>
                    </a:lnTo>
                    <a:lnTo>
                      <a:pt x="5157" y="610"/>
                    </a:lnTo>
                    <a:lnTo>
                      <a:pt x="5157" y="665"/>
                    </a:lnTo>
                    <a:lnTo>
                      <a:pt x="5160" y="665"/>
                    </a:lnTo>
                    <a:lnTo>
                      <a:pt x="5160" y="608"/>
                    </a:lnTo>
                    <a:moveTo>
                      <a:pt x="3190" y="582"/>
                    </a:move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82"/>
                    </a:lnTo>
                    <a:lnTo>
                      <a:pt x="3188" y="591"/>
                    </a:lnTo>
                    <a:lnTo>
                      <a:pt x="3190" y="591"/>
                    </a:lnTo>
                    <a:lnTo>
                      <a:pt x="3190" y="582"/>
                    </a:lnTo>
                    <a:moveTo>
                      <a:pt x="208" y="546"/>
                    </a:moveTo>
                    <a:lnTo>
                      <a:pt x="206" y="546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46"/>
                    </a:lnTo>
                    <a:moveTo>
                      <a:pt x="6933" y="509"/>
                    </a:moveTo>
                    <a:lnTo>
                      <a:pt x="6931" y="509"/>
                    </a:lnTo>
                    <a:lnTo>
                      <a:pt x="6931" y="509"/>
                    </a:lnTo>
                    <a:lnTo>
                      <a:pt x="6931" y="1027"/>
                    </a:lnTo>
                    <a:lnTo>
                      <a:pt x="6933" y="1027"/>
                    </a:lnTo>
                    <a:lnTo>
                      <a:pt x="6933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8" y="504"/>
                    </a:lnTo>
                    <a:lnTo>
                      <a:pt x="4086" y="523"/>
                    </a:lnTo>
                    <a:lnTo>
                      <a:pt x="4086" y="523"/>
                    </a:lnTo>
                    <a:lnTo>
                      <a:pt x="4100" y="502"/>
                    </a:lnTo>
                    <a:moveTo>
                      <a:pt x="3206" y="499"/>
                    </a:moveTo>
                    <a:lnTo>
                      <a:pt x="3206" y="499"/>
                    </a:lnTo>
                    <a:lnTo>
                      <a:pt x="3204" y="499"/>
                    </a:lnTo>
                    <a:lnTo>
                      <a:pt x="3204" y="502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563"/>
                    </a:lnTo>
                    <a:lnTo>
                      <a:pt x="3206" y="499"/>
                    </a:lnTo>
                    <a:moveTo>
                      <a:pt x="3944" y="454"/>
                    </a:move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54"/>
                    </a:lnTo>
                    <a:lnTo>
                      <a:pt x="3942" y="490"/>
                    </a:lnTo>
                    <a:lnTo>
                      <a:pt x="3859" y="641"/>
                    </a:lnTo>
                    <a:lnTo>
                      <a:pt x="3859" y="861"/>
                    </a:lnTo>
                    <a:lnTo>
                      <a:pt x="3861" y="861"/>
                    </a:lnTo>
                    <a:lnTo>
                      <a:pt x="3861" y="641"/>
                    </a:lnTo>
                    <a:lnTo>
                      <a:pt x="3944" y="487"/>
                    </a:lnTo>
                    <a:lnTo>
                      <a:pt x="3944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5" y="473"/>
                    </a:lnTo>
                    <a:lnTo>
                      <a:pt x="3235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7" y="390"/>
                    </a:lnTo>
                    <a:lnTo>
                      <a:pt x="3947" y="390"/>
                    </a:lnTo>
                    <a:lnTo>
                      <a:pt x="3947" y="393"/>
                    </a:lnTo>
                    <a:lnTo>
                      <a:pt x="3947" y="447"/>
                    </a:lnTo>
                    <a:lnTo>
                      <a:pt x="3949" y="447"/>
                    </a:lnTo>
                    <a:lnTo>
                      <a:pt x="3949" y="445"/>
                    </a:lnTo>
                    <a:lnTo>
                      <a:pt x="3949" y="445"/>
                    </a:lnTo>
                    <a:lnTo>
                      <a:pt x="3949" y="390"/>
                    </a:lnTo>
                    <a:moveTo>
                      <a:pt x="1717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65"/>
                    </a:lnTo>
                    <a:lnTo>
                      <a:pt x="1717" y="1065"/>
                    </a:lnTo>
                    <a:lnTo>
                      <a:pt x="1717" y="367"/>
                    </a:lnTo>
                    <a:moveTo>
                      <a:pt x="3956" y="326"/>
                    </a:moveTo>
                    <a:lnTo>
                      <a:pt x="3956" y="326"/>
                    </a:lnTo>
                    <a:lnTo>
                      <a:pt x="3956" y="329"/>
                    </a:lnTo>
                    <a:lnTo>
                      <a:pt x="3956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9" y="232"/>
                    </a:moveTo>
                    <a:lnTo>
                      <a:pt x="4609" y="232"/>
                    </a:lnTo>
                    <a:lnTo>
                      <a:pt x="4609" y="232"/>
                    </a:lnTo>
                    <a:lnTo>
                      <a:pt x="4550" y="442"/>
                    </a:lnTo>
                    <a:lnTo>
                      <a:pt x="4552" y="442"/>
                    </a:lnTo>
                    <a:lnTo>
                      <a:pt x="4609" y="232"/>
                    </a:lnTo>
                    <a:moveTo>
                      <a:pt x="4760" y="0"/>
                    </a:moveTo>
                    <a:lnTo>
                      <a:pt x="4758" y="0"/>
                    </a:lnTo>
                    <a:lnTo>
                      <a:pt x="4758" y="2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120"/>
                    </a:lnTo>
                    <a:lnTo>
                      <a:pt x="4760" y="120"/>
                    </a:lnTo>
                    <a:lnTo>
                      <a:pt x="476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3" name="Freeform 76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close/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close/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close/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close/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close/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close/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close/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7E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4" name="Freeform 77"/>
              <p:cNvSpPr>
                <a:spLocks noEditPoints="1"/>
              </p:cNvSpPr>
              <p:nvPr/>
            </p:nvSpPr>
            <p:spPr bwMode="auto">
              <a:xfrm>
                <a:off x="78" y="1724"/>
                <a:ext cx="6930" cy="1390"/>
              </a:xfrm>
              <a:custGeom>
                <a:avLst/>
                <a:gdLst>
                  <a:gd name="T0" fmla="*/ 3615 w 6930"/>
                  <a:gd name="T1" fmla="*/ 1253 h 1390"/>
                  <a:gd name="T2" fmla="*/ 5736 w 6930"/>
                  <a:gd name="T3" fmla="*/ 1208 h 1390"/>
                  <a:gd name="T4" fmla="*/ 5736 w 6930"/>
                  <a:gd name="T5" fmla="*/ 1262 h 1390"/>
                  <a:gd name="T6" fmla="*/ 1593 w 6930"/>
                  <a:gd name="T7" fmla="*/ 1134 h 1390"/>
                  <a:gd name="T8" fmla="*/ 1593 w 6930"/>
                  <a:gd name="T9" fmla="*/ 1132 h 1390"/>
                  <a:gd name="T10" fmla="*/ 5760 w 6930"/>
                  <a:gd name="T11" fmla="*/ 1130 h 1390"/>
                  <a:gd name="T12" fmla="*/ 5762 w 6930"/>
                  <a:gd name="T13" fmla="*/ 1184 h 1390"/>
                  <a:gd name="T14" fmla="*/ 6225 w 6930"/>
                  <a:gd name="T15" fmla="*/ 1127 h 1390"/>
                  <a:gd name="T16" fmla="*/ 6228 w 6930"/>
                  <a:gd name="T17" fmla="*/ 1127 h 1390"/>
                  <a:gd name="T18" fmla="*/ 1366 w 6930"/>
                  <a:gd name="T19" fmla="*/ 1108 h 1390"/>
                  <a:gd name="T20" fmla="*/ 1369 w 6930"/>
                  <a:gd name="T21" fmla="*/ 1085 h 1390"/>
                  <a:gd name="T22" fmla="*/ 2764 w 6930"/>
                  <a:gd name="T23" fmla="*/ 1066 h 1390"/>
                  <a:gd name="T24" fmla="*/ 5835 w 6930"/>
                  <a:gd name="T25" fmla="*/ 1042 h 1390"/>
                  <a:gd name="T26" fmla="*/ 5835 w 6930"/>
                  <a:gd name="T27" fmla="*/ 1066 h 1390"/>
                  <a:gd name="T28" fmla="*/ 2780 w 6930"/>
                  <a:gd name="T29" fmla="*/ 1014 h 1390"/>
                  <a:gd name="T30" fmla="*/ 2783 w 6930"/>
                  <a:gd name="T31" fmla="*/ 1044 h 1390"/>
                  <a:gd name="T32" fmla="*/ 3674 w 6930"/>
                  <a:gd name="T33" fmla="*/ 995 h 1390"/>
                  <a:gd name="T34" fmla="*/ 3676 w 6930"/>
                  <a:gd name="T35" fmla="*/ 1160 h 1390"/>
                  <a:gd name="T36" fmla="*/ 5852 w 6930"/>
                  <a:gd name="T37" fmla="*/ 990 h 1390"/>
                  <a:gd name="T38" fmla="*/ 5854 w 6930"/>
                  <a:gd name="T39" fmla="*/ 1023 h 1390"/>
                  <a:gd name="T40" fmla="*/ 6244 w 6930"/>
                  <a:gd name="T41" fmla="*/ 935 h 1390"/>
                  <a:gd name="T42" fmla="*/ 6244 w 6930"/>
                  <a:gd name="T43" fmla="*/ 1111 h 1390"/>
                  <a:gd name="T44" fmla="*/ 3750 w 6930"/>
                  <a:gd name="T45" fmla="*/ 928 h 1390"/>
                  <a:gd name="T46" fmla="*/ 3750 w 6930"/>
                  <a:gd name="T47" fmla="*/ 928 h 1390"/>
                  <a:gd name="T48" fmla="*/ 6294 w 6930"/>
                  <a:gd name="T49" fmla="*/ 881 h 1390"/>
                  <a:gd name="T50" fmla="*/ 6294 w 6930"/>
                  <a:gd name="T51" fmla="*/ 886 h 1390"/>
                  <a:gd name="T52" fmla="*/ 6301 w 6930"/>
                  <a:gd name="T53" fmla="*/ 853 h 1390"/>
                  <a:gd name="T54" fmla="*/ 6303 w 6930"/>
                  <a:gd name="T55" fmla="*/ 869 h 1390"/>
                  <a:gd name="T56" fmla="*/ 3005 w 6930"/>
                  <a:gd name="T57" fmla="*/ 765 h 1390"/>
                  <a:gd name="T58" fmla="*/ 915 w 6930"/>
                  <a:gd name="T59" fmla="*/ 753 h 1390"/>
                  <a:gd name="T60" fmla="*/ 915 w 6930"/>
                  <a:gd name="T61" fmla="*/ 765 h 1390"/>
                  <a:gd name="T62" fmla="*/ 5036 w 6930"/>
                  <a:gd name="T63" fmla="*/ 734 h 1390"/>
                  <a:gd name="T64" fmla="*/ 3045 w 6930"/>
                  <a:gd name="T65" fmla="*/ 656 h 1390"/>
                  <a:gd name="T66" fmla="*/ 3043 w 6930"/>
                  <a:gd name="T67" fmla="*/ 725 h 1390"/>
                  <a:gd name="T68" fmla="*/ 2 w 6930"/>
                  <a:gd name="T69" fmla="*/ 616 h 1390"/>
                  <a:gd name="T70" fmla="*/ 2 w 6930"/>
                  <a:gd name="T71" fmla="*/ 1390 h 1390"/>
                  <a:gd name="T72" fmla="*/ 5157 w 6930"/>
                  <a:gd name="T73" fmla="*/ 611 h 1390"/>
                  <a:gd name="T74" fmla="*/ 3187 w 6930"/>
                  <a:gd name="T75" fmla="*/ 583 h 1390"/>
                  <a:gd name="T76" fmla="*/ 3187 w 6930"/>
                  <a:gd name="T77" fmla="*/ 594 h 1390"/>
                  <a:gd name="T78" fmla="*/ 205 w 6930"/>
                  <a:gd name="T79" fmla="*/ 547 h 1390"/>
                  <a:gd name="T80" fmla="*/ 208 w 6930"/>
                  <a:gd name="T81" fmla="*/ 547 h 1390"/>
                  <a:gd name="T82" fmla="*/ 6930 w 6930"/>
                  <a:gd name="T83" fmla="*/ 1030 h 1390"/>
                  <a:gd name="T84" fmla="*/ 4097 w 6930"/>
                  <a:gd name="T85" fmla="*/ 502 h 1390"/>
                  <a:gd name="T86" fmla="*/ 4100 w 6930"/>
                  <a:gd name="T87" fmla="*/ 502 h 1390"/>
                  <a:gd name="T88" fmla="*/ 3203 w 6930"/>
                  <a:gd name="T89" fmla="*/ 502 h 1390"/>
                  <a:gd name="T90" fmla="*/ 3206 w 6930"/>
                  <a:gd name="T91" fmla="*/ 564 h 1390"/>
                  <a:gd name="T92" fmla="*/ 3941 w 6930"/>
                  <a:gd name="T93" fmla="*/ 455 h 1390"/>
                  <a:gd name="T94" fmla="*/ 3858 w 6930"/>
                  <a:gd name="T95" fmla="*/ 864 h 1390"/>
                  <a:gd name="T96" fmla="*/ 3941 w 6930"/>
                  <a:gd name="T97" fmla="*/ 455 h 1390"/>
                  <a:gd name="T98" fmla="*/ 3232 w 6930"/>
                  <a:gd name="T99" fmla="*/ 474 h 1390"/>
                  <a:gd name="T100" fmla="*/ 3234 w 6930"/>
                  <a:gd name="T101" fmla="*/ 433 h 1390"/>
                  <a:gd name="T102" fmla="*/ 3946 w 6930"/>
                  <a:gd name="T103" fmla="*/ 393 h 1390"/>
                  <a:gd name="T104" fmla="*/ 3948 w 6930"/>
                  <a:gd name="T105" fmla="*/ 448 h 1390"/>
                  <a:gd name="T106" fmla="*/ 1714 w 6930"/>
                  <a:gd name="T107" fmla="*/ 370 h 1390"/>
                  <a:gd name="T108" fmla="*/ 3955 w 6930"/>
                  <a:gd name="T109" fmla="*/ 327 h 1390"/>
                  <a:gd name="T110" fmla="*/ 3955 w 6930"/>
                  <a:gd name="T111" fmla="*/ 384 h 1390"/>
                  <a:gd name="T112" fmla="*/ 4608 w 6930"/>
                  <a:gd name="T113" fmla="*/ 232 h 1390"/>
                  <a:gd name="T114" fmla="*/ 4551 w 6930"/>
                  <a:gd name="T115" fmla="*/ 445 h 1390"/>
                  <a:gd name="T116" fmla="*/ 4757 w 6930"/>
                  <a:gd name="T117" fmla="*/ 3 h 1390"/>
                  <a:gd name="T118" fmla="*/ 4757 w 6930"/>
                  <a:gd name="T119" fmla="*/ 123 h 1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0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3"/>
                    </a:lnTo>
                    <a:lnTo>
                      <a:pt x="3617" y="1253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2"/>
                    </a:lnTo>
                    <a:lnTo>
                      <a:pt x="5736" y="1262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30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46"/>
                    </a:lnTo>
                    <a:lnTo>
                      <a:pt x="6228" y="1146"/>
                    </a:lnTo>
                    <a:lnTo>
                      <a:pt x="6228" y="1127"/>
                    </a:lnTo>
                    <a:moveTo>
                      <a:pt x="1369" y="1085"/>
                    </a:moveTo>
                    <a:lnTo>
                      <a:pt x="1366" y="1085"/>
                    </a:lnTo>
                    <a:lnTo>
                      <a:pt x="1366" y="1085"/>
                    </a:lnTo>
                    <a:lnTo>
                      <a:pt x="1366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6"/>
                    </a:lnTo>
                    <a:lnTo>
                      <a:pt x="2764" y="1177"/>
                    </a:lnTo>
                    <a:lnTo>
                      <a:pt x="2766" y="1177"/>
                    </a:lnTo>
                    <a:lnTo>
                      <a:pt x="2766" y="1063"/>
                    </a:lnTo>
                    <a:moveTo>
                      <a:pt x="5835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4"/>
                    </a:lnTo>
                    <a:lnTo>
                      <a:pt x="5835" y="1066"/>
                    </a:lnTo>
                    <a:lnTo>
                      <a:pt x="5835" y="1066"/>
                    </a:lnTo>
                    <a:lnTo>
                      <a:pt x="5835" y="1042"/>
                    </a:lnTo>
                    <a:moveTo>
                      <a:pt x="2783" y="1011"/>
                    </a:moveTo>
                    <a:lnTo>
                      <a:pt x="2780" y="1014"/>
                    </a:lnTo>
                    <a:lnTo>
                      <a:pt x="2780" y="1014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5"/>
                    </a:moveTo>
                    <a:lnTo>
                      <a:pt x="3674" y="995"/>
                    </a:lnTo>
                    <a:lnTo>
                      <a:pt x="3674" y="995"/>
                    </a:lnTo>
                    <a:lnTo>
                      <a:pt x="3674" y="1163"/>
                    </a:lnTo>
                    <a:lnTo>
                      <a:pt x="3676" y="1163"/>
                    </a:lnTo>
                    <a:lnTo>
                      <a:pt x="3676" y="1160"/>
                    </a:lnTo>
                    <a:lnTo>
                      <a:pt x="3676" y="1160"/>
                    </a:lnTo>
                    <a:lnTo>
                      <a:pt x="3676" y="995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31"/>
                    </a:lnTo>
                    <a:lnTo>
                      <a:pt x="3750" y="928"/>
                    </a:lnTo>
                    <a:moveTo>
                      <a:pt x="6294" y="879"/>
                    </a:moveTo>
                    <a:lnTo>
                      <a:pt x="6294" y="879"/>
                    </a:lnTo>
                    <a:lnTo>
                      <a:pt x="6294" y="879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3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3"/>
                    </a:moveTo>
                    <a:lnTo>
                      <a:pt x="3005" y="763"/>
                    </a:lnTo>
                    <a:lnTo>
                      <a:pt x="3005" y="765"/>
                    </a:lnTo>
                    <a:lnTo>
                      <a:pt x="3005" y="916"/>
                    </a:lnTo>
                    <a:lnTo>
                      <a:pt x="3005" y="916"/>
                    </a:lnTo>
                    <a:lnTo>
                      <a:pt x="3005" y="763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65"/>
                    </a:lnTo>
                    <a:lnTo>
                      <a:pt x="915" y="765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09"/>
                    </a:lnTo>
                    <a:lnTo>
                      <a:pt x="5038" y="909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5" y="725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0"/>
                    </a:lnTo>
                    <a:lnTo>
                      <a:pt x="2" y="1390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68"/>
                    </a:lnTo>
                    <a:lnTo>
                      <a:pt x="5159" y="668"/>
                    </a:lnTo>
                    <a:lnTo>
                      <a:pt x="5159" y="609"/>
                    </a:lnTo>
                    <a:moveTo>
                      <a:pt x="3187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5"/>
                    </a:lnTo>
                    <a:lnTo>
                      <a:pt x="3187" y="594"/>
                    </a:lnTo>
                    <a:lnTo>
                      <a:pt x="3187" y="594"/>
                    </a:lnTo>
                    <a:lnTo>
                      <a:pt x="3187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54"/>
                    </a:lnTo>
                    <a:lnTo>
                      <a:pt x="208" y="554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0"/>
                    </a:lnTo>
                    <a:lnTo>
                      <a:pt x="6930" y="1030"/>
                    </a:lnTo>
                    <a:lnTo>
                      <a:pt x="6930" y="509"/>
                    </a:lnTo>
                    <a:moveTo>
                      <a:pt x="4100" y="502"/>
                    </a:moveTo>
                    <a:lnTo>
                      <a:pt x="4097" y="502"/>
                    </a:lnTo>
                    <a:lnTo>
                      <a:pt x="4097" y="505"/>
                    </a:lnTo>
                    <a:lnTo>
                      <a:pt x="4083" y="526"/>
                    </a:lnTo>
                    <a:lnTo>
                      <a:pt x="4083" y="526"/>
                    </a:lnTo>
                    <a:lnTo>
                      <a:pt x="4100" y="502"/>
                    </a:lnTo>
                    <a:moveTo>
                      <a:pt x="3206" y="502"/>
                    </a:move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02"/>
                    </a:lnTo>
                    <a:lnTo>
                      <a:pt x="3203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2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7"/>
                    </a:lnTo>
                    <a:lnTo>
                      <a:pt x="3941" y="490"/>
                    </a:lnTo>
                    <a:lnTo>
                      <a:pt x="3858" y="644"/>
                    </a:lnTo>
                    <a:lnTo>
                      <a:pt x="3858" y="864"/>
                    </a:lnTo>
                    <a:lnTo>
                      <a:pt x="3861" y="864"/>
                    </a:lnTo>
                    <a:lnTo>
                      <a:pt x="3861" y="642"/>
                    </a:lnTo>
                    <a:lnTo>
                      <a:pt x="3941" y="490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70"/>
                    </a:moveTo>
                    <a:lnTo>
                      <a:pt x="1714" y="370"/>
                    </a:lnTo>
                    <a:lnTo>
                      <a:pt x="1714" y="370"/>
                    </a:lnTo>
                    <a:lnTo>
                      <a:pt x="1714" y="1068"/>
                    </a:lnTo>
                    <a:lnTo>
                      <a:pt x="1716" y="1068"/>
                    </a:lnTo>
                    <a:lnTo>
                      <a:pt x="1716" y="370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5"/>
                    </a:lnTo>
                    <a:lnTo>
                      <a:pt x="4549" y="445"/>
                    </a:lnTo>
                    <a:lnTo>
                      <a:pt x="4551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5" name="Freeform 78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close/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close/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close/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close/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close/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close/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close/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close/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close/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close/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close/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6E5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6" name="Freeform 79"/>
              <p:cNvSpPr>
                <a:spLocks noEditPoints="1"/>
              </p:cNvSpPr>
              <p:nvPr/>
            </p:nvSpPr>
            <p:spPr bwMode="auto">
              <a:xfrm>
                <a:off x="80" y="1722"/>
                <a:ext cx="6930" cy="1392"/>
              </a:xfrm>
              <a:custGeom>
                <a:avLst/>
                <a:gdLst>
                  <a:gd name="T0" fmla="*/ 3615 w 6930"/>
                  <a:gd name="T1" fmla="*/ 1255 h 1392"/>
                  <a:gd name="T2" fmla="*/ 5736 w 6930"/>
                  <a:gd name="T3" fmla="*/ 1210 h 1392"/>
                  <a:gd name="T4" fmla="*/ 5736 w 6930"/>
                  <a:gd name="T5" fmla="*/ 1264 h 1392"/>
                  <a:gd name="T6" fmla="*/ 1591 w 6930"/>
                  <a:gd name="T7" fmla="*/ 1134 h 1392"/>
                  <a:gd name="T8" fmla="*/ 1594 w 6930"/>
                  <a:gd name="T9" fmla="*/ 1134 h 1392"/>
                  <a:gd name="T10" fmla="*/ 5760 w 6930"/>
                  <a:gd name="T11" fmla="*/ 1129 h 1392"/>
                  <a:gd name="T12" fmla="*/ 5762 w 6930"/>
                  <a:gd name="T13" fmla="*/ 1184 h 1392"/>
                  <a:gd name="T14" fmla="*/ 6226 w 6930"/>
                  <a:gd name="T15" fmla="*/ 1129 h 1392"/>
                  <a:gd name="T16" fmla="*/ 6228 w 6930"/>
                  <a:gd name="T17" fmla="*/ 1129 h 1392"/>
                  <a:gd name="T18" fmla="*/ 1367 w 6930"/>
                  <a:gd name="T19" fmla="*/ 1110 h 1392"/>
                  <a:gd name="T20" fmla="*/ 1369 w 6930"/>
                  <a:gd name="T21" fmla="*/ 1084 h 1392"/>
                  <a:gd name="T22" fmla="*/ 2764 w 6930"/>
                  <a:gd name="T23" fmla="*/ 1065 h 1392"/>
                  <a:gd name="T24" fmla="*/ 5836 w 6930"/>
                  <a:gd name="T25" fmla="*/ 1042 h 1392"/>
                  <a:gd name="T26" fmla="*/ 5833 w 6930"/>
                  <a:gd name="T27" fmla="*/ 1068 h 1392"/>
                  <a:gd name="T28" fmla="*/ 2781 w 6930"/>
                  <a:gd name="T29" fmla="*/ 1013 h 1392"/>
                  <a:gd name="T30" fmla="*/ 2783 w 6930"/>
                  <a:gd name="T31" fmla="*/ 1044 h 1392"/>
                  <a:gd name="T32" fmla="*/ 3674 w 6930"/>
                  <a:gd name="T33" fmla="*/ 994 h 1392"/>
                  <a:gd name="T34" fmla="*/ 3674 w 6930"/>
                  <a:gd name="T35" fmla="*/ 1162 h 1392"/>
                  <a:gd name="T36" fmla="*/ 5852 w 6930"/>
                  <a:gd name="T37" fmla="*/ 989 h 1392"/>
                  <a:gd name="T38" fmla="*/ 5852 w 6930"/>
                  <a:gd name="T39" fmla="*/ 1023 h 1392"/>
                  <a:gd name="T40" fmla="*/ 6242 w 6930"/>
                  <a:gd name="T41" fmla="*/ 935 h 1392"/>
                  <a:gd name="T42" fmla="*/ 6245 w 6930"/>
                  <a:gd name="T43" fmla="*/ 1110 h 1392"/>
                  <a:gd name="T44" fmla="*/ 3748 w 6930"/>
                  <a:gd name="T45" fmla="*/ 928 h 1392"/>
                  <a:gd name="T46" fmla="*/ 3750 w 6930"/>
                  <a:gd name="T47" fmla="*/ 928 h 1392"/>
                  <a:gd name="T48" fmla="*/ 6292 w 6930"/>
                  <a:gd name="T49" fmla="*/ 881 h 1392"/>
                  <a:gd name="T50" fmla="*/ 6294 w 6930"/>
                  <a:gd name="T51" fmla="*/ 885 h 1392"/>
                  <a:gd name="T52" fmla="*/ 6301 w 6930"/>
                  <a:gd name="T53" fmla="*/ 852 h 1392"/>
                  <a:gd name="T54" fmla="*/ 6304 w 6930"/>
                  <a:gd name="T55" fmla="*/ 869 h 1392"/>
                  <a:gd name="T56" fmla="*/ 3003 w 6930"/>
                  <a:gd name="T57" fmla="*/ 765 h 1392"/>
                  <a:gd name="T58" fmla="*/ 915 w 6930"/>
                  <a:gd name="T59" fmla="*/ 753 h 1392"/>
                  <a:gd name="T60" fmla="*/ 915 w 6930"/>
                  <a:gd name="T61" fmla="*/ 767 h 1392"/>
                  <a:gd name="T62" fmla="*/ 5036 w 6930"/>
                  <a:gd name="T63" fmla="*/ 734 h 1392"/>
                  <a:gd name="T64" fmla="*/ 3043 w 6930"/>
                  <a:gd name="T65" fmla="*/ 658 h 1392"/>
                  <a:gd name="T66" fmla="*/ 3043 w 6930"/>
                  <a:gd name="T67" fmla="*/ 727 h 1392"/>
                  <a:gd name="T68" fmla="*/ 2 w 6930"/>
                  <a:gd name="T69" fmla="*/ 618 h 1392"/>
                  <a:gd name="T70" fmla="*/ 2 w 6930"/>
                  <a:gd name="T71" fmla="*/ 1392 h 1392"/>
                  <a:gd name="T72" fmla="*/ 5157 w 6930"/>
                  <a:gd name="T73" fmla="*/ 611 h 1392"/>
                  <a:gd name="T74" fmla="*/ 3187 w 6930"/>
                  <a:gd name="T75" fmla="*/ 582 h 1392"/>
                  <a:gd name="T76" fmla="*/ 3185 w 6930"/>
                  <a:gd name="T77" fmla="*/ 596 h 1392"/>
                  <a:gd name="T78" fmla="*/ 206 w 6930"/>
                  <a:gd name="T79" fmla="*/ 547 h 1392"/>
                  <a:gd name="T80" fmla="*/ 208 w 6930"/>
                  <a:gd name="T81" fmla="*/ 547 h 1392"/>
                  <a:gd name="T82" fmla="*/ 6928 w 6930"/>
                  <a:gd name="T83" fmla="*/ 1032 h 1392"/>
                  <a:gd name="T84" fmla="*/ 4098 w 6930"/>
                  <a:gd name="T85" fmla="*/ 504 h 1392"/>
                  <a:gd name="T86" fmla="*/ 4098 w 6930"/>
                  <a:gd name="T87" fmla="*/ 504 h 1392"/>
                  <a:gd name="T88" fmla="*/ 3204 w 6930"/>
                  <a:gd name="T89" fmla="*/ 504 h 1392"/>
                  <a:gd name="T90" fmla="*/ 3206 w 6930"/>
                  <a:gd name="T91" fmla="*/ 563 h 1392"/>
                  <a:gd name="T92" fmla="*/ 3939 w 6930"/>
                  <a:gd name="T93" fmla="*/ 454 h 1392"/>
                  <a:gd name="T94" fmla="*/ 3859 w 6930"/>
                  <a:gd name="T95" fmla="*/ 866 h 1392"/>
                  <a:gd name="T96" fmla="*/ 3942 w 6930"/>
                  <a:gd name="T97" fmla="*/ 454 h 1392"/>
                  <a:gd name="T98" fmla="*/ 3232 w 6930"/>
                  <a:gd name="T99" fmla="*/ 473 h 1392"/>
                  <a:gd name="T100" fmla="*/ 3235 w 6930"/>
                  <a:gd name="T101" fmla="*/ 433 h 1392"/>
                  <a:gd name="T102" fmla="*/ 3946 w 6930"/>
                  <a:gd name="T103" fmla="*/ 393 h 1392"/>
                  <a:gd name="T104" fmla="*/ 3949 w 6930"/>
                  <a:gd name="T105" fmla="*/ 447 h 1392"/>
                  <a:gd name="T106" fmla="*/ 1714 w 6930"/>
                  <a:gd name="T107" fmla="*/ 372 h 1392"/>
                  <a:gd name="T108" fmla="*/ 3956 w 6930"/>
                  <a:gd name="T109" fmla="*/ 327 h 1392"/>
                  <a:gd name="T110" fmla="*/ 3956 w 6930"/>
                  <a:gd name="T111" fmla="*/ 383 h 1392"/>
                  <a:gd name="T112" fmla="*/ 4608 w 6930"/>
                  <a:gd name="T113" fmla="*/ 232 h 1392"/>
                  <a:gd name="T114" fmla="*/ 4552 w 6930"/>
                  <a:gd name="T115" fmla="*/ 445 h 1392"/>
                  <a:gd name="T116" fmla="*/ 4755 w 6930"/>
                  <a:gd name="T117" fmla="*/ 2 h 1392"/>
                  <a:gd name="T118" fmla="*/ 4757 w 6930"/>
                  <a:gd name="T119" fmla="*/ 123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30" h="1392">
                    <a:moveTo>
                      <a:pt x="3615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55"/>
                    </a:lnTo>
                    <a:lnTo>
                      <a:pt x="3615" y="1255"/>
                    </a:lnTo>
                    <a:lnTo>
                      <a:pt x="3615" y="1222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64"/>
                    </a:lnTo>
                    <a:lnTo>
                      <a:pt x="5736" y="1264"/>
                    </a:lnTo>
                    <a:lnTo>
                      <a:pt x="5736" y="1210"/>
                    </a:lnTo>
                    <a:moveTo>
                      <a:pt x="1594" y="1132"/>
                    </a:moveTo>
                    <a:lnTo>
                      <a:pt x="1591" y="1132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2" y="1129"/>
                    </a:moveTo>
                    <a:lnTo>
                      <a:pt x="5760" y="1129"/>
                    </a:lnTo>
                    <a:lnTo>
                      <a:pt x="5760" y="1129"/>
                    </a:lnTo>
                    <a:lnTo>
                      <a:pt x="5760" y="1186"/>
                    </a:lnTo>
                    <a:lnTo>
                      <a:pt x="5760" y="1186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9"/>
                    </a:lnTo>
                    <a:moveTo>
                      <a:pt x="6228" y="1129"/>
                    </a:move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29"/>
                    </a:lnTo>
                    <a:lnTo>
                      <a:pt x="6226" y="1148"/>
                    </a:lnTo>
                    <a:lnTo>
                      <a:pt x="6228" y="1148"/>
                    </a:lnTo>
                    <a:lnTo>
                      <a:pt x="6228" y="1129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7"/>
                    </a:lnTo>
                    <a:lnTo>
                      <a:pt x="1367" y="1110"/>
                    </a:lnTo>
                    <a:lnTo>
                      <a:pt x="1369" y="1110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79"/>
                    </a:lnTo>
                    <a:lnTo>
                      <a:pt x="2766" y="1179"/>
                    </a:lnTo>
                    <a:lnTo>
                      <a:pt x="2766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3" y="1042"/>
                    </a:lnTo>
                    <a:lnTo>
                      <a:pt x="5833" y="1044"/>
                    </a:lnTo>
                    <a:lnTo>
                      <a:pt x="5833" y="1068"/>
                    </a:lnTo>
                    <a:lnTo>
                      <a:pt x="5836" y="1068"/>
                    </a:lnTo>
                    <a:lnTo>
                      <a:pt x="5836" y="1042"/>
                    </a:lnTo>
                    <a:moveTo>
                      <a:pt x="2783" y="1013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3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7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4" y="1162"/>
                    </a:lnTo>
                    <a:lnTo>
                      <a:pt x="3677" y="1162"/>
                    </a:lnTo>
                    <a:lnTo>
                      <a:pt x="3677" y="994"/>
                    </a:lnTo>
                    <a:moveTo>
                      <a:pt x="5854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89"/>
                    </a:lnTo>
                    <a:moveTo>
                      <a:pt x="6245" y="935"/>
                    </a:moveTo>
                    <a:lnTo>
                      <a:pt x="6242" y="935"/>
                    </a:lnTo>
                    <a:lnTo>
                      <a:pt x="6242" y="937"/>
                    </a:lnTo>
                    <a:lnTo>
                      <a:pt x="6242" y="1113"/>
                    </a:lnTo>
                    <a:lnTo>
                      <a:pt x="6245" y="1113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48" y="928"/>
                    </a:lnTo>
                    <a:lnTo>
                      <a:pt x="3748" y="930"/>
                    </a:lnTo>
                    <a:lnTo>
                      <a:pt x="3748" y="933"/>
                    </a:lnTo>
                    <a:lnTo>
                      <a:pt x="3750" y="933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2" y="878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1" y="871"/>
                    </a:lnTo>
                    <a:lnTo>
                      <a:pt x="6301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3" y="762"/>
                    </a:lnTo>
                    <a:lnTo>
                      <a:pt x="3003" y="765"/>
                    </a:lnTo>
                    <a:lnTo>
                      <a:pt x="3003" y="918"/>
                    </a:lnTo>
                    <a:lnTo>
                      <a:pt x="3005" y="918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67"/>
                    </a:lnTo>
                    <a:lnTo>
                      <a:pt x="915" y="767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1"/>
                    </a:lnTo>
                    <a:lnTo>
                      <a:pt x="5036" y="911"/>
                    </a:lnTo>
                    <a:lnTo>
                      <a:pt x="5036" y="731"/>
                    </a:lnTo>
                    <a:moveTo>
                      <a:pt x="3043" y="658"/>
                    </a:moveTo>
                    <a:lnTo>
                      <a:pt x="3043" y="658"/>
                    </a:lnTo>
                    <a:lnTo>
                      <a:pt x="3043" y="658"/>
                    </a:lnTo>
                    <a:lnTo>
                      <a:pt x="3043" y="727"/>
                    </a:lnTo>
                    <a:lnTo>
                      <a:pt x="3043" y="727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8"/>
                    </a:lnTo>
                    <a:moveTo>
                      <a:pt x="2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392"/>
                    </a:lnTo>
                    <a:lnTo>
                      <a:pt x="2" y="1392"/>
                    </a:lnTo>
                    <a:lnTo>
                      <a:pt x="2" y="618"/>
                    </a:lnTo>
                    <a:moveTo>
                      <a:pt x="5159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70"/>
                    </a:lnTo>
                    <a:lnTo>
                      <a:pt x="5159" y="670"/>
                    </a:lnTo>
                    <a:lnTo>
                      <a:pt x="5159" y="611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5" y="582"/>
                    </a:lnTo>
                    <a:lnTo>
                      <a:pt x="3185" y="585"/>
                    </a:lnTo>
                    <a:lnTo>
                      <a:pt x="3185" y="596"/>
                    </a:lnTo>
                    <a:lnTo>
                      <a:pt x="3187" y="596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56"/>
                    </a:lnTo>
                    <a:lnTo>
                      <a:pt x="208" y="556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28" y="509"/>
                    </a:lnTo>
                    <a:lnTo>
                      <a:pt x="6928" y="511"/>
                    </a:lnTo>
                    <a:lnTo>
                      <a:pt x="6928" y="1032"/>
                    </a:lnTo>
                    <a:lnTo>
                      <a:pt x="6930" y="1032"/>
                    </a:lnTo>
                    <a:lnTo>
                      <a:pt x="6930" y="509"/>
                    </a:lnTo>
                    <a:moveTo>
                      <a:pt x="4098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81" y="528"/>
                    </a:lnTo>
                    <a:lnTo>
                      <a:pt x="4081" y="528"/>
                    </a:lnTo>
                    <a:lnTo>
                      <a:pt x="4098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4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39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2"/>
                    </a:lnTo>
                    <a:lnTo>
                      <a:pt x="3859" y="644"/>
                    </a:lnTo>
                    <a:lnTo>
                      <a:pt x="3859" y="866"/>
                    </a:lnTo>
                    <a:lnTo>
                      <a:pt x="3859" y="866"/>
                    </a:lnTo>
                    <a:lnTo>
                      <a:pt x="3859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6" y="450"/>
                    </a:lnTo>
                    <a:lnTo>
                      <a:pt x="3946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72"/>
                    </a:lnTo>
                    <a:lnTo>
                      <a:pt x="1714" y="1070"/>
                    </a:lnTo>
                    <a:lnTo>
                      <a:pt x="1714" y="1070"/>
                    </a:lnTo>
                    <a:lnTo>
                      <a:pt x="1714" y="369"/>
                    </a:lnTo>
                    <a:moveTo>
                      <a:pt x="3956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7"/>
                    </a:lnTo>
                    <a:moveTo>
                      <a:pt x="4608" y="232"/>
                    </a:moveTo>
                    <a:lnTo>
                      <a:pt x="4606" y="232"/>
                    </a:lnTo>
                    <a:lnTo>
                      <a:pt x="4606" y="234"/>
                    </a:lnTo>
                    <a:lnTo>
                      <a:pt x="4549" y="447"/>
                    </a:lnTo>
                    <a:lnTo>
                      <a:pt x="4552" y="445"/>
                    </a:lnTo>
                    <a:lnTo>
                      <a:pt x="4608" y="232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2"/>
                    </a:lnTo>
                    <a:lnTo>
                      <a:pt x="4755" y="125"/>
                    </a:lnTo>
                    <a:lnTo>
                      <a:pt x="4757" y="125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7" name="Freeform 80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close/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close/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close/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close/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close/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close/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close/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close/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close/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close/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close/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close/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8" name="Freeform 81"/>
              <p:cNvSpPr>
                <a:spLocks noEditPoints="1"/>
              </p:cNvSpPr>
              <p:nvPr/>
            </p:nvSpPr>
            <p:spPr bwMode="auto">
              <a:xfrm>
                <a:off x="82" y="1719"/>
                <a:ext cx="6931" cy="1395"/>
              </a:xfrm>
              <a:custGeom>
                <a:avLst/>
                <a:gdLst>
                  <a:gd name="T0" fmla="*/ 3613 w 6931"/>
                  <a:gd name="T1" fmla="*/ 1258 h 1395"/>
                  <a:gd name="T2" fmla="*/ 5734 w 6931"/>
                  <a:gd name="T3" fmla="*/ 1210 h 1395"/>
                  <a:gd name="T4" fmla="*/ 5737 w 6931"/>
                  <a:gd name="T5" fmla="*/ 1267 h 1395"/>
                  <a:gd name="T6" fmla="*/ 1592 w 6931"/>
                  <a:gd name="T7" fmla="*/ 1135 h 1395"/>
                  <a:gd name="T8" fmla="*/ 1594 w 6931"/>
                  <a:gd name="T9" fmla="*/ 1135 h 1395"/>
                  <a:gd name="T10" fmla="*/ 5760 w 6931"/>
                  <a:gd name="T11" fmla="*/ 1132 h 1395"/>
                  <a:gd name="T12" fmla="*/ 5760 w 6931"/>
                  <a:gd name="T13" fmla="*/ 1184 h 1395"/>
                  <a:gd name="T14" fmla="*/ 6226 w 6931"/>
                  <a:gd name="T15" fmla="*/ 1130 h 1395"/>
                  <a:gd name="T16" fmla="*/ 6228 w 6931"/>
                  <a:gd name="T17" fmla="*/ 1130 h 1395"/>
                  <a:gd name="T18" fmla="*/ 1367 w 6931"/>
                  <a:gd name="T19" fmla="*/ 1111 h 1395"/>
                  <a:gd name="T20" fmla="*/ 1369 w 6931"/>
                  <a:gd name="T21" fmla="*/ 1085 h 1395"/>
                  <a:gd name="T22" fmla="*/ 2764 w 6931"/>
                  <a:gd name="T23" fmla="*/ 1066 h 1395"/>
                  <a:gd name="T24" fmla="*/ 5836 w 6931"/>
                  <a:gd name="T25" fmla="*/ 1042 h 1395"/>
                  <a:gd name="T26" fmla="*/ 5834 w 6931"/>
                  <a:gd name="T27" fmla="*/ 1071 h 1395"/>
                  <a:gd name="T28" fmla="*/ 2781 w 6931"/>
                  <a:gd name="T29" fmla="*/ 1014 h 1395"/>
                  <a:gd name="T30" fmla="*/ 2781 w 6931"/>
                  <a:gd name="T31" fmla="*/ 1045 h 1395"/>
                  <a:gd name="T32" fmla="*/ 3675 w 6931"/>
                  <a:gd name="T33" fmla="*/ 995 h 1395"/>
                  <a:gd name="T34" fmla="*/ 3675 w 6931"/>
                  <a:gd name="T35" fmla="*/ 995 h 1395"/>
                  <a:gd name="T36" fmla="*/ 5852 w 6931"/>
                  <a:gd name="T37" fmla="*/ 1026 h 1395"/>
                  <a:gd name="T38" fmla="*/ 5855 w 6931"/>
                  <a:gd name="T39" fmla="*/ 990 h 1395"/>
                  <a:gd name="T40" fmla="*/ 6243 w 6931"/>
                  <a:gd name="T41" fmla="*/ 1113 h 1395"/>
                  <a:gd name="T42" fmla="*/ 6245 w 6931"/>
                  <a:gd name="T43" fmla="*/ 938 h 1395"/>
                  <a:gd name="T44" fmla="*/ 3748 w 6931"/>
                  <a:gd name="T45" fmla="*/ 936 h 1395"/>
                  <a:gd name="T46" fmla="*/ 6292 w 6931"/>
                  <a:gd name="T47" fmla="*/ 879 h 1395"/>
                  <a:gd name="T48" fmla="*/ 6292 w 6931"/>
                  <a:gd name="T49" fmla="*/ 888 h 1395"/>
                  <a:gd name="T50" fmla="*/ 6302 w 6931"/>
                  <a:gd name="T51" fmla="*/ 850 h 1395"/>
                  <a:gd name="T52" fmla="*/ 6302 w 6931"/>
                  <a:gd name="T53" fmla="*/ 872 h 1395"/>
                  <a:gd name="T54" fmla="*/ 3006 w 6931"/>
                  <a:gd name="T55" fmla="*/ 765 h 1395"/>
                  <a:gd name="T56" fmla="*/ 3006 w 6931"/>
                  <a:gd name="T57" fmla="*/ 921 h 1395"/>
                  <a:gd name="T58" fmla="*/ 913 w 6931"/>
                  <a:gd name="T59" fmla="*/ 756 h 1395"/>
                  <a:gd name="T60" fmla="*/ 5037 w 6931"/>
                  <a:gd name="T61" fmla="*/ 734 h 1395"/>
                  <a:gd name="T62" fmla="*/ 5037 w 6931"/>
                  <a:gd name="T63" fmla="*/ 914 h 1395"/>
                  <a:gd name="T64" fmla="*/ 3041 w 6931"/>
                  <a:gd name="T65" fmla="*/ 661 h 1395"/>
                  <a:gd name="T66" fmla="*/ 3043 w 6931"/>
                  <a:gd name="T67" fmla="*/ 725 h 1395"/>
                  <a:gd name="T68" fmla="*/ 0 w 6931"/>
                  <a:gd name="T69" fmla="*/ 621 h 1395"/>
                  <a:gd name="T70" fmla="*/ 5157 w 6931"/>
                  <a:gd name="T71" fmla="*/ 611 h 1395"/>
                  <a:gd name="T72" fmla="*/ 5157 w 6931"/>
                  <a:gd name="T73" fmla="*/ 673 h 1395"/>
                  <a:gd name="T74" fmla="*/ 3185 w 6931"/>
                  <a:gd name="T75" fmla="*/ 583 h 1395"/>
                  <a:gd name="T76" fmla="*/ 3188 w 6931"/>
                  <a:gd name="T77" fmla="*/ 583 h 1395"/>
                  <a:gd name="T78" fmla="*/ 206 w 6931"/>
                  <a:gd name="T79" fmla="*/ 559 h 1395"/>
                  <a:gd name="T80" fmla="*/ 6928 w 6931"/>
                  <a:gd name="T81" fmla="*/ 510 h 1395"/>
                  <a:gd name="T82" fmla="*/ 6931 w 6931"/>
                  <a:gd name="T83" fmla="*/ 510 h 1395"/>
                  <a:gd name="T84" fmla="*/ 4079 w 6931"/>
                  <a:gd name="T85" fmla="*/ 531 h 1395"/>
                  <a:gd name="T86" fmla="*/ 3204 w 6931"/>
                  <a:gd name="T87" fmla="*/ 502 h 1395"/>
                  <a:gd name="T88" fmla="*/ 3204 w 6931"/>
                  <a:gd name="T89" fmla="*/ 566 h 1395"/>
                  <a:gd name="T90" fmla="*/ 3942 w 6931"/>
                  <a:gd name="T91" fmla="*/ 455 h 1395"/>
                  <a:gd name="T92" fmla="*/ 3940 w 6931"/>
                  <a:gd name="T93" fmla="*/ 493 h 1395"/>
                  <a:gd name="T94" fmla="*/ 3859 w 6931"/>
                  <a:gd name="T95" fmla="*/ 642 h 1395"/>
                  <a:gd name="T96" fmla="*/ 3233 w 6931"/>
                  <a:gd name="T97" fmla="*/ 436 h 1395"/>
                  <a:gd name="T98" fmla="*/ 3233 w 6931"/>
                  <a:gd name="T99" fmla="*/ 472 h 1395"/>
                  <a:gd name="T100" fmla="*/ 3947 w 6931"/>
                  <a:gd name="T101" fmla="*/ 391 h 1395"/>
                  <a:gd name="T102" fmla="*/ 3947 w 6931"/>
                  <a:gd name="T103" fmla="*/ 450 h 1395"/>
                  <a:gd name="T104" fmla="*/ 1715 w 6931"/>
                  <a:gd name="T105" fmla="*/ 370 h 1395"/>
                  <a:gd name="T106" fmla="*/ 1715 w 6931"/>
                  <a:gd name="T107" fmla="*/ 1073 h 1395"/>
                  <a:gd name="T108" fmla="*/ 3954 w 6931"/>
                  <a:gd name="T109" fmla="*/ 330 h 1395"/>
                  <a:gd name="T110" fmla="*/ 3956 w 6931"/>
                  <a:gd name="T111" fmla="*/ 384 h 1395"/>
                  <a:gd name="T112" fmla="*/ 4606 w 6931"/>
                  <a:gd name="T113" fmla="*/ 235 h 1395"/>
                  <a:gd name="T114" fmla="*/ 4708 w 6931"/>
                  <a:gd name="T115" fmla="*/ 173 h 1395"/>
                  <a:gd name="T116" fmla="*/ 4708 w 6931"/>
                  <a:gd name="T117" fmla="*/ 173 h 1395"/>
                  <a:gd name="T118" fmla="*/ 4755 w 6931"/>
                  <a:gd name="T119" fmla="*/ 126 h 1395"/>
                  <a:gd name="T120" fmla="*/ 4758 w 6931"/>
                  <a:gd name="T121" fmla="*/ 0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395">
                    <a:moveTo>
                      <a:pt x="3616" y="1225"/>
                    </a:moveTo>
                    <a:lnTo>
                      <a:pt x="3613" y="1225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6" y="1258"/>
                    </a:lnTo>
                    <a:lnTo>
                      <a:pt x="3616" y="1225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67"/>
                    </a:lnTo>
                    <a:lnTo>
                      <a:pt x="5737" y="1267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5"/>
                    </a:lnTo>
                    <a:lnTo>
                      <a:pt x="1592" y="1137"/>
                    </a:lnTo>
                    <a:lnTo>
                      <a:pt x="1594" y="1137"/>
                    </a:lnTo>
                    <a:lnTo>
                      <a:pt x="1594" y="1135"/>
                    </a:lnTo>
                    <a:lnTo>
                      <a:pt x="1594" y="1135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2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8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2"/>
                    </a:lnTo>
                    <a:lnTo>
                      <a:pt x="6226" y="1151"/>
                    </a:lnTo>
                    <a:lnTo>
                      <a:pt x="6228" y="1151"/>
                    </a:lnTo>
                    <a:lnTo>
                      <a:pt x="6228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9"/>
                    </a:lnTo>
                    <a:lnTo>
                      <a:pt x="1369" y="1109"/>
                    </a:lnTo>
                    <a:lnTo>
                      <a:pt x="1369" y="1085"/>
                    </a:lnTo>
                    <a:moveTo>
                      <a:pt x="2764" y="1064"/>
                    </a:moveTo>
                    <a:lnTo>
                      <a:pt x="2764" y="1064"/>
                    </a:lnTo>
                    <a:lnTo>
                      <a:pt x="2764" y="1064"/>
                    </a:lnTo>
                    <a:lnTo>
                      <a:pt x="2764" y="1066"/>
                    </a:lnTo>
                    <a:lnTo>
                      <a:pt x="2764" y="1182"/>
                    </a:lnTo>
                    <a:lnTo>
                      <a:pt x="2764" y="1182"/>
                    </a:lnTo>
                    <a:lnTo>
                      <a:pt x="2764" y="1064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5"/>
                    </a:lnTo>
                    <a:lnTo>
                      <a:pt x="5834" y="1071"/>
                    </a:lnTo>
                    <a:lnTo>
                      <a:pt x="5836" y="1071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6"/>
                    </a:lnTo>
                    <a:lnTo>
                      <a:pt x="2781" y="1047"/>
                    </a:lnTo>
                    <a:lnTo>
                      <a:pt x="2781" y="1047"/>
                    </a:lnTo>
                    <a:lnTo>
                      <a:pt x="2781" y="1045"/>
                    </a:lnTo>
                    <a:lnTo>
                      <a:pt x="2783" y="1045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65"/>
                    </a:lnTo>
                    <a:lnTo>
                      <a:pt x="3675" y="1165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2" y="990"/>
                    </a:lnTo>
                    <a:lnTo>
                      <a:pt x="5852" y="992"/>
                    </a:lnTo>
                    <a:lnTo>
                      <a:pt x="5852" y="1026"/>
                    </a:lnTo>
                    <a:lnTo>
                      <a:pt x="5852" y="1026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8"/>
                    </a:moveTo>
                    <a:lnTo>
                      <a:pt x="6243" y="938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8"/>
                    </a:lnTo>
                    <a:moveTo>
                      <a:pt x="3750" y="929"/>
                    </a:moveTo>
                    <a:lnTo>
                      <a:pt x="3748" y="929"/>
                    </a:lnTo>
                    <a:lnTo>
                      <a:pt x="3748" y="931"/>
                    </a:lnTo>
                    <a:lnTo>
                      <a:pt x="3748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5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2" y="888"/>
                    </a:lnTo>
                    <a:lnTo>
                      <a:pt x="6292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2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50"/>
                    </a:lnTo>
                    <a:moveTo>
                      <a:pt x="3006" y="765"/>
                    </a:moveTo>
                    <a:lnTo>
                      <a:pt x="3003" y="765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6" y="921"/>
                    </a:lnTo>
                    <a:lnTo>
                      <a:pt x="3006" y="765"/>
                    </a:lnTo>
                    <a:moveTo>
                      <a:pt x="913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0"/>
                    </a:lnTo>
                    <a:lnTo>
                      <a:pt x="913" y="770"/>
                    </a:lnTo>
                    <a:lnTo>
                      <a:pt x="913" y="753"/>
                    </a:lnTo>
                    <a:moveTo>
                      <a:pt x="5037" y="734"/>
                    </a:moveTo>
                    <a:lnTo>
                      <a:pt x="5034" y="734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7" y="914"/>
                    </a:lnTo>
                    <a:lnTo>
                      <a:pt x="5037" y="734"/>
                    </a:lnTo>
                    <a:moveTo>
                      <a:pt x="3043" y="659"/>
                    </a:moveTo>
                    <a:lnTo>
                      <a:pt x="3041" y="659"/>
                    </a:lnTo>
                    <a:lnTo>
                      <a:pt x="3041" y="661"/>
                    </a:lnTo>
                    <a:lnTo>
                      <a:pt x="3041" y="727"/>
                    </a:lnTo>
                    <a:lnTo>
                      <a:pt x="3043" y="727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21"/>
                    </a:lnTo>
                    <a:lnTo>
                      <a:pt x="0" y="1395"/>
                    </a:lnTo>
                    <a:lnTo>
                      <a:pt x="3" y="1395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4"/>
                    </a:lnTo>
                    <a:lnTo>
                      <a:pt x="5157" y="673"/>
                    </a:lnTo>
                    <a:lnTo>
                      <a:pt x="5157" y="673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5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599"/>
                    </a:lnTo>
                    <a:lnTo>
                      <a:pt x="3188" y="599"/>
                    </a:lnTo>
                    <a:lnTo>
                      <a:pt x="3188" y="583"/>
                    </a:lnTo>
                    <a:moveTo>
                      <a:pt x="208" y="550"/>
                    </a:moveTo>
                    <a:lnTo>
                      <a:pt x="206" y="550"/>
                    </a:lnTo>
                    <a:lnTo>
                      <a:pt x="206" y="550"/>
                    </a:lnTo>
                    <a:lnTo>
                      <a:pt x="206" y="559"/>
                    </a:lnTo>
                    <a:lnTo>
                      <a:pt x="208" y="559"/>
                    </a:lnTo>
                    <a:lnTo>
                      <a:pt x="208" y="550"/>
                    </a:lnTo>
                    <a:moveTo>
                      <a:pt x="6931" y="510"/>
                    </a:moveTo>
                    <a:lnTo>
                      <a:pt x="6928" y="510"/>
                    </a:lnTo>
                    <a:lnTo>
                      <a:pt x="6928" y="512"/>
                    </a:lnTo>
                    <a:lnTo>
                      <a:pt x="6928" y="1035"/>
                    </a:lnTo>
                    <a:lnTo>
                      <a:pt x="6931" y="1035"/>
                    </a:lnTo>
                    <a:lnTo>
                      <a:pt x="6931" y="510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6" y="507"/>
                    </a:lnTo>
                    <a:lnTo>
                      <a:pt x="4079" y="531"/>
                    </a:lnTo>
                    <a:lnTo>
                      <a:pt x="4079" y="531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7" y="644"/>
                    </a:lnTo>
                    <a:lnTo>
                      <a:pt x="3857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2" y="491"/>
                    </a:lnTo>
                    <a:lnTo>
                      <a:pt x="3942" y="455"/>
                    </a:lnTo>
                    <a:moveTo>
                      <a:pt x="3235" y="436"/>
                    </a:moveTo>
                    <a:lnTo>
                      <a:pt x="3233" y="436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6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73"/>
                    </a:lnTo>
                    <a:lnTo>
                      <a:pt x="1715" y="1073"/>
                    </a:lnTo>
                    <a:lnTo>
                      <a:pt x="1715" y="370"/>
                    </a:lnTo>
                    <a:moveTo>
                      <a:pt x="3956" y="330"/>
                    </a:moveTo>
                    <a:lnTo>
                      <a:pt x="3954" y="330"/>
                    </a:lnTo>
                    <a:lnTo>
                      <a:pt x="3954" y="330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30"/>
                    </a:lnTo>
                    <a:moveTo>
                      <a:pt x="4609" y="233"/>
                    </a:moveTo>
                    <a:lnTo>
                      <a:pt x="4606" y="233"/>
                    </a:lnTo>
                    <a:lnTo>
                      <a:pt x="4606" y="235"/>
                    </a:lnTo>
                    <a:lnTo>
                      <a:pt x="4550" y="448"/>
                    </a:lnTo>
                    <a:lnTo>
                      <a:pt x="4550" y="448"/>
                    </a:lnTo>
                    <a:lnTo>
                      <a:pt x="4609" y="233"/>
                    </a:lnTo>
                    <a:moveTo>
                      <a:pt x="4708" y="173"/>
                    </a:moveTo>
                    <a:lnTo>
                      <a:pt x="4706" y="173"/>
                    </a:lnTo>
                    <a:lnTo>
                      <a:pt x="4706" y="173"/>
                    </a:lnTo>
                    <a:lnTo>
                      <a:pt x="4708" y="173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4"/>
                    </a:lnTo>
                    <a:lnTo>
                      <a:pt x="4758" y="124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9" name="Freeform 82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close/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close/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close/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close/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close/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close/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close/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close/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close/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close/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close/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close/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close/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close/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close/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close/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close/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close/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close/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close/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close/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close/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close/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close/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close/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close/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close/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close/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close/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close/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3E3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0" name="Freeform 83"/>
              <p:cNvSpPr>
                <a:spLocks noEditPoints="1"/>
              </p:cNvSpPr>
              <p:nvPr/>
            </p:nvSpPr>
            <p:spPr bwMode="auto">
              <a:xfrm>
                <a:off x="85" y="1719"/>
                <a:ext cx="6930" cy="1395"/>
              </a:xfrm>
              <a:custGeom>
                <a:avLst/>
                <a:gdLst>
                  <a:gd name="T0" fmla="*/ 3613 w 6930"/>
                  <a:gd name="T1" fmla="*/ 1258 h 1395"/>
                  <a:gd name="T2" fmla="*/ 5734 w 6930"/>
                  <a:gd name="T3" fmla="*/ 1208 h 1395"/>
                  <a:gd name="T4" fmla="*/ 5736 w 6930"/>
                  <a:gd name="T5" fmla="*/ 1267 h 1395"/>
                  <a:gd name="T6" fmla="*/ 1591 w 6930"/>
                  <a:gd name="T7" fmla="*/ 1132 h 1395"/>
                  <a:gd name="T8" fmla="*/ 1593 w 6930"/>
                  <a:gd name="T9" fmla="*/ 1132 h 1395"/>
                  <a:gd name="T10" fmla="*/ 5757 w 6930"/>
                  <a:gd name="T11" fmla="*/ 1130 h 1395"/>
                  <a:gd name="T12" fmla="*/ 5760 w 6930"/>
                  <a:gd name="T13" fmla="*/ 1182 h 1395"/>
                  <a:gd name="T14" fmla="*/ 6225 w 6930"/>
                  <a:gd name="T15" fmla="*/ 1127 h 1395"/>
                  <a:gd name="T16" fmla="*/ 6225 w 6930"/>
                  <a:gd name="T17" fmla="*/ 1127 h 1395"/>
                  <a:gd name="T18" fmla="*/ 1366 w 6930"/>
                  <a:gd name="T19" fmla="*/ 1109 h 1395"/>
                  <a:gd name="T20" fmla="*/ 1369 w 6930"/>
                  <a:gd name="T21" fmla="*/ 1082 h 1395"/>
                  <a:gd name="T22" fmla="*/ 2761 w 6930"/>
                  <a:gd name="T23" fmla="*/ 1064 h 1395"/>
                  <a:gd name="T24" fmla="*/ 5835 w 6930"/>
                  <a:gd name="T25" fmla="*/ 1040 h 1395"/>
                  <a:gd name="T26" fmla="*/ 5833 w 6930"/>
                  <a:gd name="T27" fmla="*/ 1071 h 1395"/>
                  <a:gd name="T28" fmla="*/ 2780 w 6930"/>
                  <a:gd name="T29" fmla="*/ 1011 h 1395"/>
                  <a:gd name="T30" fmla="*/ 2780 w 6930"/>
                  <a:gd name="T31" fmla="*/ 1045 h 1395"/>
                  <a:gd name="T32" fmla="*/ 3672 w 6930"/>
                  <a:gd name="T33" fmla="*/ 992 h 1395"/>
                  <a:gd name="T34" fmla="*/ 3674 w 6930"/>
                  <a:gd name="T35" fmla="*/ 992 h 1395"/>
                  <a:gd name="T36" fmla="*/ 5852 w 6930"/>
                  <a:gd name="T37" fmla="*/ 1023 h 1395"/>
                  <a:gd name="T38" fmla="*/ 5854 w 6930"/>
                  <a:gd name="T39" fmla="*/ 990 h 1395"/>
                  <a:gd name="T40" fmla="*/ 6242 w 6930"/>
                  <a:gd name="T41" fmla="*/ 1111 h 1395"/>
                  <a:gd name="T42" fmla="*/ 6244 w 6930"/>
                  <a:gd name="T43" fmla="*/ 936 h 1395"/>
                  <a:gd name="T44" fmla="*/ 3747 w 6930"/>
                  <a:gd name="T45" fmla="*/ 936 h 1395"/>
                  <a:gd name="T46" fmla="*/ 6292 w 6930"/>
                  <a:gd name="T47" fmla="*/ 879 h 1395"/>
                  <a:gd name="T48" fmla="*/ 6292 w 6930"/>
                  <a:gd name="T49" fmla="*/ 886 h 1395"/>
                  <a:gd name="T50" fmla="*/ 6301 w 6930"/>
                  <a:gd name="T51" fmla="*/ 850 h 1395"/>
                  <a:gd name="T52" fmla="*/ 6301 w 6930"/>
                  <a:gd name="T53" fmla="*/ 872 h 1395"/>
                  <a:gd name="T54" fmla="*/ 3005 w 6930"/>
                  <a:gd name="T55" fmla="*/ 763 h 1395"/>
                  <a:gd name="T56" fmla="*/ 3003 w 6930"/>
                  <a:gd name="T57" fmla="*/ 921 h 1395"/>
                  <a:gd name="T58" fmla="*/ 910 w 6930"/>
                  <a:gd name="T59" fmla="*/ 753 h 1395"/>
                  <a:gd name="T60" fmla="*/ 912 w 6930"/>
                  <a:gd name="T61" fmla="*/ 753 h 1395"/>
                  <a:gd name="T62" fmla="*/ 5034 w 6930"/>
                  <a:gd name="T63" fmla="*/ 914 h 1395"/>
                  <a:gd name="T64" fmla="*/ 3040 w 6930"/>
                  <a:gd name="T65" fmla="*/ 656 h 1395"/>
                  <a:gd name="T66" fmla="*/ 3040 w 6930"/>
                  <a:gd name="T67" fmla="*/ 723 h 1395"/>
                  <a:gd name="T68" fmla="*/ 0 w 6930"/>
                  <a:gd name="T69" fmla="*/ 616 h 1395"/>
                  <a:gd name="T70" fmla="*/ 0 w 6930"/>
                  <a:gd name="T71" fmla="*/ 616 h 1395"/>
                  <a:gd name="T72" fmla="*/ 5154 w 6930"/>
                  <a:gd name="T73" fmla="*/ 673 h 1395"/>
                  <a:gd name="T74" fmla="*/ 3185 w 6930"/>
                  <a:gd name="T75" fmla="*/ 581 h 1395"/>
                  <a:gd name="T76" fmla="*/ 3187 w 6930"/>
                  <a:gd name="T77" fmla="*/ 599 h 1395"/>
                  <a:gd name="T78" fmla="*/ 205 w 6930"/>
                  <a:gd name="T79" fmla="*/ 550 h 1395"/>
                  <a:gd name="T80" fmla="*/ 6930 w 6930"/>
                  <a:gd name="T81" fmla="*/ 510 h 1395"/>
                  <a:gd name="T82" fmla="*/ 6930 w 6930"/>
                  <a:gd name="T83" fmla="*/ 1035 h 1395"/>
                  <a:gd name="T84" fmla="*/ 4095 w 6930"/>
                  <a:gd name="T85" fmla="*/ 505 h 1395"/>
                  <a:gd name="T86" fmla="*/ 3204 w 6930"/>
                  <a:gd name="T87" fmla="*/ 500 h 1395"/>
                  <a:gd name="T88" fmla="*/ 3201 w 6930"/>
                  <a:gd name="T89" fmla="*/ 564 h 1395"/>
                  <a:gd name="T90" fmla="*/ 3204 w 6930"/>
                  <a:gd name="T91" fmla="*/ 500 h 1395"/>
                  <a:gd name="T92" fmla="*/ 3939 w 6930"/>
                  <a:gd name="T93" fmla="*/ 455 h 1395"/>
                  <a:gd name="T94" fmla="*/ 3859 w 6930"/>
                  <a:gd name="T95" fmla="*/ 869 h 1395"/>
                  <a:gd name="T96" fmla="*/ 3232 w 6930"/>
                  <a:gd name="T97" fmla="*/ 434 h 1395"/>
                  <a:gd name="T98" fmla="*/ 3232 w 6930"/>
                  <a:gd name="T99" fmla="*/ 472 h 1395"/>
                  <a:gd name="T100" fmla="*/ 3946 w 6930"/>
                  <a:gd name="T101" fmla="*/ 391 h 1395"/>
                  <a:gd name="T102" fmla="*/ 3944 w 6930"/>
                  <a:gd name="T103" fmla="*/ 448 h 1395"/>
                  <a:gd name="T104" fmla="*/ 3946 w 6930"/>
                  <a:gd name="T105" fmla="*/ 391 h 1395"/>
                  <a:gd name="T106" fmla="*/ 1712 w 6930"/>
                  <a:gd name="T107" fmla="*/ 1073 h 1395"/>
                  <a:gd name="T108" fmla="*/ 3953 w 6930"/>
                  <a:gd name="T109" fmla="*/ 327 h 1395"/>
                  <a:gd name="T110" fmla="*/ 3953 w 6930"/>
                  <a:gd name="T111" fmla="*/ 382 h 1395"/>
                  <a:gd name="T112" fmla="*/ 4606 w 6930"/>
                  <a:gd name="T113" fmla="*/ 233 h 1395"/>
                  <a:gd name="T114" fmla="*/ 4608 w 6930"/>
                  <a:gd name="T115" fmla="*/ 233 h 1395"/>
                  <a:gd name="T116" fmla="*/ 4705 w 6930"/>
                  <a:gd name="T117" fmla="*/ 173 h 1395"/>
                  <a:gd name="T118" fmla="*/ 4755 w 6930"/>
                  <a:gd name="T119" fmla="*/ 0 h 1395"/>
                  <a:gd name="T120" fmla="*/ 4755 w 6930"/>
                  <a:gd name="T121" fmla="*/ 121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5">
                    <a:moveTo>
                      <a:pt x="3615" y="1222"/>
                    </a:moveTo>
                    <a:lnTo>
                      <a:pt x="3613" y="1222"/>
                    </a:lnTo>
                    <a:lnTo>
                      <a:pt x="3613" y="1225"/>
                    </a:lnTo>
                    <a:lnTo>
                      <a:pt x="3613" y="1258"/>
                    </a:lnTo>
                    <a:lnTo>
                      <a:pt x="3615" y="1258"/>
                    </a:lnTo>
                    <a:lnTo>
                      <a:pt x="3615" y="1222"/>
                    </a:lnTo>
                    <a:moveTo>
                      <a:pt x="5736" y="1208"/>
                    </a:moveTo>
                    <a:lnTo>
                      <a:pt x="5734" y="1208"/>
                    </a:lnTo>
                    <a:lnTo>
                      <a:pt x="5734" y="1208"/>
                    </a:lnTo>
                    <a:lnTo>
                      <a:pt x="5734" y="1210"/>
                    </a:lnTo>
                    <a:lnTo>
                      <a:pt x="5734" y="1267"/>
                    </a:lnTo>
                    <a:lnTo>
                      <a:pt x="5736" y="1267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1" y="1132"/>
                    </a:lnTo>
                    <a:lnTo>
                      <a:pt x="1591" y="1132"/>
                    </a:lnTo>
                    <a:lnTo>
                      <a:pt x="1591" y="1135"/>
                    </a:lnTo>
                    <a:lnTo>
                      <a:pt x="1591" y="1135"/>
                    </a:lnTo>
                    <a:lnTo>
                      <a:pt x="1591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0" y="1127"/>
                    </a:moveTo>
                    <a:lnTo>
                      <a:pt x="5757" y="1127"/>
                    </a:lnTo>
                    <a:lnTo>
                      <a:pt x="5757" y="1130"/>
                    </a:lnTo>
                    <a:lnTo>
                      <a:pt x="5757" y="1184"/>
                    </a:lnTo>
                    <a:lnTo>
                      <a:pt x="5760" y="1184"/>
                    </a:lnTo>
                    <a:lnTo>
                      <a:pt x="5760" y="1182"/>
                    </a:lnTo>
                    <a:lnTo>
                      <a:pt x="5760" y="1182"/>
                    </a:lnTo>
                    <a:lnTo>
                      <a:pt x="5760" y="1127"/>
                    </a:lnTo>
                    <a:moveTo>
                      <a:pt x="6225" y="1127"/>
                    </a:moveTo>
                    <a:lnTo>
                      <a:pt x="6225" y="1127"/>
                    </a:lnTo>
                    <a:lnTo>
                      <a:pt x="6225" y="1127"/>
                    </a:lnTo>
                    <a:lnTo>
                      <a:pt x="6225" y="1130"/>
                    </a:lnTo>
                    <a:lnTo>
                      <a:pt x="6225" y="1151"/>
                    </a:lnTo>
                    <a:lnTo>
                      <a:pt x="6225" y="1151"/>
                    </a:lnTo>
                    <a:lnTo>
                      <a:pt x="6225" y="1127"/>
                    </a:lnTo>
                    <a:moveTo>
                      <a:pt x="1369" y="1082"/>
                    </a:moveTo>
                    <a:lnTo>
                      <a:pt x="1366" y="1082"/>
                    </a:lnTo>
                    <a:lnTo>
                      <a:pt x="1366" y="1085"/>
                    </a:lnTo>
                    <a:lnTo>
                      <a:pt x="1366" y="1109"/>
                    </a:lnTo>
                    <a:lnTo>
                      <a:pt x="1366" y="1109"/>
                    </a:lnTo>
                    <a:lnTo>
                      <a:pt x="1366" y="1106"/>
                    </a:lnTo>
                    <a:lnTo>
                      <a:pt x="1369" y="1106"/>
                    </a:lnTo>
                    <a:lnTo>
                      <a:pt x="1369" y="1082"/>
                    </a:lnTo>
                    <a:moveTo>
                      <a:pt x="2764" y="1061"/>
                    </a:moveTo>
                    <a:lnTo>
                      <a:pt x="2764" y="1061"/>
                    </a:lnTo>
                    <a:lnTo>
                      <a:pt x="2761" y="1061"/>
                    </a:lnTo>
                    <a:lnTo>
                      <a:pt x="2761" y="1064"/>
                    </a:lnTo>
                    <a:lnTo>
                      <a:pt x="2761" y="1182"/>
                    </a:lnTo>
                    <a:lnTo>
                      <a:pt x="2764" y="1182"/>
                    </a:lnTo>
                    <a:lnTo>
                      <a:pt x="2764" y="1061"/>
                    </a:lnTo>
                    <a:moveTo>
                      <a:pt x="5835" y="1040"/>
                    </a:moveTo>
                    <a:lnTo>
                      <a:pt x="5835" y="1040"/>
                    </a:lnTo>
                    <a:lnTo>
                      <a:pt x="5833" y="1040"/>
                    </a:lnTo>
                    <a:lnTo>
                      <a:pt x="5833" y="1042"/>
                    </a:lnTo>
                    <a:lnTo>
                      <a:pt x="5833" y="1071"/>
                    </a:lnTo>
                    <a:lnTo>
                      <a:pt x="5835" y="1071"/>
                    </a:lnTo>
                    <a:lnTo>
                      <a:pt x="5835" y="1040"/>
                    </a:lnTo>
                    <a:moveTo>
                      <a:pt x="2780" y="1011"/>
                    </a:moveTo>
                    <a:lnTo>
                      <a:pt x="2780" y="1011"/>
                    </a:lnTo>
                    <a:lnTo>
                      <a:pt x="2780" y="1014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45"/>
                    </a:lnTo>
                    <a:lnTo>
                      <a:pt x="2780" y="1011"/>
                    </a:lnTo>
                    <a:moveTo>
                      <a:pt x="3674" y="992"/>
                    </a:moveTo>
                    <a:lnTo>
                      <a:pt x="3672" y="992"/>
                    </a:lnTo>
                    <a:lnTo>
                      <a:pt x="3672" y="995"/>
                    </a:lnTo>
                    <a:lnTo>
                      <a:pt x="3672" y="1165"/>
                    </a:lnTo>
                    <a:lnTo>
                      <a:pt x="3674" y="1165"/>
                    </a:lnTo>
                    <a:lnTo>
                      <a:pt x="3674" y="992"/>
                    </a:lnTo>
                    <a:moveTo>
                      <a:pt x="5854" y="990"/>
                    </a:moveTo>
                    <a:lnTo>
                      <a:pt x="5852" y="990"/>
                    </a:lnTo>
                    <a:lnTo>
                      <a:pt x="5852" y="990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2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4" y="936"/>
                    </a:moveTo>
                    <a:lnTo>
                      <a:pt x="6242" y="936"/>
                    </a:lnTo>
                    <a:lnTo>
                      <a:pt x="6242" y="938"/>
                    </a:lnTo>
                    <a:lnTo>
                      <a:pt x="6242" y="1111"/>
                    </a:lnTo>
                    <a:lnTo>
                      <a:pt x="6244" y="1111"/>
                    </a:lnTo>
                    <a:lnTo>
                      <a:pt x="6244" y="1109"/>
                    </a:lnTo>
                    <a:lnTo>
                      <a:pt x="6244" y="1109"/>
                    </a:lnTo>
                    <a:lnTo>
                      <a:pt x="6244" y="936"/>
                    </a:lnTo>
                    <a:moveTo>
                      <a:pt x="3750" y="929"/>
                    </a:moveTo>
                    <a:lnTo>
                      <a:pt x="3747" y="929"/>
                    </a:lnTo>
                    <a:lnTo>
                      <a:pt x="3747" y="929"/>
                    </a:lnTo>
                    <a:lnTo>
                      <a:pt x="3747" y="936"/>
                    </a:lnTo>
                    <a:lnTo>
                      <a:pt x="3750" y="936"/>
                    </a:lnTo>
                    <a:lnTo>
                      <a:pt x="3750" y="929"/>
                    </a:lnTo>
                    <a:moveTo>
                      <a:pt x="6294" y="879"/>
                    </a:move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79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2" y="886"/>
                    </a:lnTo>
                    <a:lnTo>
                      <a:pt x="6294" y="886"/>
                    </a:lnTo>
                    <a:lnTo>
                      <a:pt x="6294" y="879"/>
                    </a:lnTo>
                    <a:moveTo>
                      <a:pt x="6301" y="850"/>
                    </a:moveTo>
                    <a:lnTo>
                      <a:pt x="6299" y="850"/>
                    </a:lnTo>
                    <a:lnTo>
                      <a:pt x="6299" y="850"/>
                    </a:lnTo>
                    <a:lnTo>
                      <a:pt x="6299" y="872"/>
                    </a:lnTo>
                    <a:lnTo>
                      <a:pt x="6301" y="872"/>
                    </a:lnTo>
                    <a:lnTo>
                      <a:pt x="6301" y="869"/>
                    </a:lnTo>
                    <a:lnTo>
                      <a:pt x="6301" y="869"/>
                    </a:lnTo>
                    <a:lnTo>
                      <a:pt x="6301" y="850"/>
                    </a:lnTo>
                    <a:moveTo>
                      <a:pt x="3005" y="763"/>
                    </a:moveTo>
                    <a:lnTo>
                      <a:pt x="3003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1"/>
                    </a:lnTo>
                    <a:lnTo>
                      <a:pt x="3005" y="921"/>
                    </a:lnTo>
                    <a:lnTo>
                      <a:pt x="3005" y="763"/>
                    </a:lnTo>
                    <a:moveTo>
                      <a:pt x="912" y="753"/>
                    </a:moveTo>
                    <a:lnTo>
                      <a:pt x="910" y="753"/>
                    </a:lnTo>
                    <a:lnTo>
                      <a:pt x="910" y="753"/>
                    </a:lnTo>
                    <a:lnTo>
                      <a:pt x="910" y="770"/>
                    </a:lnTo>
                    <a:lnTo>
                      <a:pt x="912" y="770"/>
                    </a:lnTo>
                    <a:lnTo>
                      <a:pt x="912" y="753"/>
                    </a:lnTo>
                    <a:moveTo>
                      <a:pt x="5036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14"/>
                    </a:lnTo>
                    <a:lnTo>
                      <a:pt x="5036" y="914"/>
                    </a:lnTo>
                    <a:lnTo>
                      <a:pt x="5036" y="732"/>
                    </a:lnTo>
                    <a:moveTo>
                      <a:pt x="3043" y="656"/>
                    </a:moveTo>
                    <a:lnTo>
                      <a:pt x="3040" y="656"/>
                    </a:lnTo>
                    <a:lnTo>
                      <a:pt x="3040" y="659"/>
                    </a:lnTo>
                    <a:lnTo>
                      <a:pt x="3040" y="725"/>
                    </a:lnTo>
                    <a:lnTo>
                      <a:pt x="3040" y="725"/>
                    </a:lnTo>
                    <a:lnTo>
                      <a:pt x="3040" y="723"/>
                    </a:lnTo>
                    <a:lnTo>
                      <a:pt x="3043" y="723"/>
                    </a:lnTo>
                    <a:lnTo>
                      <a:pt x="3043" y="656"/>
                    </a:lnTo>
                    <a:moveTo>
                      <a:pt x="0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5"/>
                    </a:lnTo>
                    <a:lnTo>
                      <a:pt x="0" y="1395"/>
                    </a:lnTo>
                    <a:lnTo>
                      <a:pt x="0" y="616"/>
                    </a:lnTo>
                    <a:moveTo>
                      <a:pt x="5157" y="609"/>
                    </a:moveTo>
                    <a:lnTo>
                      <a:pt x="5154" y="609"/>
                    </a:lnTo>
                    <a:lnTo>
                      <a:pt x="5154" y="611"/>
                    </a:lnTo>
                    <a:lnTo>
                      <a:pt x="5154" y="673"/>
                    </a:lnTo>
                    <a:lnTo>
                      <a:pt x="5157" y="673"/>
                    </a:lnTo>
                    <a:lnTo>
                      <a:pt x="5157" y="609"/>
                    </a:lnTo>
                    <a:moveTo>
                      <a:pt x="3187" y="581"/>
                    </a:moveTo>
                    <a:lnTo>
                      <a:pt x="3185" y="581"/>
                    </a:lnTo>
                    <a:lnTo>
                      <a:pt x="3185" y="581"/>
                    </a:lnTo>
                    <a:lnTo>
                      <a:pt x="3185" y="583"/>
                    </a:lnTo>
                    <a:lnTo>
                      <a:pt x="3185" y="599"/>
                    </a:lnTo>
                    <a:lnTo>
                      <a:pt x="3187" y="599"/>
                    </a:lnTo>
                    <a:lnTo>
                      <a:pt x="3187" y="581"/>
                    </a:lnTo>
                    <a:moveTo>
                      <a:pt x="205" y="547"/>
                    </a:moveTo>
                    <a:lnTo>
                      <a:pt x="205" y="547"/>
                    </a:lnTo>
                    <a:lnTo>
                      <a:pt x="205" y="550"/>
                    </a:lnTo>
                    <a:lnTo>
                      <a:pt x="205" y="559"/>
                    </a:lnTo>
                    <a:lnTo>
                      <a:pt x="205" y="559"/>
                    </a:lnTo>
                    <a:lnTo>
                      <a:pt x="205" y="547"/>
                    </a:lnTo>
                    <a:moveTo>
                      <a:pt x="6930" y="510"/>
                    </a:moveTo>
                    <a:lnTo>
                      <a:pt x="6928" y="510"/>
                    </a:lnTo>
                    <a:lnTo>
                      <a:pt x="6928" y="510"/>
                    </a:lnTo>
                    <a:lnTo>
                      <a:pt x="6928" y="1035"/>
                    </a:lnTo>
                    <a:lnTo>
                      <a:pt x="6930" y="1035"/>
                    </a:lnTo>
                    <a:lnTo>
                      <a:pt x="6930" y="510"/>
                    </a:lnTo>
                    <a:moveTo>
                      <a:pt x="4097" y="502"/>
                    </a:moveTo>
                    <a:lnTo>
                      <a:pt x="4097" y="502"/>
                    </a:lnTo>
                    <a:lnTo>
                      <a:pt x="4095" y="505"/>
                    </a:lnTo>
                    <a:lnTo>
                      <a:pt x="4076" y="531"/>
                    </a:lnTo>
                    <a:lnTo>
                      <a:pt x="4076" y="531"/>
                    </a:lnTo>
                    <a:lnTo>
                      <a:pt x="4097" y="502"/>
                    </a:lnTo>
                    <a:moveTo>
                      <a:pt x="3204" y="500"/>
                    </a:moveTo>
                    <a:lnTo>
                      <a:pt x="3204" y="500"/>
                    </a:lnTo>
                    <a:lnTo>
                      <a:pt x="3201" y="500"/>
                    </a:lnTo>
                    <a:lnTo>
                      <a:pt x="3201" y="502"/>
                    </a:lnTo>
                    <a:lnTo>
                      <a:pt x="3201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0"/>
                    </a:lnTo>
                    <a:moveTo>
                      <a:pt x="3941" y="453"/>
                    </a:moveTo>
                    <a:lnTo>
                      <a:pt x="3939" y="453"/>
                    </a:lnTo>
                    <a:lnTo>
                      <a:pt x="3939" y="453"/>
                    </a:lnTo>
                    <a:lnTo>
                      <a:pt x="3939" y="455"/>
                    </a:lnTo>
                    <a:lnTo>
                      <a:pt x="3939" y="491"/>
                    </a:lnTo>
                    <a:lnTo>
                      <a:pt x="3856" y="642"/>
                    </a:lnTo>
                    <a:lnTo>
                      <a:pt x="3856" y="869"/>
                    </a:lnTo>
                    <a:lnTo>
                      <a:pt x="3859" y="869"/>
                    </a:lnTo>
                    <a:lnTo>
                      <a:pt x="3859" y="642"/>
                    </a:lnTo>
                    <a:lnTo>
                      <a:pt x="3941" y="488"/>
                    </a:lnTo>
                    <a:lnTo>
                      <a:pt x="3941" y="453"/>
                    </a:lnTo>
                    <a:moveTo>
                      <a:pt x="3232" y="434"/>
                    </a:moveTo>
                    <a:lnTo>
                      <a:pt x="3232" y="434"/>
                    </a:lnTo>
                    <a:lnTo>
                      <a:pt x="3232" y="436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72"/>
                    </a:lnTo>
                    <a:lnTo>
                      <a:pt x="3232" y="434"/>
                    </a:lnTo>
                    <a:moveTo>
                      <a:pt x="3946" y="391"/>
                    </a:moveTo>
                    <a:lnTo>
                      <a:pt x="3946" y="391"/>
                    </a:lnTo>
                    <a:lnTo>
                      <a:pt x="3944" y="391"/>
                    </a:lnTo>
                    <a:lnTo>
                      <a:pt x="3944" y="391"/>
                    </a:lnTo>
                    <a:lnTo>
                      <a:pt x="3944" y="448"/>
                    </a:lnTo>
                    <a:lnTo>
                      <a:pt x="3946" y="448"/>
                    </a:lnTo>
                    <a:lnTo>
                      <a:pt x="3946" y="446"/>
                    </a:lnTo>
                    <a:lnTo>
                      <a:pt x="3946" y="446"/>
                    </a:lnTo>
                    <a:lnTo>
                      <a:pt x="3946" y="391"/>
                    </a:lnTo>
                    <a:moveTo>
                      <a:pt x="1714" y="367"/>
                    </a:moveTo>
                    <a:lnTo>
                      <a:pt x="1712" y="367"/>
                    </a:lnTo>
                    <a:lnTo>
                      <a:pt x="1712" y="370"/>
                    </a:lnTo>
                    <a:lnTo>
                      <a:pt x="1712" y="1073"/>
                    </a:lnTo>
                    <a:lnTo>
                      <a:pt x="1714" y="1073"/>
                    </a:lnTo>
                    <a:lnTo>
                      <a:pt x="1714" y="367"/>
                    </a:lnTo>
                    <a:moveTo>
                      <a:pt x="3953" y="327"/>
                    </a:moveTo>
                    <a:lnTo>
                      <a:pt x="3953" y="327"/>
                    </a:lnTo>
                    <a:lnTo>
                      <a:pt x="3953" y="330"/>
                    </a:lnTo>
                    <a:lnTo>
                      <a:pt x="3953" y="384"/>
                    </a:lnTo>
                    <a:lnTo>
                      <a:pt x="3953" y="384"/>
                    </a:lnTo>
                    <a:lnTo>
                      <a:pt x="3953" y="382"/>
                    </a:lnTo>
                    <a:lnTo>
                      <a:pt x="3953" y="382"/>
                    </a:lnTo>
                    <a:lnTo>
                      <a:pt x="3953" y="327"/>
                    </a:lnTo>
                    <a:moveTo>
                      <a:pt x="4608" y="233"/>
                    </a:moveTo>
                    <a:lnTo>
                      <a:pt x="4606" y="233"/>
                    </a:lnTo>
                    <a:lnTo>
                      <a:pt x="4606" y="233"/>
                    </a:lnTo>
                    <a:lnTo>
                      <a:pt x="4547" y="448"/>
                    </a:lnTo>
                    <a:lnTo>
                      <a:pt x="4549" y="446"/>
                    </a:lnTo>
                    <a:lnTo>
                      <a:pt x="4608" y="233"/>
                    </a:lnTo>
                    <a:moveTo>
                      <a:pt x="4707" y="171"/>
                    </a:moveTo>
                    <a:lnTo>
                      <a:pt x="4705" y="171"/>
                    </a:lnTo>
                    <a:lnTo>
                      <a:pt x="4705" y="173"/>
                    </a:lnTo>
                    <a:lnTo>
                      <a:pt x="4705" y="173"/>
                    </a:lnTo>
                    <a:lnTo>
                      <a:pt x="4707" y="173"/>
                    </a:lnTo>
                    <a:lnTo>
                      <a:pt x="4707" y="171"/>
                    </a:lnTo>
                    <a:moveTo>
                      <a:pt x="4757" y="0"/>
                    </a:moveTo>
                    <a:lnTo>
                      <a:pt x="4755" y="0"/>
                    </a:lnTo>
                    <a:lnTo>
                      <a:pt x="4755" y="0"/>
                    </a:lnTo>
                    <a:lnTo>
                      <a:pt x="4755" y="124"/>
                    </a:lnTo>
                    <a:lnTo>
                      <a:pt x="4755" y="124"/>
                    </a:lnTo>
                    <a:lnTo>
                      <a:pt x="4755" y="121"/>
                    </a:lnTo>
                    <a:lnTo>
                      <a:pt x="4757" y="121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1" name="Freeform 84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close/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close/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close/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close/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close/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close/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close/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close/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close/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close/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close/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close/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close/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close/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close/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close/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close/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close/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close/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close/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close/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close/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close/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close/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close/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2" name="Freeform 85"/>
              <p:cNvSpPr>
                <a:spLocks noEditPoints="1"/>
              </p:cNvSpPr>
              <p:nvPr/>
            </p:nvSpPr>
            <p:spPr bwMode="auto">
              <a:xfrm>
                <a:off x="85" y="1717"/>
                <a:ext cx="6932" cy="1397"/>
              </a:xfrm>
              <a:custGeom>
                <a:avLst/>
                <a:gdLst>
                  <a:gd name="T0" fmla="*/ 3615 w 6932"/>
                  <a:gd name="T1" fmla="*/ 1260 h 1397"/>
                  <a:gd name="T2" fmla="*/ 5736 w 6932"/>
                  <a:gd name="T3" fmla="*/ 1208 h 1397"/>
                  <a:gd name="T4" fmla="*/ 5736 w 6932"/>
                  <a:gd name="T5" fmla="*/ 1269 h 1397"/>
                  <a:gd name="T6" fmla="*/ 1593 w 6932"/>
                  <a:gd name="T7" fmla="*/ 1134 h 1397"/>
                  <a:gd name="T8" fmla="*/ 1593 w 6932"/>
                  <a:gd name="T9" fmla="*/ 1132 h 1397"/>
                  <a:gd name="T10" fmla="*/ 5760 w 6932"/>
                  <a:gd name="T11" fmla="*/ 1129 h 1397"/>
                  <a:gd name="T12" fmla="*/ 5762 w 6932"/>
                  <a:gd name="T13" fmla="*/ 1182 h 1397"/>
                  <a:gd name="T14" fmla="*/ 6225 w 6932"/>
                  <a:gd name="T15" fmla="*/ 1127 h 1397"/>
                  <a:gd name="T16" fmla="*/ 6228 w 6932"/>
                  <a:gd name="T17" fmla="*/ 1127 h 1397"/>
                  <a:gd name="T18" fmla="*/ 1369 w 6932"/>
                  <a:gd name="T19" fmla="*/ 1108 h 1397"/>
                  <a:gd name="T20" fmla="*/ 1369 w 6932"/>
                  <a:gd name="T21" fmla="*/ 1084 h 1397"/>
                  <a:gd name="T22" fmla="*/ 2764 w 6932"/>
                  <a:gd name="T23" fmla="*/ 1063 h 1397"/>
                  <a:gd name="T24" fmla="*/ 5838 w 6932"/>
                  <a:gd name="T25" fmla="*/ 1042 h 1397"/>
                  <a:gd name="T26" fmla="*/ 5835 w 6932"/>
                  <a:gd name="T27" fmla="*/ 1073 h 1397"/>
                  <a:gd name="T28" fmla="*/ 2780 w 6932"/>
                  <a:gd name="T29" fmla="*/ 1013 h 1397"/>
                  <a:gd name="T30" fmla="*/ 2783 w 6932"/>
                  <a:gd name="T31" fmla="*/ 1044 h 1397"/>
                  <a:gd name="T32" fmla="*/ 3674 w 6932"/>
                  <a:gd name="T33" fmla="*/ 992 h 1397"/>
                  <a:gd name="T34" fmla="*/ 3676 w 6932"/>
                  <a:gd name="T35" fmla="*/ 992 h 1397"/>
                  <a:gd name="T36" fmla="*/ 5854 w 6932"/>
                  <a:gd name="T37" fmla="*/ 1025 h 1397"/>
                  <a:gd name="T38" fmla="*/ 5854 w 6932"/>
                  <a:gd name="T39" fmla="*/ 990 h 1397"/>
                  <a:gd name="T40" fmla="*/ 6244 w 6932"/>
                  <a:gd name="T41" fmla="*/ 1111 h 1397"/>
                  <a:gd name="T42" fmla="*/ 6247 w 6932"/>
                  <a:gd name="T43" fmla="*/ 935 h 1397"/>
                  <a:gd name="T44" fmla="*/ 3750 w 6932"/>
                  <a:gd name="T45" fmla="*/ 938 h 1397"/>
                  <a:gd name="T46" fmla="*/ 6294 w 6932"/>
                  <a:gd name="T47" fmla="*/ 878 h 1397"/>
                  <a:gd name="T48" fmla="*/ 6294 w 6932"/>
                  <a:gd name="T49" fmla="*/ 888 h 1397"/>
                  <a:gd name="T50" fmla="*/ 6303 w 6932"/>
                  <a:gd name="T51" fmla="*/ 850 h 1397"/>
                  <a:gd name="T52" fmla="*/ 6303 w 6932"/>
                  <a:gd name="T53" fmla="*/ 871 h 1397"/>
                  <a:gd name="T54" fmla="*/ 3005 w 6932"/>
                  <a:gd name="T55" fmla="*/ 762 h 1397"/>
                  <a:gd name="T56" fmla="*/ 3005 w 6932"/>
                  <a:gd name="T57" fmla="*/ 923 h 1397"/>
                  <a:gd name="T58" fmla="*/ 912 w 6932"/>
                  <a:gd name="T59" fmla="*/ 753 h 1397"/>
                  <a:gd name="T60" fmla="*/ 915 w 6932"/>
                  <a:gd name="T61" fmla="*/ 753 h 1397"/>
                  <a:gd name="T62" fmla="*/ 5036 w 6932"/>
                  <a:gd name="T63" fmla="*/ 916 h 1397"/>
                  <a:gd name="T64" fmla="*/ 3043 w 6932"/>
                  <a:gd name="T65" fmla="*/ 656 h 1397"/>
                  <a:gd name="T66" fmla="*/ 3043 w 6932"/>
                  <a:gd name="T67" fmla="*/ 722 h 1397"/>
                  <a:gd name="T68" fmla="*/ 0 w 6932"/>
                  <a:gd name="T69" fmla="*/ 616 h 1397"/>
                  <a:gd name="T70" fmla="*/ 2 w 6932"/>
                  <a:gd name="T71" fmla="*/ 616 h 1397"/>
                  <a:gd name="T72" fmla="*/ 5157 w 6932"/>
                  <a:gd name="T73" fmla="*/ 675 h 1397"/>
                  <a:gd name="T74" fmla="*/ 3187 w 6932"/>
                  <a:gd name="T75" fmla="*/ 583 h 1397"/>
                  <a:gd name="T76" fmla="*/ 3189 w 6932"/>
                  <a:gd name="T77" fmla="*/ 601 h 1397"/>
                  <a:gd name="T78" fmla="*/ 205 w 6932"/>
                  <a:gd name="T79" fmla="*/ 549 h 1397"/>
                  <a:gd name="T80" fmla="*/ 6932 w 6932"/>
                  <a:gd name="T81" fmla="*/ 509 h 1397"/>
                  <a:gd name="T82" fmla="*/ 6932 w 6932"/>
                  <a:gd name="T83" fmla="*/ 1037 h 1397"/>
                  <a:gd name="T84" fmla="*/ 4097 w 6932"/>
                  <a:gd name="T85" fmla="*/ 504 h 1397"/>
                  <a:gd name="T86" fmla="*/ 3206 w 6932"/>
                  <a:gd name="T87" fmla="*/ 500 h 1397"/>
                  <a:gd name="T88" fmla="*/ 3204 w 6932"/>
                  <a:gd name="T89" fmla="*/ 566 h 1397"/>
                  <a:gd name="T90" fmla="*/ 3206 w 6932"/>
                  <a:gd name="T91" fmla="*/ 500 h 1397"/>
                  <a:gd name="T92" fmla="*/ 3941 w 6932"/>
                  <a:gd name="T93" fmla="*/ 455 h 1397"/>
                  <a:gd name="T94" fmla="*/ 3861 w 6932"/>
                  <a:gd name="T95" fmla="*/ 871 h 1397"/>
                  <a:gd name="T96" fmla="*/ 3234 w 6932"/>
                  <a:gd name="T97" fmla="*/ 433 h 1397"/>
                  <a:gd name="T98" fmla="*/ 3234 w 6932"/>
                  <a:gd name="T99" fmla="*/ 474 h 1397"/>
                  <a:gd name="T100" fmla="*/ 3948 w 6932"/>
                  <a:gd name="T101" fmla="*/ 391 h 1397"/>
                  <a:gd name="T102" fmla="*/ 3946 w 6932"/>
                  <a:gd name="T103" fmla="*/ 448 h 1397"/>
                  <a:gd name="T104" fmla="*/ 3948 w 6932"/>
                  <a:gd name="T105" fmla="*/ 391 h 1397"/>
                  <a:gd name="T106" fmla="*/ 1714 w 6932"/>
                  <a:gd name="T107" fmla="*/ 1075 h 1397"/>
                  <a:gd name="T108" fmla="*/ 3953 w 6932"/>
                  <a:gd name="T109" fmla="*/ 327 h 1397"/>
                  <a:gd name="T110" fmla="*/ 3955 w 6932"/>
                  <a:gd name="T111" fmla="*/ 381 h 1397"/>
                  <a:gd name="T112" fmla="*/ 4608 w 6932"/>
                  <a:gd name="T113" fmla="*/ 232 h 1397"/>
                  <a:gd name="T114" fmla="*/ 4608 w 6932"/>
                  <a:gd name="T115" fmla="*/ 232 h 1397"/>
                  <a:gd name="T116" fmla="*/ 4707 w 6932"/>
                  <a:gd name="T117" fmla="*/ 175 h 1397"/>
                  <a:gd name="T118" fmla="*/ 4757 w 6932"/>
                  <a:gd name="T119" fmla="*/ 0 h 1397"/>
                  <a:gd name="T120" fmla="*/ 4757 w 6932"/>
                  <a:gd name="T121" fmla="*/ 121 h 1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2" h="1397">
                    <a:moveTo>
                      <a:pt x="3617" y="1222"/>
                    </a:moveTo>
                    <a:lnTo>
                      <a:pt x="3615" y="1222"/>
                    </a:lnTo>
                    <a:lnTo>
                      <a:pt x="3615" y="1224"/>
                    </a:lnTo>
                    <a:lnTo>
                      <a:pt x="3615" y="1260"/>
                    </a:lnTo>
                    <a:lnTo>
                      <a:pt x="3617" y="1260"/>
                    </a:lnTo>
                    <a:lnTo>
                      <a:pt x="3617" y="1222"/>
                    </a:lnTo>
                    <a:moveTo>
                      <a:pt x="5736" y="1208"/>
                    </a:moveTo>
                    <a:lnTo>
                      <a:pt x="5736" y="1208"/>
                    </a:lnTo>
                    <a:lnTo>
                      <a:pt x="5736" y="1208"/>
                    </a:lnTo>
                    <a:lnTo>
                      <a:pt x="5736" y="1210"/>
                    </a:lnTo>
                    <a:lnTo>
                      <a:pt x="5736" y="1269"/>
                    </a:lnTo>
                    <a:lnTo>
                      <a:pt x="5736" y="1269"/>
                    </a:lnTo>
                    <a:lnTo>
                      <a:pt x="5736" y="1208"/>
                    </a:lnTo>
                    <a:moveTo>
                      <a:pt x="1593" y="1132"/>
                    </a:moveTo>
                    <a:lnTo>
                      <a:pt x="1593" y="1132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4"/>
                    </a:lnTo>
                    <a:lnTo>
                      <a:pt x="1593" y="1132"/>
                    </a:lnTo>
                    <a:lnTo>
                      <a:pt x="1593" y="1132"/>
                    </a:lnTo>
                    <a:lnTo>
                      <a:pt x="1593" y="1132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82"/>
                    </a:lnTo>
                    <a:lnTo>
                      <a:pt x="5762" y="1182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5" y="1127"/>
                    </a:lnTo>
                    <a:lnTo>
                      <a:pt x="6225" y="1129"/>
                    </a:lnTo>
                    <a:lnTo>
                      <a:pt x="6225" y="1153"/>
                    </a:lnTo>
                    <a:lnTo>
                      <a:pt x="6228" y="1153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9" y="1084"/>
                    </a:lnTo>
                    <a:lnTo>
                      <a:pt x="1369" y="1084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6"/>
                    </a:lnTo>
                    <a:lnTo>
                      <a:pt x="1369" y="1106"/>
                    </a:lnTo>
                    <a:lnTo>
                      <a:pt x="1369" y="1084"/>
                    </a:lnTo>
                    <a:moveTo>
                      <a:pt x="2766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184"/>
                    </a:lnTo>
                    <a:lnTo>
                      <a:pt x="2766" y="1184"/>
                    </a:lnTo>
                    <a:lnTo>
                      <a:pt x="2766" y="1063"/>
                    </a:lnTo>
                    <a:moveTo>
                      <a:pt x="5838" y="1042"/>
                    </a:move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42"/>
                    </a:lnTo>
                    <a:lnTo>
                      <a:pt x="5835" y="1073"/>
                    </a:lnTo>
                    <a:lnTo>
                      <a:pt x="5838" y="1073"/>
                    </a:lnTo>
                    <a:lnTo>
                      <a:pt x="5838" y="1042"/>
                    </a:lnTo>
                    <a:moveTo>
                      <a:pt x="2783" y="1011"/>
                    </a:moveTo>
                    <a:lnTo>
                      <a:pt x="2780" y="1013"/>
                    </a:lnTo>
                    <a:lnTo>
                      <a:pt x="2780" y="1013"/>
                    </a:lnTo>
                    <a:lnTo>
                      <a:pt x="2780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6" y="992"/>
                    </a:moveTo>
                    <a:lnTo>
                      <a:pt x="3674" y="992"/>
                    </a:lnTo>
                    <a:lnTo>
                      <a:pt x="3674" y="994"/>
                    </a:lnTo>
                    <a:lnTo>
                      <a:pt x="3674" y="1167"/>
                    </a:lnTo>
                    <a:lnTo>
                      <a:pt x="3676" y="1167"/>
                    </a:lnTo>
                    <a:lnTo>
                      <a:pt x="3676" y="992"/>
                    </a:lnTo>
                    <a:moveTo>
                      <a:pt x="5854" y="990"/>
                    </a:moveTo>
                    <a:lnTo>
                      <a:pt x="5854" y="990"/>
                    </a:lnTo>
                    <a:lnTo>
                      <a:pt x="5854" y="992"/>
                    </a:lnTo>
                    <a:lnTo>
                      <a:pt x="5854" y="1025"/>
                    </a:lnTo>
                    <a:lnTo>
                      <a:pt x="5854" y="1025"/>
                    </a:lnTo>
                    <a:lnTo>
                      <a:pt x="5854" y="1023"/>
                    </a:lnTo>
                    <a:lnTo>
                      <a:pt x="5854" y="1023"/>
                    </a:lnTo>
                    <a:lnTo>
                      <a:pt x="5854" y="990"/>
                    </a:lnTo>
                    <a:moveTo>
                      <a:pt x="6247" y="935"/>
                    </a:moveTo>
                    <a:lnTo>
                      <a:pt x="6244" y="935"/>
                    </a:lnTo>
                    <a:lnTo>
                      <a:pt x="6244" y="938"/>
                    </a:lnTo>
                    <a:lnTo>
                      <a:pt x="6244" y="1111"/>
                    </a:lnTo>
                    <a:lnTo>
                      <a:pt x="6244" y="1111"/>
                    </a:lnTo>
                    <a:lnTo>
                      <a:pt x="6244" y="1108"/>
                    </a:lnTo>
                    <a:lnTo>
                      <a:pt x="6247" y="1108"/>
                    </a:lnTo>
                    <a:lnTo>
                      <a:pt x="6247" y="935"/>
                    </a:lnTo>
                    <a:moveTo>
                      <a:pt x="3752" y="928"/>
                    </a:moveTo>
                    <a:lnTo>
                      <a:pt x="3750" y="928"/>
                    </a:lnTo>
                    <a:lnTo>
                      <a:pt x="3750" y="931"/>
                    </a:lnTo>
                    <a:lnTo>
                      <a:pt x="3750" y="938"/>
                    </a:lnTo>
                    <a:lnTo>
                      <a:pt x="3752" y="938"/>
                    </a:lnTo>
                    <a:lnTo>
                      <a:pt x="3752" y="928"/>
                    </a:lnTo>
                    <a:moveTo>
                      <a:pt x="6296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1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6"/>
                    </a:lnTo>
                    <a:lnTo>
                      <a:pt x="6296" y="886"/>
                    </a:lnTo>
                    <a:lnTo>
                      <a:pt x="6296" y="878"/>
                    </a:lnTo>
                    <a:moveTo>
                      <a:pt x="6303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3" y="871"/>
                    </a:lnTo>
                    <a:lnTo>
                      <a:pt x="6303" y="869"/>
                    </a:lnTo>
                    <a:lnTo>
                      <a:pt x="6303" y="869"/>
                    </a:lnTo>
                    <a:lnTo>
                      <a:pt x="6303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5" y="762"/>
                    </a:lnTo>
                    <a:lnTo>
                      <a:pt x="3005" y="765"/>
                    </a:lnTo>
                    <a:lnTo>
                      <a:pt x="3005" y="923"/>
                    </a:lnTo>
                    <a:lnTo>
                      <a:pt x="3005" y="923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2" y="753"/>
                    </a:lnTo>
                    <a:lnTo>
                      <a:pt x="912" y="755"/>
                    </a:lnTo>
                    <a:lnTo>
                      <a:pt x="912" y="772"/>
                    </a:lnTo>
                    <a:lnTo>
                      <a:pt x="915" y="772"/>
                    </a:lnTo>
                    <a:lnTo>
                      <a:pt x="915" y="753"/>
                    </a:lnTo>
                    <a:moveTo>
                      <a:pt x="5038" y="732"/>
                    </a:moveTo>
                    <a:lnTo>
                      <a:pt x="5036" y="732"/>
                    </a:lnTo>
                    <a:lnTo>
                      <a:pt x="5036" y="734"/>
                    </a:lnTo>
                    <a:lnTo>
                      <a:pt x="5036" y="916"/>
                    </a:lnTo>
                    <a:lnTo>
                      <a:pt x="5038" y="916"/>
                    </a:lnTo>
                    <a:lnTo>
                      <a:pt x="5038" y="732"/>
                    </a:lnTo>
                    <a:moveTo>
                      <a:pt x="3045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5"/>
                    </a:lnTo>
                    <a:lnTo>
                      <a:pt x="3043" y="725"/>
                    </a:lnTo>
                    <a:lnTo>
                      <a:pt x="3043" y="722"/>
                    </a:lnTo>
                    <a:lnTo>
                      <a:pt x="3045" y="722"/>
                    </a:lnTo>
                    <a:lnTo>
                      <a:pt x="3045" y="656"/>
                    </a:lnTo>
                    <a:moveTo>
                      <a:pt x="2" y="616"/>
                    </a:moveTo>
                    <a:lnTo>
                      <a:pt x="0" y="616"/>
                    </a:lnTo>
                    <a:lnTo>
                      <a:pt x="0" y="618"/>
                    </a:lnTo>
                    <a:lnTo>
                      <a:pt x="0" y="1397"/>
                    </a:lnTo>
                    <a:lnTo>
                      <a:pt x="2" y="1397"/>
                    </a:lnTo>
                    <a:lnTo>
                      <a:pt x="2" y="616"/>
                    </a:lnTo>
                    <a:moveTo>
                      <a:pt x="5159" y="609"/>
                    </a:moveTo>
                    <a:lnTo>
                      <a:pt x="5157" y="609"/>
                    </a:lnTo>
                    <a:lnTo>
                      <a:pt x="5157" y="611"/>
                    </a:lnTo>
                    <a:lnTo>
                      <a:pt x="5157" y="675"/>
                    </a:lnTo>
                    <a:lnTo>
                      <a:pt x="5159" y="675"/>
                    </a:lnTo>
                    <a:lnTo>
                      <a:pt x="5159" y="609"/>
                    </a:lnTo>
                    <a:moveTo>
                      <a:pt x="3189" y="583"/>
                    </a:move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583"/>
                    </a:lnTo>
                    <a:lnTo>
                      <a:pt x="3187" y="601"/>
                    </a:lnTo>
                    <a:lnTo>
                      <a:pt x="3189" y="601"/>
                    </a:lnTo>
                    <a:lnTo>
                      <a:pt x="3189" y="583"/>
                    </a:lnTo>
                    <a:moveTo>
                      <a:pt x="208" y="547"/>
                    </a:moveTo>
                    <a:lnTo>
                      <a:pt x="205" y="547"/>
                    </a:lnTo>
                    <a:lnTo>
                      <a:pt x="205" y="549"/>
                    </a:lnTo>
                    <a:lnTo>
                      <a:pt x="205" y="561"/>
                    </a:lnTo>
                    <a:lnTo>
                      <a:pt x="208" y="561"/>
                    </a:lnTo>
                    <a:lnTo>
                      <a:pt x="208" y="547"/>
                    </a:lnTo>
                    <a:moveTo>
                      <a:pt x="6932" y="509"/>
                    </a:moveTo>
                    <a:lnTo>
                      <a:pt x="6930" y="509"/>
                    </a:lnTo>
                    <a:lnTo>
                      <a:pt x="6930" y="512"/>
                    </a:lnTo>
                    <a:lnTo>
                      <a:pt x="6930" y="1037"/>
                    </a:lnTo>
                    <a:lnTo>
                      <a:pt x="6932" y="1037"/>
                    </a:lnTo>
                    <a:lnTo>
                      <a:pt x="6932" y="509"/>
                    </a:lnTo>
                    <a:moveTo>
                      <a:pt x="4100" y="502"/>
                    </a:moveTo>
                    <a:lnTo>
                      <a:pt x="4100" y="502"/>
                    </a:lnTo>
                    <a:lnTo>
                      <a:pt x="4097" y="504"/>
                    </a:lnTo>
                    <a:lnTo>
                      <a:pt x="4076" y="533"/>
                    </a:lnTo>
                    <a:lnTo>
                      <a:pt x="4076" y="535"/>
                    </a:lnTo>
                    <a:lnTo>
                      <a:pt x="4100" y="502"/>
                    </a:lnTo>
                    <a:moveTo>
                      <a:pt x="3206" y="500"/>
                    </a:moveTo>
                    <a:lnTo>
                      <a:pt x="3206" y="500"/>
                    </a:lnTo>
                    <a:lnTo>
                      <a:pt x="3204" y="500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6" y="566"/>
                    </a:lnTo>
                    <a:lnTo>
                      <a:pt x="3206" y="564"/>
                    </a:lnTo>
                    <a:lnTo>
                      <a:pt x="3206" y="564"/>
                    </a:lnTo>
                    <a:lnTo>
                      <a:pt x="3206" y="500"/>
                    </a:lnTo>
                    <a:moveTo>
                      <a:pt x="3941" y="455"/>
                    </a:move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55"/>
                    </a:lnTo>
                    <a:lnTo>
                      <a:pt x="3941" y="490"/>
                    </a:lnTo>
                    <a:lnTo>
                      <a:pt x="3859" y="644"/>
                    </a:lnTo>
                    <a:lnTo>
                      <a:pt x="3859" y="871"/>
                    </a:lnTo>
                    <a:lnTo>
                      <a:pt x="3861" y="871"/>
                    </a:lnTo>
                    <a:lnTo>
                      <a:pt x="3861" y="642"/>
                    </a:lnTo>
                    <a:lnTo>
                      <a:pt x="3941" y="488"/>
                    </a:lnTo>
                    <a:lnTo>
                      <a:pt x="3941" y="455"/>
                    </a:lnTo>
                    <a:moveTo>
                      <a:pt x="3234" y="433"/>
                    </a:moveTo>
                    <a:lnTo>
                      <a:pt x="3232" y="433"/>
                    </a:lnTo>
                    <a:lnTo>
                      <a:pt x="3232" y="436"/>
                    </a:lnTo>
                    <a:lnTo>
                      <a:pt x="3232" y="474"/>
                    </a:lnTo>
                    <a:lnTo>
                      <a:pt x="3234" y="474"/>
                    </a:lnTo>
                    <a:lnTo>
                      <a:pt x="3234" y="471"/>
                    </a:lnTo>
                    <a:lnTo>
                      <a:pt x="3234" y="471"/>
                    </a:lnTo>
                    <a:lnTo>
                      <a:pt x="3234" y="433"/>
                    </a:lnTo>
                    <a:moveTo>
                      <a:pt x="3948" y="391"/>
                    </a:moveTo>
                    <a:lnTo>
                      <a:pt x="3946" y="391"/>
                    </a:lnTo>
                    <a:lnTo>
                      <a:pt x="3946" y="391"/>
                    </a:lnTo>
                    <a:lnTo>
                      <a:pt x="3946" y="393"/>
                    </a:lnTo>
                    <a:lnTo>
                      <a:pt x="3946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448"/>
                    </a:lnTo>
                    <a:lnTo>
                      <a:pt x="3948" y="391"/>
                    </a:lnTo>
                    <a:moveTo>
                      <a:pt x="1716" y="367"/>
                    </a:moveTo>
                    <a:lnTo>
                      <a:pt x="1714" y="367"/>
                    </a:lnTo>
                    <a:lnTo>
                      <a:pt x="1714" y="369"/>
                    </a:lnTo>
                    <a:lnTo>
                      <a:pt x="1714" y="1075"/>
                    </a:lnTo>
                    <a:lnTo>
                      <a:pt x="1716" y="1075"/>
                    </a:lnTo>
                    <a:lnTo>
                      <a:pt x="1716" y="367"/>
                    </a:lnTo>
                    <a:moveTo>
                      <a:pt x="3955" y="327"/>
                    </a:moveTo>
                    <a:lnTo>
                      <a:pt x="3953" y="327"/>
                    </a:lnTo>
                    <a:lnTo>
                      <a:pt x="3953" y="329"/>
                    </a:lnTo>
                    <a:lnTo>
                      <a:pt x="3953" y="384"/>
                    </a:lnTo>
                    <a:lnTo>
                      <a:pt x="3955" y="384"/>
                    </a:lnTo>
                    <a:lnTo>
                      <a:pt x="3955" y="381"/>
                    </a:lnTo>
                    <a:lnTo>
                      <a:pt x="3955" y="381"/>
                    </a:lnTo>
                    <a:lnTo>
                      <a:pt x="3955" y="327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8" y="235"/>
                    </a:lnTo>
                    <a:lnTo>
                      <a:pt x="4549" y="448"/>
                    </a:lnTo>
                    <a:lnTo>
                      <a:pt x="4551" y="448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7" y="173"/>
                    </a:lnTo>
                    <a:lnTo>
                      <a:pt x="4707" y="173"/>
                    </a:lnTo>
                    <a:lnTo>
                      <a:pt x="4707" y="175"/>
                    </a:lnTo>
                    <a:lnTo>
                      <a:pt x="4710" y="175"/>
                    </a:lnTo>
                    <a:lnTo>
                      <a:pt x="4710" y="173"/>
                    </a:lnTo>
                    <a:moveTo>
                      <a:pt x="4759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1"/>
                    </a:lnTo>
                    <a:lnTo>
                      <a:pt x="4759" y="121"/>
                    </a:lnTo>
                    <a:lnTo>
                      <a:pt x="475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3" name="Freeform 86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close/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close/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close/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close/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close/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close/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close/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close/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close/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close/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close/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close/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close/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close/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close/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close/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close/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close/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close/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close/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close/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close/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close/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close/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close/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close/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close/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close/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close/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close/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4" name="Freeform 87"/>
              <p:cNvSpPr>
                <a:spLocks noEditPoints="1"/>
              </p:cNvSpPr>
              <p:nvPr/>
            </p:nvSpPr>
            <p:spPr bwMode="auto">
              <a:xfrm>
                <a:off x="87" y="1715"/>
                <a:ext cx="6930" cy="1399"/>
              </a:xfrm>
              <a:custGeom>
                <a:avLst/>
                <a:gdLst>
                  <a:gd name="T0" fmla="*/ 3615 w 6930"/>
                  <a:gd name="T1" fmla="*/ 1262 h 1399"/>
                  <a:gd name="T2" fmla="*/ 5736 w 6930"/>
                  <a:gd name="T3" fmla="*/ 1210 h 1399"/>
                  <a:gd name="T4" fmla="*/ 5736 w 6930"/>
                  <a:gd name="T5" fmla="*/ 1271 h 1399"/>
                  <a:gd name="T6" fmla="*/ 1591 w 6930"/>
                  <a:gd name="T7" fmla="*/ 1134 h 1399"/>
                  <a:gd name="T8" fmla="*/ 1594 w 6930"/>
                  <a:gd name="T9" fmla="*/ 1131 h 1399"/>
                  <a:gd name="T10" fmla="*/ 5760 w 6930"/>
                  <a:gd name="T11" fmla="*/ 1129 h 1399"/>
                  <a:gd name="T12" fmla="*/ 5762 w 6930"/>
                  <a:gd name="T13" fmla="*/ 1184 h 1399"/>
                  <a:gd name="T14" fmla="*/ 6226 w 6930"/>
                  <a:gd name="T15" fmla="*/ 1127 h 1399"/>
                  <a:gd name="T16" fmla="*/ 6228 w 6930"/>
                  <a:gd name="T17" fmla="*/ 1127 h 1399"/>
                  <a:gd name="T18" fmla="*/ 1367 w 6930"/>
                  <a:gd name="T19" fmla="*/ 1108 h 1399"/>
                  <a:gd name="T20" fmla="*/ 1369 w 6930"/>
                  <a:gd name="T21" fmla="*/ 1084 h 1399"/>
                  <a:gd name="T22" fmla="*/ 2764 w 6930"/>
                  <a:gd name="T23" fmla="*/ 1065 h 1399"/>
                  <a:gd name="T24" fmla="*/ 5836 w 6930"/>
                  <a:gd name="T25" fmla="*/ 1041 h 1399"/>
                  <a:gd name="T26" fmla="*/ 5836 w 6930"/>
                  <a:gd name="T27" fmla="*/ 1075 h 1399"/>
                  <a:gd name="T28" fmla="*/ 2781 w 6930"/>
                  <a:gd name="T29" fmla="*/ 1013 h 1399"/>
                  <a:gd name="T30" fmla="*/ 2783 w 6930"/>
                  <a:gd name="T31" fmla="*/ 1044 h 1399"/>
                  <a:gd name="T32" fmla="*/ 3674 w 6930"/>
                  <a:gd name="T33" fmla="*/ 994 h 1399"/>
                  <a:gd name="T34" fmla="*/ 3677 w 6930"/>
                  <a:gd name="T35" fmla="*/ 994 h 1399"/>
                  <a:gd name="T36" fmla="*/ 5852 w 6930"/>
                  <a:gd name="T37" fmla="*/ 1025 h 1399"/>
                  <a:gd name="T38" fmla="*/ 5855 w 6930"/>
                  <a:gd name="T39" fmla="*/ 989 h 1399"/>
                  <a:gd name="T40" fmla="*/ 6245 w 6930"/>
                  <a:gd name="T41" fmla="*/ 1110 h 1399"/>
                  <a:gd name="T42" fmla="*/ 6245 w 6930"/>
                  <a:gd name="T43" fmla="*/ 935 h 1399"/>
                  <a:gd name="T44" fmla="*/ 3750 w 6930"/>
                  <a:gd name="T45" fmla="*/ 940 h 1399"/>
                  <a:gd name="T46" fmla="*/ 6294 w 6930"/>
                  <a:gd name="T47" fmla="*/ 878 h 1399"/>
                  <a:gd name="T48" fmla="*/ 6294 w 6930"/>
                  <a:gd name="T49" fmla="*/ 888 h 1399"/>
                  <a:gd name="T50" fmla="*/ 6304 w 6930"/>
                  <a:gd name="T51" fmla="*/ 850 h 1399"/>
                  <a:gd name="T52" fmla="*/ 6304 w 6930"/>
                  <a:gd name="T53" fmla="*/ 871 h 1399"/>
                  <a:gd name="T54" fmla="*/ 3005 w 6930"/>
                  <a:gd name="T55" fmla="*/ 762 h 1399"/>
                  <a:gd name="T56" fmla="*/ 3003 w 6930"/>
                  <a:gd name="T57" fmla="*/ 925 h 1399"/>
                  <a:gd name="T58" fmla="*/ 913 w 6930"/>
                  <a:gd name="T59" fmla="*/ 753 h 1399"/>
                  <a:gd name="T60" fmla="*/ 915 w 6930"/>
                  <a:gd name="T61" fmla="*/ 753 h 1399"/>
                  <a:gd name="T62" fmla="*/ 5036 w 6930"/>
                  <a:gd name="T63" fmla="*/ 918 h 1399"/>
                  <a:gd name="T64" fmla="*/ 3043 w 6930"/>
                  <a:gd name="T65" fmla="*/ 656 h 1399"/>
                  <a:gd name="T66" fmla="*/ 3043 w 6930"/>
                  <a:gd name="T67" fmla="*/ 724 h 1399"/>
                  <a:gd name="T68" fmla="*/ 0 w 6930"/>
                  <a:gd name="T69" fmla="*/ 615 h 1399"/>
                  <a:gd name="T70" fmla="*/ 2 w 6930"/>
                  <a:gd name="T71" fmla="*/ 615 h 1399"/>
                  <a:gd name="T72" fmla="*/ 5157 w 6930"/>
                  <a:gd name="T73" fmla="*/ 677 h 1399"/>
                  <a:gd name="T74" fmla="*/ 3187 w 6930"/>
                  <a:gd name="T75" fmla="*/ 582 h 1399"/>
                  <a:gd name="T76" fmla="*/ 3187 w 6930"/>
                  <a:gd name="T77" fmla="*/ 603 h 1399"/>
                  <a:gd name="T78" fmla="*/ 206 w 6930"/>
                  <a:gd name="T79" fmla="*/ 549 h 1399"/>
                  <a:gd name="T80" fmla="*/ 6930 w 6930"/>
                  <a:gd name="T81" fmla="*/ 509 h 1399"/>
                  <a:gd name="T82" fmla="*/ 6930 w 6930"/>
                  <a:gd name="T83" fmla="*/ 1039 h 1399"/>
                  <a:gd name="T84" fmla="*/ 4098 w 6930"/>
                  <a:gd name="T85" fmla="*/ 504 h 1399"/>
                  <a:gd name="T86" fmla="*/ 3206 w 6930"/>
                  <a:gd name="T87" fmla="*/ 502 h 1399"/>
                  <a:gd name="T88" fmla="*/ 3204 w 6930"/>
                  <a:gd name="T89" fmla="*/ 566 h 1399"/>
                  <a:gd name="T90" fmla="*/ 3206 w 6930"/>
                  <a:gd name="T91" fmla="*/ 502 h 1399"/>
                  <a:gd name="T92" fmla="*/ 3939 w 6930"/>
                  <a:gd name="T93" fmla="*/ 457 h 1399"/>
                  <a:gd name="T94" fmla="*/ 3861 w 6930"/>
                  <a:gd name="T95" fmla="*/ 873 h 1399"/>
                  <a:gd name="T96" fmla="*/ 3235 w 6930"/>
                  <a:gd name="T97" fmla="*/ 433 h 1399"/>
                  <a:gd name="T98" fmla="*/ 3232 w 6930"/>
                  <a:gd name="T99" fmla="*/ 473 h 1399"/>
                  <a:gd name="T100" fmla="*/ 3949 w 6930"/>
                  <a:gd name="T101" fmla="*/ 390 h 1399"/>
                  <a:gd name="T102" fmla="*/ 3946 w 6930"/>
                  <a:gd name="T103" fmla="*/ 450 h 1399"/>
                  <a:gd name="T104" fmla="*/ 3949 w 6930"/>
                  <a:gd name="T105" fmla="*/ 390 h 1399"/>
                  <a:gd name="T106" fmla="*/ 1714 w 6930"/>
                  <a:gd name="T107" fmla="*/ 1077 h 1399"/>
                  <a:gd name="T108" fmla="*/ 3953 w 6930"/>
                  <a:gd name="T109" fmla="*/ 326 h 1399"/>
                  <a:gd name="T110" fmla="*/ 3956 w 6930"/>
                  <a:gd name="T111" fmla="*/ 381 h 1399"/>
                  <a:gd name="T112" fmla="*/ 4608 w 6930"/>
                  <a:gd name="T113" fmla="*/ 232 h 1399"/>
                  <a:gd name="T114" fmla="*/ 4608 w 6930"/>
                  <a:gd name="T115" fmla="*/ 232 h 1399"/>
                  <a:gd name="T116" fmla="*/ 4708 w 6930"/>
                  <a:gd name="T117" fmla="*/ 177 h 1399"/>
                  <a:gd name="T118" fmla="*/ 4757 w 6930"/>
                  <a:gd name="T119" fmla="*/ 0 h 1399"/>
                  <a:gd name="T120" fmla="*/ 4757 w 6930"/>
                  <a:gd name="T121" fmla="*/ 123 h 1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0" h="1399">
                    <a:moveTo>
                      <a:pt x="3615" y="1221"/>
                    </a:moveTo>
                    <a:lnTo>
                      <a:pt x="3615" y="1221"/>
                    </a:lnTo>
                    <a:lnTo>
                      <a:pt x="3615" y="1224"/>
                    </a:lnTo>
                    <a:lnTo>
                      <a:pt x="3615" y="1262"/>
                    </a:lnTo>
                    <a:lnTo>
                      <a:pt x="3615" y="1262"/>
                    </a:lnTo>
                    <a:lnTo>
                      <a:pt x="3615" y="1221"/>
                    </a:lnTo>
                    <a:moveTo>
                      <a:pt x="5736" y="1210"/>
                    </a:moveTo>
                    <a:lnTo>
                      <a:pt x="5736" y="1210"/>
                    </a:ln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71"/>
                    </a:lnTo>
                    <a:lnTo>
                      <a:pt x="5736" y="1271"/>
                    </a:lnTo>
                    <a:lnTo>
                      <a:pt x="5736" y="1210"/>
                    </a:lnTo>
                    <a:moveTo>
                      <a:pt x="1594" y="1131"/>
                    </a:moveTo>
                    <a:lnTo>
                      <a:pt x="1591" y="1131"/>
                    </a:lnTo>
                    <a:lnTo>
                      <a:pt x="1591" y="1134"/>
                    </a:lnTo>
                    <a:lnTo>
                      <a:pt x="1591" y="1134"/>
                    </a:lnTo>
                    <a:lnTo>
                      <a:pt x="1594" y="1134"/>
                    </a:lnTo>
                    <a:lnTo>
                      <a:pt x="1594" y="1131"/>
                    </a:lnTo>
                    <a:lnTo>
                      <a:pt x="1594" y="1131"/>
                    </a:lnTo>
                    <a:lnTo>
                      <a:pt x="1594" y="1131"/>
                    </a:lnTo>
                    <a:moveTo>
                      <a:pt x="5762" y="1127"/>
                    </a:moveTo>
                    <a:lnTo>
                      <a:pt x="5760" y="1127"/>
                    </a:lnTo>
                    <a:lnTo>
                      <a:pt x="5760" y="1129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2" y="1184"/>
                    </a:lnTo>
                    <a:lnTo>
                      <a:pt x="5762" y="1127"/>
                    </a:lnTo>
                    <a:moveTo>
                      <a:pt x="6228" y="1127"/>
                    </a:moveTo>
                    <a:lnTo>
                      <a:pt x="6228" y="1127"/>
                    </a:lnTo>
                    <a:lnTo>
                      <a:pt x="6226" y="1127"/>
                    </a:lnTo>
                    <a:lnTo>
                      <a:pt x="6226" y="1129"/>
                    </a:lnTo>
                    <a:lnTo>
                      <a:pt x="6226" y="1155"/>
                    </a:lnTo>
                    <a:lnTo>
                      <a:pt x="6228" y="1155"/>
                    </a:lnTo>
                    <a:lnTo>
                      <a:pt x="6228" y="1127"/>
                    </a:lnTo>
                    <a:moveTo>
                      <a:pt x="1369" y="1084"/>
                    </a:moveTo>
                    <a:lnTo>
                      <a:pt x="1367" y="1084"/>
                    </a:lnTo>
                    <a:lnTo>
                      <a:pt x="1367" y="1086"/>
                    </a:lnTo>
                    <a:lnTo>
                      <a:pt x="1367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4"/>
                    </a:lnTo>
                    <a:moveTo>
                      <a:pt x="2767" y="1063"/>
                    </a:moveTo>
                    <a:lnTo>
                      <a:pt x="2764" y="1063"/>
                    </a:lnTo>
                    <a:lnTo>
                      <a:pt x="2764" y="1063"/>
                    </a:lnTo>
                    <a:lnTo>
                      <a:pt x="2764" y="1065"/>
                    </a:lnTo>
                    <a:lnTo>
                      <a:pt x="2764" y="1186"/>
                    </a:lnTo>
                    <a:lnTo>
                      <a:pt x="2767" y="1186"/>
                    </a:lnTo>
                    <a:lnTo>
                      <a:pt x="2767" y="1063"/>
                    </a:lnTo>
                    <a:moveTo>
                      <a:pt x="5836" y="1041"/>
                    </a:moveTo>
                    <a:lnTo>
                      <a:pt x="5836" y="1041"/>
                    </a:lnTo>
                    <a:lnTo>
                      <a:pt x="5836" y="1041"/>
                    </a:lnTo>
                    <a:lnTo>
                      <a:pt x="5836" y="1044"/>
                    </a:lnTo>
                    <a:lnTo>
                      <a:pt x="5836" y="1075"/>
                    </a:lnTo>
                    <a:lnTo>
                      <a:pt x="5836" y="1075"/>
                    </a:lnTo>
                    <a:lnTo>
                      <a:pt x="5836" y="1041"/>
                    </a:lnTo>
                    <a:moveTo>
                      <a:pt x="2783" y="1011"/>
                    </a:moveTo>
                    <a:lnTo>
                      <a:pt x="2781" y="1013"/>
                    </a:lnTo>
                    <a:lnTo>
                      <a:pt x="2781" y="1013"/>
                    </a:lnTo>
                    <a:lnTo>
                      <a:pt x="2781" y="1046"/>
                    </a:lnTo>
                    <a:lnTo>
                      <a:pt x="2783" y="1046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1"/>
                    </a:lnTo>
                    <a:moveTo>
                      <a:pt x="3677" y="994"/>
                    </a:moveTo>
                    <a:lnTo>
                      <a:pt x="3674" y="994"/>
                    </a:lnTo>
                    <a:lnTo>
                      <a:pt x="3674" y="994"/>
                    </a:lnTo>
                    <a:lnTo>
                      <a:pt x="3674" y="1169"/>
                    </a:lnTo>
                    <a:lnTo>
                      <a:pt x="3677" y="1169"/>
                    </a:lnTo>
                    <a:lnTo>
                      <a:pt x="3677" y="994"/>
                    </a:lnTo>
                    <a:moveTo>
                      <a:pt x="5855" y="989"/>
                    </a:moveTo>
                    <a:lnTo>
                      <a:pt x="5852" y="989"/>
                    </a:lnTo>
                    <a:lnTo>
                      <a:pt x="5852" y="992"/>
                    </a:lnTo>
                    <a:lnTo>
                      <a:pt x="5852" y="1025"/>
                    </a:lnTo>
                    <a:lnTo>
                      <a:pt x="5852" y="1025"/>
                    </a:lnTo>
                    <a:lnTo>
                      <a:pt x="5852" y="1023"/>
                    </a:lnTo>
                    <a:lnTo>
                      <a:pt x="5855" y="1023"/>
                    </a:lnTo>
                    <a:lnTo>
                      <a:pt x="5855" y="989"/>
                    </a:lnTo>
                    <a:moveTo>
                      <a:pt x="6245" y="935"/>
                    </a:moveTo>
                    <a:lnTo>
                      <a:pt x="6245" y="935"/>
                    </a:lnTo>
                    <a:lnTo>
                      <a:pt x="6245" y="937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1110"/>
                    </a:lnTo>
                    <a:lnTo>
                      <a:pt x="6245" y="935"/>
                    </a:lnTo>
                    <a:moveTo>
                      <a:pt x="3750" y="928"/>
                    </a:moveTo>
                    <a:lnTo>
                      <a:pt x="3750" y="928"/>
                    </a:lnTo>
                    <a:lnTo>
                      <a:pt x="3750" y="930"/>
                    </a:lnTo>
                    <a:lnTo>
                      <a:pt x="3750" y="940"/>
                    </a:lnTo>
                    <a:lnTo>
                      <a:pt x="3750" y="940"/>
                    </a:lnTo>
                    <a:lnTo>
                      <a:pt x="3750" y="928"/>
                    </a:lnTo>
                    <a:moveTo>
                      <a:pt x="6294" y="878"/>
                    </a:moveTo>
                    <a:lnTo>
                      <a:pt x="6294" y="878"/>
                    </a:lnTo>
                    <a:lnTo>
                      <a:pt x="6294" y="878"/>
                    </a:lnTo>
                    <a:lnTo>
                      <a:pt x="6294" y="880"/>
                    </a:lnTo>
                    <a:lnTo>
                      <a:pt x="6294" y="888"/>
                    </a:lnTo>
                    <a:lnTo>
                      <a:pt x="6294" y="888"/>
                    </a:lnTo>
                    <a:lnTo>
                      <a:pt x="6294" y="885"/>
                    </a:lnTo>
                    <a:lnTo>
                      <a:pt x="6294" y="885"/>
                    </a:lnTo>
                    <a:lnTo>
                      <a:pt x="6294" y="878"/>
                    </a:lnTo>
                    <a:moveTo>
                      <a:pt x="6304" y="850"/>
                    </a:moveTo>
                    <a:lnTo>
                      <a:pt x="6301" y="850"/>
                    </a:lnTo>
                    <a:lnTo>
                      <a:pt x="6301" y="852"/>
                    </a:lnTo>
                    <a:lnTo>
                      <a:pt x="6301" y="871"/>
                    </a:lnTo>
                    <a:lnTo>
                      <a:pt x="6304" y="871"/>
                    </a:lnTo>
                    <a:lnTo>
                      <a:pt x="6304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5" y="762"/>
                    </a:moveTo>
                    <a:lnTo>
                      <a:pt x="3005" y="762"/>
                    </a:lnTo>
                    <a:lnTo>
                      <a:pt x="3003" y="762"/>
                    </a:lnTo>
                    <a:lnTo>
                      <a:pt x="3003" y="764"/>
                    </a:lnTo>
                    <a:lnTo>
                      <a:pt x="3003" y="925"/>
                    </a:lnTo>
                    <a:lnTo>
                      <a:pt x="3005" y="925"/>
                    </a:lnTo>
                    <a:lnTo>
                      <a:pt x="3005" y="762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5"/>
                    </a:lnTo>
                    <a:lnTo>
                      <a:pt x="913" y="774"/>
                    </a:lnTo>
                    <a:lnTo>
                      <a:pt x="915" y="774"/>
                    </a:lnTo>
                    <a:lnTo>
                      <a:pt x="915" y="753"/>
                    </a:lnTo>
                    <a:moveTo>
                      <a:pt x="5036" y="731"/>
                    </a:moveTo>
                    <a:lnTo>
                      <a:pt x="5036" y="731"/>
                    </a:lnTo>
                    <a:lnTo>
                      <a:pt x="5036" y="734"/>
                    </a:lnTo>
                    <a:lnTo>
                      <a:pt x="5036" y="918"/>
                    </a:lnTo>
                    <a:lnTo>
                      <a:pt x="5036" y="918"/>
                    </a:lnTo>
                    <a:lnTo>
                      <a:pt x="5036" y="731"/>
                    </a:lnTo>
                    <a:moveTo>
                      <a:pt x="3043" y="656"/>
                    </a:moveTo>
                    <a:lnTo>
                      <a:pt x="3043" y="656"/>
                    </a:lnTo>
                    <a:lnTo>
                      <a:pt x="3043" y="658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724"/>
                    </a:lnTo>
                    <a:lnTo>
                      <a:pt x="3043" y="656"/>
                    </a:lnTo>
                    <a:moveTo>
                      <a:pt x="2" y="615"/>
                    </a:moveTo>
                    <a:lnTo>
                      <a:pt x="0" y="615"/>
                    </a:lnTo>
                    <a:lnTo>
                      <a:pt x="0" y="618"/>
                    </a:lnTo>
                    <a:lnTo>
                      <a:pt x="0" y="1399"/>
                    </a:lnTo>
                    <a:lnTo>
                      <a:pt x="2" y="1399"/>
                    </a:lnTo>
                    <a:lnTo>
                      <a:pt x="2" y="615"/>
                    </a:lnTo>
                    <a:moveTo>
                      <a:pt x="5159" y="608"/>
                    </a:moveTo>
                    <a:lnTo>
                      <a:pt x="5157" y="608"/>
                    </a:lnTo>
                    <a:lnTo>
                      <a:pt x="5157" y="611"/>
                    </a:lnTo>
                    <a:lnTo>
                      <a:pt x="5157" y="677"/>
                    </a:lnTo>
                    <a:lnTo>
                      <a:pt x="5159" y="677"/>
                    </a:lnTo>
                    <a:lnTo>
                      <a:pt x="5159" y="608"/>
                    </a:lnTo>
                    <a:moveTo>
                      <a:pt x="3187" y="582"/>
                    </a:moveTo>
                    <a:lnTo>
                      <a:pt x="3187" y="582"/>
                    </a:lnTo>
                    <a:lnTo>
                      <a:pt x="3187" y="582"/>
                    </a:lnTo>
                    <a:lnTo>
                      <a:pt x="3187" y="585"/>
                    </a:lnTo>
                    <a:lnTo>
                      <a:pt x="3187" y="603"/>
                    </a:lnTo>
                    <a:lnTo>
                      <a:pt x="3187" y="603"/>
                    </a:lnTo>
                    <a:lnTo>
                      <a:pt x="3187" y="582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49"/>
                    </a:lnTo>
                    <a:lnTo>
                      <a:pt x="206" y="563"/>
                    </a:lnTo>
                    <a:lnTo>
                      <a:pt x="208" y="563"/>
                    </a:lnTo>
                    <a:lnTo>
                      <a:pt x="208" y="547"/>
                    </a:lnTo>
                    <a:moveTo>
                      <a:pt x="6930" y="509"/>
                    </a:moveTo>
                    <a:lnTo>
                      <a:pt x="6930" y="509"/>
                    </a:lnTo>
                    <a:lnTo>
                      <a:pt x="6930" y="511"/>
                    </a:lnTo>
                    <a:lnTo>
                      <a:pt x="6930" y="1039"/>
                    </a:lnTo>
                    <a:lnTo>
                      <a:pt x="6930" y="1039"/>
                    </a:lnTo>
                    <a:lnTo>
                      <a:pt x="6930" y="509"/>
                    </a:lnTo>
                    <a:moveTo>
                      <a:pt x="4100" y="504"/>
                    </a:moveTo>
                    <a:lnTo>
                      <a:pt x="4098" y="504"/>
                    </a:lnTo>
                    <a:lnTo>
                      <a:pt x="4098" y="504"/>
                    </a:lnTo>
                    <a:lnTo>
                      <a:pt x="4074" y="537"/>
                    </a:lnTo>
                    <a:lnTo>
                      <a:pt x="4074" y="537"/>
                    </a:lnTo>
                    <a:lnTo>
                      <a:pt x="4100" y="504"/>
                    </a:lnTo>
                    <a:moveTo>
                      <a:pt x="3206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3"/>
                    </a:lnTo>
                    <a:lnTo>
                      <a:pt x="3206" y="563"/>
                    </a:lnTo>
                    <a:lnTo>
                      <a:pt x="3206" y="502"/>
                    </a:lnTo>
                    <a:moveTo>
                      <a:pt x="3942" y="454"/>
                    </a:moveTo>
                    <a:lnTo>
                      <a:pt x="3942" y="454"/>
                    </a:lnTo>
                    <a:lnTo>
                      <a:pt x="3939" y="454"/>
                    </a:lnTo>
                    <a:lnTo>
                      <a:pt x="3939" y="457"/>
                    </a:lnTo>
                    <a:lnTo>
                      <a:pt x="3939" y="490"/>
                    </a:lnTo>
                    <a:lnTo>
                      <a:pt x="3859" y="644"/>
                    </a:lnTo>
                    <a:lnTo>
                      <a:pt x="3859" y="873"/>
                    </a:lnTo>
                    <a:lnTo>
                      <a:pt x="3861" y="873"/>
                    </a:lnTo>
                    <a:lnTo>
                      <a:pt x="3861" y="641"/>
                    </a:lnTo>
                    <a:lnTo>
                      <a:pt x="3942" y="490"/>
                    </a:lnTo>
                    <a:lnTo>
                      <a:pt x="3942" y="454"/>
                    </a:lnTo>
                    <a:moveTo>
                      <a:pt x="3235" y="433"/>
                    </a:moveTo>
                    <a:lnTo>
                      <a:pt x="3232" y="433"/>
                    </a:lnTo>
                    <a:lnTo>
                      <a:pt x="3232" y="435"/>
                    </a:lnTo>
                    <a:lnTo>
                      <a:pt x="3232" y="473"/>
                    </a:lnTo>
                    <a:lnTo>
                      <a:pt x="3232" y="473"/>
                    </a:lnTo>
                    <a:lnTo>
                      <a:pt x="3232" y="471"/>
                    </a:lnTo>
                    <a:lnTo>
                      <a:pt x="3235" y="471"/>
                    </a:lnTo>
                    <a:lnTo>
                      <a:pt x="3235" y="433"/>
                    </a:lnTo>
                    <a:moveTo>
                      <a:pt x="3949" y="390"/>
                    </a:moveTo>
                    <a:lnTo>
                      <a:pt x="3946" y="390"/>
                    </a:lnTo>
                    <a:lnTo>
                      <a:pt x="3946" y="390"/>
                    </a:lnTo>
                    <a:lnTo>
                      <a:pt x="3946" y="393"/>
                    </a:lnTo>
                    <a:lnTo>
                      <a:pt x="3946" y="450"/>
                    </a:lnTo>
                    <a:lnTo>
                      <a:pt x="3949" y="450"/>
                    </a:lnTo>
                    <a:lnTo>
                      <a:pt x="3949" y="447"/>
                    </a:lnTo>
                    <a:lnTo>
                      <a:pt x="3949" y="447"/>
                    </a:lnTo>
                    <a:lnTo>
                      <a:pt x="3949" y="390"/>
                    </a:lnTo>
                    <a:moveTo>
                      <a:pt x="1714" y="369"/>
                    </a:moveTo>
                    <a:lnTo>
                      <a:pt x="1714" y="369"/>
                    </a:lnTo>
                    <a:lnTo>
                      <a:pt x="1714" y="369"/>
                    </a:lnTo>
                    <a:lnTo>
                      <a:pt x="1714" y="1077"/>
                    </a:lnTo>
                    <a:lnTo>
                      <a:pt x="1714" y="1077"/>
                    </a:lnTo>
                    <a:lnTo>
                      <a:pt x="1714" y="369"/>
                    </a:lnTo>
                    <a:moveTo>
                      <a:pt x="3956" y="326"/>
                    </a:moveTo>
                    <a:lnTo>
                      <a:pt x="3953" y="326"/>
                    </a:lnTo>
                    <a:lnTo>
                      <a:pt x="3953" y="329"/>
                    </a:lnTo>
                    <a:lnTo>
                      <a:pt x="3953" y="383"/>
                    </a:lnTo>
                    <a:lnTo>
                      <a:pt x="3956" y="383"/>
                    </a:lnTo>
                    <a:lnTo>
                      <a:pt x="3956" y="381"/>
                    </a:lnTo>
                    <a:lnTo>
                      <a:pt x="3956" y="381"/>
                    </a:lnTo>
                    <a:lnTo>
                      <a:pt x="3956" y="326"/>
                    </a:lnTo>
                    <a:moveTo>
                      <a:pt x="4608" y="232"/>
                    </a:moveTo>
                    <a:lnTo>
                      <a:pt x="4608" y="232"/>
                    </a:lnTo>
                    <a:lnTo>
                      <a:pt x="4606" y="234"/>
                    </a:lnTo>
                    <a:lnTo>
                      <a:pt x="4549" y="450"/>
                    </a:lnTo>
                    <a:lnTo>
                      <a:pt x="4549" y="447"/>
                    </a:lnTo>
                    <a:lnTo>
                      <a:pt x="4608" y="232"/>
                    </a:lnTo>
                    <a:moveTo>
                      <a:pt x="4710" y="173"/>
                    </a:moveTo>
                    <a:lnTo>
                      <a:pt x="4708" y="173"/>
                    </a:lnTo>
                    <a:lnTo>
                      <a:pt x="4708" y="175"/>
                    </a:lnTo>
                    <a:lnTo>
                      <a:pt x="4708" y="177"/>
                    </a:lnTo>
                    <a:lnTo>
                      <a:pt x="4710" y="177"/>
                    </a:lnTo>
                    <a:lnTo>
                      <a:pt x="4710" y="173"/>
                    </a:lnTo>
                    <a:moveTo>
                      <a:pt x="4757" y="0"/>
                    </a:moveTo>
                    <a:lnTo>
                      <a:pt x="4757" y="0"/>
                    </a:lnTo>
                    <a:lnTo>
                      <a:pt x="4757" y="2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123"/>
                    </a:lnTo>
                    <a:lnTo>
                      <a:pt x="475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5" name="Freeform 88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close/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close/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close/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close/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close/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close/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close/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close/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close/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close/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close/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close/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close/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close/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close/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close/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close/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close/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close/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close/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close/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close/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close/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close/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close/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close/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close/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close/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close/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close/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close/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close/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close/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  <a:close/>
                  </a:path>
                </a:pathLst>
              </a:custGeom>
              <a:solidFill>
                <a:srgbClr val="DFDE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6" name="Freeform 89"/>
              <p:cNvSpPr>
                <a:spLocks noEditPoints="1"/>
              </p:cNvSpPr>
              <p:nvPr/>
            </p:nvSpPr>
            <p:spPr bwMode="auto">
              <a:xfrm>
                <a:off x="89" y="1712"/>
                <a:ext cx="6931" cy="1402"/>
              </a:xfrm>
              <a:custGeom>
                <a:avLst/>
                <a:gdLst>
                  <a:gd name="T0" fmla="*/ 3613 w 6931"/>
                  <a:gd name="T1" fmla="*/ 1265 h 1402"/>
                  <a:gd name="T2" fmla="*/ 5734 w 6931"/>
                  <a:gd name="T3" fmla="*/ 1210 h 1402"/>
                  <a:gd name="T4" fmla="*/ 5737 w 6931"/>
                  <a:gd name="T5" fmla="*/ 1274 h 1402"/>
                  <a:gd name="T6" fmla="*/ 1592 w 6931"/>
                  <a:gd name="T7" fmla="*/ 1134 h 1402"/>
                  <a:gd name="T8" fmla="*/ 1594 w 6931"/>
                  <a:gd name="T9" fmla="*/ 1134 h 1402"/>
                  <a:gd name="T10" fmla="*/ 5760 w 6931"/>
                  <a:gd name="T11" fmla="*/ 1130 h 1402"/>
                  <a:gd name="T12" fmla="*/ 5760 w 6931"/>
                  <a:gd name="T13" fmla="*/ 1184 h 1402"/>
                  <a:gd name="T14" fmla="*/ 6226 w 6931"/>
                  <a:gd name="T15" fmla="*/ 1130 h 1402"/>
                  <a:gd name="T16" fmla="*/ 6229 w 6931"/>
                  <a:gd name="T17" fmla="*/ 1130 h 1402"/>
                  <a:gd name="T18" fmla="*/ 1367 w 6931"/>
                  <a:gd name="T19" fmla="*/ 1111 h 1402"/>
                  <a:gd name="T20" fmla="*/ 1369 w 6931"/>
                  <a:gd name="T21" fmla="*/ 1085 h 1402"/>
                  <a:gd name="T22" fmla="*/ 2765 w 6931"/>
                  <a:gd name="T23" fmla="*/ 1066 h 1402"/>
                  <a:gd name="T24" fmla="*/ 5836 w 6931"/>
                  <a:gd name="T25" fmla="*/ 1042 h 1402"/>
                  <a:gd name="T26" fmla="*/ 5834 w 6931"/>
                  <a:gd name="T27" fmla="*/ 1078 h 1402"/>
                  <a:gd name="T28" fmla="*/ 2781 w 6931"/>
                  <a:gd name="T29" fmla="*/ 1014 h 1402"/>
                  <a:gd name="T30" fmla="*/ 2783 w 6931"/>
                  <a:gd name="T31" fmla="*/ 1044 h 1402"/>
                  <a:gd name="T32" fmla="*/ 3675 w 6931"/>
                  <a:gd name="T33" fmla="*/ 995 h 1402"/>
                  <a:gd name="T34" fmla="*/ 3675 w 6931"/>
                  <a:gd name="T35" fmla="*/ 995 h 1402"/>
                  <a:gd name="T36" fmla="*/ 5853 w 6931"/>
                  <a:gd name="T37" fmla="*/ 1026 h 1402"/>
                  <a:gd name="T38" fmla="*/ 5855 w 6931"/>
                  <a:gd name="T39" fmla="*/ 990 h 1402"/>
                  <a:gd name="T40" fmla="*/ 6243 w 6931"/>
                  <a:gd name="T41" fmla="*/ 1113 h 1402"/>
                  <a:gd name="T42" fmla="*/ 6245 w 6931"/>
                  <a:gd name="T43" fmla="*/ 936 h 1402"/>
                  <a:gd name="T44" fmla="*/ 3748 w 6931"/>
                  <a:gd name="T45" fmla="*/ 943 h 1402"/>
                  <a:gd name="T46" fmla="*/ 6295 w 6931"/>
                  <a:gd name="T47" fmla="*/ 879 h 1402"/>
                  <a:gd name="T48" fmla="*/ 6295 w 6931"/>
                  <a:gd name="T49" fmla="*/ 888 h 1402"/>
                  <a:gd name="T50" fmla="*/ 6304 w 6931"/>
                  <a:gd name="T51" fmla="*/ 850 h 1402"/>
                  <a:gd name="T52" fmla="*/ 6302 w 6931"/>
                  <a:gd name="T53" fmla="*/ 872 h 1402"/>
                  <a:gd name="T54" fmla="*/ 3006 w 6931"/>
                  <a:gd name="T55" fmla="*/ 763 h 1402"/>
                  <a:gd name="T56" fmla="*/ 3003 w 6931"/>
                  <a:gd name="T57" fmla="*/ 928 h 1402"/>
                  <a:gd name="T58" fmla="*/ 913 w 6931"/>
                  <a:gd name="T59" fmla="*/ 753 h 1402"/>
                  <a:gd name="T60" fmla="*/ 915 w 6931"/>
                  <a:gd name="T61" fmla="*/ 753 h 1402"/>
                  <a:gd name="T62" fmla="*/ 5034 w 6931"/>
                  <a:gd name="T63" fmla="*/ 921 h 1402"/>
                  <a:gd name="T64" fmla="*/ 3041 w 6931"/>
                  <a:gd name="T65" fmla="*/ 659 h 1402"/>
                  <a:gd name="T66" fmla="*/ 3044 w 6931"/>
                  <a:gd name="T67" fmla="*/ 725 h 1402"/>
                  <a:gd name="T68" fmla="*/ 0 w 6931"/>
                  <a:gd name="T69" fmla="*/ 618 h 1402"/>
                  <a:gd name="T70" fmla="*/ 3 w 6931"/>
                  <a:gd name="T71" fmla="*/ 618 h 1402"/>
                  <a:gd name="T72" fmla="*/ 5157 w 6931"/>
                  <a:gd name="T73" fmla="*/ 680 h 1402"/>
                  <a:gd name="T74" fmla="*/ 3188 w 6931"/>
                  <a:gd name="T75" fmla="*/ 583 h 1402"/>
                  <a:gd name="T76" fmla="*/ 3188 w 6931"/>
                  <a:gd name="T77" fmla="*/ 606 h 1402"/>
                  <a:gd name="T78" fmla="*/ 206 w 6931"/>
                  <a:gd name="T79" fmla="*/ 550 h 1402"/>
                  <a:gd name="T80" fmla="*/ 6931 w 6931"/>
                  <a:gd name="T81" fmla="*/ 509 h 1402"/>
                  <a:gd name="T82" fmla="*/ 6931 w 6931"/>
                  <a:gd name="T83" fmla="*/ 1042 h 1402"/>
                  <a:gd name="T84" fmla="*/ 4098 w 6931"/>
                  <a:gd name="T85" fmla="*/ 507 h 1402"/>
                  <a:gd name="T86" fmla="*/ 3204 w 6931"/>
                  <a:gd name="T87" fmla="*/ 502 h 1402"/>
                  <a:gd name="T88" fmla="*/ 3204 w 6931"/>
                  <a:gd name="T89" fmla="*/ 566 h 1402"/>
                  <a:gd name="T90" fmla="*/ 3204 w 6931"/>
                  <a:gd name="T91" fmla="*/ 502 h 1402"/>
                  <a:gd name="T92" fmla="*/ 3940 w 6931"/>
                  <a:gd name="T93" fmla="*/ 457 h 1402"/>
                  <a:gd name="T94" fmla="*/ 3859 w 6931"/>
                  <a:gd name="T95" fmla="*/ 876 h 1402"/>
                  <a:gd name="T96" fmla="*/ 3235 w 6931"/>
                  <a:gd name="T97" fmla="*/ 434 h 1402"/>
                  <a:gd name="T98" fmla="*/ 3233 w 6931"/>
                  <a:gd name="T99" fmla="*/ 474 h 1402"/>
                  <a:gd name="T100" fmla="*/ 3947 w 6931"/>
                  <a:gd name="T101" fmla="*/ 391 h 1402"/>
                  <a:gd name="T102" fmla="*/ 3947 w 6931"/>
                  <a:gd name="T103" fmla="*/ 450 h 1402"/>
                  <a:gd name="T104" fmla="*/ 3947 w 6931"/>
                  <a:gd name="T105" fmla="*/ 391 h 1402"/>
                  <a:gd name="T106" fmla="*/ 1712 w 6931"/>
                  <a:gd name="T107" fmla="*/ 1080 h 1402"/>
                  <a:gd name="T108" fmla="*/ 3954 w 6931"/>
                  <a:gd name="T109" fmla="*/ 329 h 1402"/>
                  <a:gd name="T110" fmla="*/ 3956 w 6931"/>
                  <a:gd name="T111" fmla="*/ 382 h 1402"/>
                  <a:gd name="T112" fmla="*/ 4606 w 6931"/>
                  <a:gd name="T113" fmla="*/ 232 h 1402"/>
                  <a:gd name="T114" fmla="*/ 4609 w 6931"/>
                  <a:gd name="T115" fmla="*/ 232 h 1402"/>
                  <a:gd name="T116" fmla="*/ 4708 w 6931"/>
                  <a:gd name="T117" fmla="*/ 180 h 1402"/>
                  <a:gd name="T118" fmla="*/ 4755 w 6931"/>
                  <a:gd name="T119" fmla="*/ 0 h 1402"/>
                  <a:gd name="T120" fmla="*/ 4758 w 6931"/>
                  <a:gd name="T121" fmla="*/ 123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931" h="1402">
                    <a:moveTo>
                      <a:pt x="3616" y="1222"/>
                    </a:moveTo>
                    <a:lnTo>
                      <a:pt x="3613" y="1222"/>
                    </a:lnTo>
                    <a:lnTo>
                      <a:pt x="3613" y="1224"/>
                    </a:lnTo>
                    <a:lnTo>
                      <a:pt x="3613" y="1265"/>
                    </a:lnTo>
                    <a:lnTo>
                      <a:pt x="3616" y="1265"/>
                    </a:lnTo>
                    <a:lnTo>
                      <a:pt x="3616" y="1222"/>
                    </a:lnTo>
                    <a:moveTo>
                      <a:pt x="5737" y="1210"/>
                    </a:moveTo>
                    <a:lnTo>
                      <a:pt x="5734" y="1210"/>
                    </a:lnTo>
                    <a:lnTo>
                      <a:pt x="5734" y="1210"/>
                    </a:lnTo>
                    <a:lnTo>
                      <a:pt x="5734" y="1213"/>
                    </a:lnTo>
                    <a:lnTo>
                      <a:pt x="5734" y="1274"/>
                    </a:lnTo>
                    <a:lnTo>
                      <a:pt x="5737" y="1274"/>
                    </a:lnTo>
                    <a:lnTo>
                      <a:pt x="5737" y="1210"/>
                    </a:lnTo>
                    <a:moveTo>
                      <a:pt x="1594" y="1132"/>
                    </a:moveTo>
                    <a:lnTo>
                      <a:pt x="1592" y="1132"/>
                    </a:lnTo>
                    <a:lnTo>
                      <a:pt x="1592" y="1134"/>
                    </a:lnTo>
                    <a:lnTo>
                      <a:pt x="1592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4"/>
                    </a:lnTo>
                    <a:lnTo>
                      <a:pt x="1594" y="1132"/>
                    </a:lnTo>
                    <a:moveTo>
                      <a:pt x="5760" y="1130"/>
                    </a:moveTo>
                    <a:lnTo>
                      <a:pt x="5760" y="1130"/>
                    </a:lnTo>
                    <a:lnTo>
                      <a:pt x="5760" y="1130"/>
                    </a:lnTo>
                    <a:lnTo>
                      <a:pt x="5760" y="1187"/>
                    </a:lnTo>
                    <a:lnTo>
                      <a:pt x="5760" y="1187"/>
                    </a:lnTo>
                    <a:lnTo>
                      <a:pt x="5760" y="1184"/>
                    </a:lnTo>
                    <a:lnTo>
                      <a:pt x="5760" y="1184"/>
                    </a:lnTo>
                    <a:lnTo>
                      <a:pt x="5760" y="1130"/>
                    </a:lnTo>
                    <a:moveTo>
                      <a:pt x="6229" y="1130"/>
                    </a:move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30"/>
                    </a:lnTo>
                    <a:lnTo>
                      <a:pt x="6226" y="1158"/>
                    </a:lnTo>
                    <a:lnTo>
                      <a:pt x="6229" y="1158"/>
                    </a:lnTo>
                    <a:lnTo>
                      <a:pt x="6229" y="1130"/>
                    </a:lnTo>
                    <a:moveTo>
                      <a:pt x="1369" y="1085"/>
                    </a:moveTo>
                    <a:lnTo>
                      <a:pt x="1367" y="1085"/>
                    </a:lnTo>
                    <a:lnTo>
                      <a:pt x="1367" y="1087"/>
                    </a:lnTo>
                    <a:lnTo>
                      <a:pt x="1367" y="1111"/>
                    </a:lnTo>
                    <a:lnTo>
                      <a:pt x="1369" y="1111"/>
                    </a:lnTo>
                    <a:lnTo>
                      <a:pt x="1369" y="1108"/>
                    </a:lnTo>
                    <a:lnTo>
                      <a:pt x="1369" y="1108"/>
                    </a:lnTo>
                    <a:lnTo>
                      <a:pt x="1369" y="1085"/>
                    </a:lnTo>
                    <a:moveTo>
                      <a:pt x="2765" y="1063"/>
                    </a:moveTo>
                    <a:lnTo>
                      <a:pt x="2765" y="1063"/>
                    </a:lnTo>
                    <a:lnTo>
                      <a:pt x="2765" y="1063"/>
                    </a:lnTo>
                    <a:lnTo>
                      <a:pt x="2765" y="1066"/>
                    </a:lnTo>
                    <a:lnTo>
                      <a:pt x="2765" y="1189"/>
                    </a:lnTo>
                    <a:lnTo>
                      <a:pt x="2765" y="1189"/>
                    </a:lnTo>
                    <a:lnTo>
                      <a:pt x="2765" y="1063"/>
                    </a:lnTo>
                    <a:moveTo>
                      <a:pt x="5836" y="1042"/>
                    </a:moveTo>
                    <a:lnTo>
                      <a:pt x="5836" y="1042"/>
                    </a:lnTo>
                    <a:lnTo>
                      <a:pt x="5834" y="1042"/>
                    </a:lnTo>
                    <a:lnTo>
                      <a:pt x="5834" y="1044"/>
                    </a:lnTo>
                    <a:lnTo>
                      <a:pt x="5834" y="1078"/>
                    </a:lnTo>
                    <a:lnTo>
                      <a:pt x="5836" y="1078"/>
                    </a:lnTo>
                    <a:lnTo>
                      <a:pt x="5836" y="1042"/>
                    </a:lnTo>
                    <a:moveTo>
                      <a:pt x="2783" y="1014"/>
                    </a:moveTo>
                    <a:lnTo>
                      <a:pt x="2781" y="1014"/>
                    </a:lnTo>
                    <a:lnTo>
                      <a:pt x="2781" y="1014"/>
                    </a:lnTo>
                    <a:lnTo>
                      <a:pt x="2781" y="1047"/>
                    </a:lnTo>
                    <a:lnTo>
                      <a:pt x="2783" y="1047"/>
                    </a:lnTo>
                    <a:lnTo>
                      <a:pt x="2783" y="1044"/>
                    </a:lnTo>
                    <a:lnTo>
                      <a:pt x="2783" y="1044"/>
                    </a:lnTo>
                    <a:lnTo>
                      <a:pt x="2783" y="1014"/>
                    </a:lnTo>
                    <a:moveTo>
                      <a:pt x="3675" y="995"/>
                    </a:moveTo>
                    <a:lnTo>
                      <a:pt x="3675" y="995"/>
                    </a:lnTo>
                    <a:lnTo>
                      <a:pt x="3675" y="997"/>
                    </a:lnTo>
                    <a:lnTo>
                      <a:pt x="3675" y="1172"/>
                    </a:lnTo>
                    <a:lnTo>
                      <a:pt x="3675" y="1172"/>
                    </a:lnTo>
                    <a:lnTo>
                      <a:pt x="3675" y="995"/>
                    </a:lnTo>
                    <a:moveTo>
                      <a:pt x="5855" y="990"/>
                    </a:moveTo>
                    <a:lnTo>
                      <a:pt x="5853" y="990"/>
                    </a:lnTo>
                    <a:lnTo>
                      <a:pt x="5853" y="992"/>
                    </a:lnTo>
                    <a:lnTo>
                      <a:pt x="5853" y="1026"/>
                    </a:lnTo>
                    <a:lnTo>
                      <a:pt x="5853" y="1026"/>
                    </a:lnTo>
                    <a:lnTo>
                      <a:pt x="5853" y="1023"/>
                    </a:lnTo>
                    <a:lnTo>
                      <a:pt x="5855" y="1023"/>
                    </a:lnTo>
                    <a:lnTo>
                      <a:pt x="5855" y="990"/>
                    </a:lnTo>
                    <a:moveTo>
                      <a:pt x="6245" y="936"/>
                    </a:moveTo>
                    <a:lnTo>
                      <a:pt x="6243" y="936"/>
                    </a:lnTo>
                    <a:lnTo>
                      <a:pt x="6243" y="938"/>
                    </a:lnTo>
                    <a:lnTo>
                      <a:pt x="6243" y="1113"/>
                    </a:lnTo>
                    <a:lnTo>
                      <a:pt x="6245" y="1113"/>
                    </a:lnTo>
                    <a:lnTo>
                      <a:pt x="6245" y="1111"/>
                    </a:lnTo>
                    <a:lnTo>
                      <a:pt x="6245" y="1111"/>
                    </a:lnTo>
                    <a:lnTo>
                      <a:pt x="6245" y="936"/>
                    </a:lnTo>
                    <a:moveTo>
                      <a:pt x="3751" y="928"/>
                    </a:moveTo>
                    <a:lnTo>
                      <a:pt x="3748" y="928"/>
                    </a:lnTo>
                    <a:lnTo>
                      <a:pt x="3748" y="931"/>
                    </a:lnTo>
                    <a:lnTo>
                      <a:pt x="3748" y="943"/>
                    </a:lnTo>
                    <a:lnTo>
                      <a:pt x="3751" y="943"/>
                    </a:lnTo>
                    <a:lnTo>
                      <a:pt x="3751" y="928"/>
                    </a:lnTo>
                    <a:moveTo>
                      <a:pt x="6295" y="879"/>
                    </a:moveTo>
                    <a:lnTo>
                      <a:pt x="6295" y="879"/>
                    </a:lnTo>
                    <a:lnTo>
                      <a:pt x="6292" y="879"/>
                    </a:lnTo>
                    <a:lnTo>
                      <a:pt x="6292" y="881"/>
                    </a:lnTo>
                    <a:lnTo>
                      <a:pt x="6292" y="888"/>
                    </a:lnTo>
                    <a:lnTo>
                      <a:pt x="6295" y="888"/>
                    </a:lnTo>
                    <a:lnTo>
                      <a:pt x="6295" y="886"/>
                    </a:lnTo>
                    <a:lnTo>
                      <a:pt x="6295" y="886"/>
                    </a:lnTo>
                    <a:lnTo>
                      <a:pt x="6295" y="879"/>
                    </a:lnTo>
                    <a:moveTo>
                      <a:pt x="6304" y="850"/>
                    </a:moveTo>
                    <a:lnTo>
                      <a:pt x="6302" y="850"/>
                    </a:lnTo>
                    <a:lnTo>
                      <a:pt x="6302" y="853"/>
                    </a:lnTo>
                    <a:lnTo>
                      <a:pt x="6302" y="872"/>
                    </a:lnTo>
                    <a:lnTo>
                      <a:pt x="6302" y="872"/>
                    </a:lnTo>
                    <a:lnTo>
                      <a:pt x="6302" y="869"/>
                    </a:lnTo>
                    <a:lnTo>
                      <a:pt x="6304" y="869"/>
                    </a:lnTo>
                    <a:lnTo>
                      <a:pt x="6304" y="850"/>
                    </a:lnTo>
                    <a:moveTo>
                      <a:pt x="3006" y="763"/>
                    </a:moveTo>
                    <a:lnTo>
                      <a:pt x="3006" y="763"/>
                    </a:lnTo>
                    <a:lnTo>
                      <a:pt x="3003" y="763"/>
                    </a:lnTo>
                    <a:lnTo>
                      <a:pt x="3003" y="765"/>
                    </a:lnTo>
                    <a:lnTo>
                      <a:pt x="3003" y="928"/>
                    </a:lnTo>
                    <a:lnTo>
                      <a:pt x="3006" y="928"/>
                    </a:lnTo>
                    <a:lnTo>
                      <a:pt x="3006" y="763"/>
                    </a:lnTo>
                    <a:moveTo>
                      <a:pt x="915" y="753"/>
                    </a:moveTo>
                    <a:lnTo>
                      <a:pt x="913" y="753"/>
                    </a:lnTo>
                    <a:lnTo>
                      <a:pt x="913" y="756"/>
                    </a:lnTo>
                    <a:lnTo>
                      <a:pt x="913" y="777"/>
                    </a:lnTo>
                    <a:lnTo>
                      <a:pt x="915" y="777"/>
                    </a:lnTo>
                    <a:lnTo>
                      <a:pt x="915" y="753"/>
                    </a:lnTo>
                    <a:moveTo>
                      <a:pt x="5037" y="732"/>
                    </a:moveTo>
                    <a:lnTo>
                      <a:pt x="5034" y="732"/>
                    </a:lnTo>
                    <a:lnTo>
                      <a:pt x="5034" y="734"/>
                    </a:lnTo>
                    <a:lnTo>
                      <a:pt x="5034" y="921"/>
                    </a:lnTo>
                    <a:lnTo>
                      <a:pt x="5037" y="921"/>
                    </a:lnTo>
                    <a:lnTo>
                      <a:pt x="5037" y="732"/>
                    </a:lnTo>
                    <a:moveTo>
                      <a:pt x="3044" y="659"/>
                    </a:moveTo>
                    <a:lnTo>
                      <a:pt x="3041" y="659"/>
                    </a:lnTo>
                    <a:lnTo>
                      <a:pt x="3041" y="659"/>
                    </a:lnTo>
                    <a:lnTo>
                      <a:pt x="3041" y="727"/>
                    </a:lnTo>
                    <a:lnTo>
                      <a:pt x="3044" y="727"/>
                    </a:lnTo>
                    <a:lnTo>
                      <a:pt x="3044" y="725"/>
                    </a:lnTo>
                    <a:lnTo>
                      <a:pt x="3044" y="725"/>
                    </a:lnTo>
                    <a:lnTo>
                      <a:pt x="3044" y="659"/>
                    </a:lnTo>
                    <a:moveTo>
                      <a:pt x="3" y="618"/>
                    </a:moveTo>
                    <a:lnTo>
                      <a:pt x="0" y="618"/>
                    </a:lnTo>
                    <a:lnTo>
                      <a:pt x="0" y="618"/>
                    </a:lnTo>
                    <a:lnTo>
                      <a:pt x="0" y="1402"/>
                    </a:lnTo>
                    <a:lnTo>
                      <a:pt x="3" y="1402"/>
                    </a:lnTo>
                    <a:lnTo>
                      <a:pt x="3" y="618"/>
                    </a:lnTo>
                    <a:moveTo>
                      <a:pt x="5157" y="611"/>
                    </a:moveTo>
                    <a:lnTo>
                      <a:pt x="5157" y="611"/>
                    </a:lnTo>
                    <a:lnTo>
                      <a:pt x="5157" y="611"/>
                    </a:lnTo>
                    <a:lnTo>
                      <a:pt x="5157" y="680"/>
                    </a:lnTo>
                    <a:lnTo>
                      <a:pt x="5157" y="680"/>
                    </a:lnTo>
                    <a:lnTo>
                      <a:pt x="5157" y="611"/>
                    </a:lnTo>
                    <a:moveTo>
                      <a:pt x="3188" y="583"/>
                    </a:moveTo>
                    <a:lnTo>
                      <a:pt x="3188" y="583"/>
                    </a:lnTo>
                    <a:lnTo>
                      <a:pt x="3185" y="583"/>
                    </a:lnTo>
                    <a:lnTo>
                      <a:pt x="3185" y="585"/>
                    </a:lnTo>
                    <a:lnTo>
                      <a:pt x="3185" y="606"/>
                    </a:lnTo>
                    <a:lnTo>
                      <a:pt x="3188" y="606"/>
                    </a:lnTo>
                    <a:lnTo>
                      <a:pt x="3188" y="583"/>
                    </a:lnTo>
                    <a:moveTo>
                      <a:pt x="208" y="547"/>
                    </a:moveTo>
                    <a:lnTo>
                      <a:pt x="206" y="547"/>
                    </a:lnTo>
                    <a:lnTo>
                      <a:pt x="206" y="550"/>
                    </a:lnTo>
                    <a:lnTo>
                      <a:pt x="206" y="566"/>
                    </a:lnTo>
                    <a:lnTo>
                      <a:pt x="208" y="566"/>
                    </a:lnTo>
                    <a:lnTo>
                      <a:pt x="208" y="547"/>
                    </a:lnTo>
                    <a:moveTo>
                      <a:pt x="6931" y="509"/>
                    </a:moveTo>
                    <a:lnTo>
                      <a:pt x="6928" y="509"/>
                    </a:lnTo>
                    <a:lnTo>
                      <a:pt x="6928" y="512"/>
                    </a:lnTo>
                    <a:lnTo>
                      <a:pt x="6928" y="1042"/>
                    </a:lnTo>
                    <a:lnTo>
                      <a:pt x="6931" y="1042"/>
                    </a:lnTo>
                    <a:lnTo>
                      <a:pt x="6931" y="509"/>
                    </a:lnTo>
                    <a:moveTo>
                      <a:pt x="4098" y="505"/>
                    </a:moveTo>
                    <a:lnTo>
                      <a:pt x="4098" y="505"/>
                    </a:lnTo>
                    <a:lnTo>
                      <a:pt x="4098" y="507"/>
                    </a:lnTo>
                    <a:lnTo>
                      <a:pt x="4072" y="540"/>
                    </a:lnTo>
                    <a:lnTo>
                      <a:pt x="4072" y="540"/>
                    </a:lnTo>
                    <a:lnTo>
                      <a:pt x="4098" y="505"/>
                    </a:lnTo>
                    <a:moveTo>
                      <a:pt x="3204" y="502"/>
                    </a:moveTo>
                    <a:lnTo>
                      <a:pt x="3204" y="502"/>
                    </a:lnTo>
                    <a:lnTo>
                      <a:pt x="3204" y="502"/>
                    </a:lnTo>
                    <a:lnTo>
                      <a:pt x="3204" y="505"/>
                    </a:lnTo>
                    <a:lnTo>
                      <a:pt x="3204" y="566"/>
                    </a:lnTo>
                    <a:lnTo>
                      <a:pt x="3204" y="566"/>
                    </a:lnTo>
                    <a:lnTo>
                      <a:pt x="3204" y="564"/>
                    </a:lnTo>
                    <a:lnTo>
                      <a:pt x="3204" y="564"/>
                    </a:lnTo>
                    <a:lnTo>
                      <a:pt x="3204" y="502"/>
                    </a:lnTo>
                    <a:moveTo>
                      <a:pt x="3942" y="455"/>
                    </a:moveTo>
                    <a:lnTo>
                      <a:pt x="3940" y="455"/>
                    </a:lnTo>
                    <a:lnTo>
                      <a:pt x="3940" y="455"/>
                    </a:lnTo>
                    <a:lnTo>
                      <a:pt x="3940" y="457"/>
                    </a:lnTo>
                    <a:lnTo>
                      <a:pt x="3940" y="493"/>
                    </a:lnTo>
                    <a:lnTo>
                      <a:pt x="3859" y="644"/>
                    </a:lnTo>
                    <a:lnTo>
                      <a:pt x="3859" y="876"/>
                    </a:lnTo>
                    <a:lnTo>
                      <a:pt x="3859" y="876"/>
                    </a:lnTo>
                    <a:lnTo>
                      <a:pt x="3859" y="642"/>
                    </a:lnTo>
                    <a:lnTo>
                      <a:pt x="3942" y="490"/>
                    </a:lnTo>
                    <a:lnTo>
                      <a:pt x="3942" y="455"/>
                    </a:lnTo>
                    <a:moveTo>
                      <a:pt x="3235" y="434"/>
                    </a:moveTo>
                    <a:lnTo>
                      <a:pt x="3233" y="434"/>
                    </a:lnTo>
                    <a:lnTo>
                      <a:pt x="3233" y="436"/>
                    </a:lnTo>
                    <a:lnTo>
                      <a:pt x="3233" y="474"/>
                    </a:lnTo>
                    <a:lnTo>
                      <a:pt x="3233" y="474"/>
                    </a:lnTo>
                    <a:lnTo>
                      <a:pt x="3233" y="472"/>
                    </a:lnTo>
                    <a:lnTo>
                      <a:pt x="3235" y="472"/>
                    </a:lnTo>
                    <a:lnTo>
                      <a:pt x="3235" y="434"/>
                    </a:lnTo>
                    <a:moveTo>
                      <a:pt x="3947" y="391"/>
                    </a:moveTo>
                    <a:lnTo>
                      <a:pt x="3947" y="391"/>
                    </a:lnTo>
                    <a:lnTo>
                      <a:pt x="3947" y="391"/>
                    </a:lnTo>
                    <a:lnTo>
                      <a:pt x="3947" y="393"/>
                    </a:lnTo>
                    <a:lnTo>
                      <a:pt x="3947" y="450"/>
                    </a:lnTo>
                    <a:lnTo>
                      <a:pt x="3947" y="450"/>
                    </a:lnTo>
                    <a:lnTo>
                      <a:pt x="3947" y="448"/>
                    </a:lnTo>
                    <a:lnTo>
                      <a:pt x="3947" y="448"/>
                    </a:lnTo>
                    <a:lnTo>
                      <a:pt x="3947" y="391"/>
                    </a:lnTo>
                    <a:moveTo>
                      <a:pt x="1715" y="370"/>
                    </a:moveTo>
                    <a:lnTo>
                      <a:pt x="1712" y="370"/>
                    </a:lnTo>
                    <a:lnTo>
                      <a:pt x="1712" y="372"/>
                    </a:lnTo>
                    <a:lnTo>
                      <a:pt x="1712" y="1080"/>
                    </a:lnTo>
                    <a:lnTo>
                      <a:pt x="1715" y="1080"/>
                    </a:lnTo>
                    <a:lnTo>
                      <a:pt x="1715" y="370"/>
                    </a:lnTo>
                    <a:moveTo>
                      <a:pt x="3956" y="329"/>
                    </a:moveTo>
                    <a:lnTo>
                      <a:pt x="3954" y="329"/>
                    </a:lnTo>
                    <a:lnTo>
                      <a:pt x="3954" y="329"/>
                    </a:lnTo>
                    <a:lnTo>
                      <a:pt x="3954" y="384"/>
                    </a:lnTo>
                    <a:lnTo>
                      <a:pt x="3956" y="384"/>
                    </a:lnTo>
                    <a:lnTo>
                      <a:pt x="3956" y="382"/>
                    </a:lnTo>
                    <a:lnTo>
                      <a:pt x="3956" y="382"/>
                    </a:lnTo>
                    <a:lnTo>
                      <a:pt x="3956" y="329"/>
                    </a:lnTo>
                    <a:moveTo>
                      <a:pt x="4609" y="232"/>
                    </a:moveTo>
                    <a:lnTo>
                      <a:pt x="4606" y="232"/>
                    </a:lnTo>
                    <a:lnTo>
                      <a:pt x="4606" y="235"/>
                    </a:lnTo>
                    <a:lnTo>
                      <a:pt x="4547" y="450"/>
                    </a:lnTo>
                    <a:lnTo>
                      <a:pt x="4550" y="450"/>
                    </a:lnTo>
                    <a:lnTo>
                      <a:pt x="4609" y="232"/>
                    </a:lnTo>
                    <a:moveTo>
                      <a:pt x="4708" y="173"/>
                    </a:moveTo>
                    <a:lnTo>
                      <a:pt x="4708" y="173"/>
                    </a:lnTo>
                    <a:lnTo>
                      <a:pt x="4708" y="176"/>
                    </a:lnTo>
                    <a:lnTo>
                      <a:pt x="4708" y="180"/>
                    </a:lnTo>
                    <a:lnTo>
                      <a:pt x="4708" y="180"/>
                    </a:lnTo>
                    <a:lnTo>
                      <a:pt x="4708" y="173"/>
                    </a:lnTo>
                    <a:moveTo>
                      <a:pt x="4758" y="0"/>
                    </a:moveTo>
                    <a:lnTo>
                      <a:pt x="4755" y="0"/>
                    </a:lnTo>
                    <a:lnTo>
                      <a:pt x="4755" y="3"/>
                    </a:lnTo>
                    <a:lnTo>
                      <a:pt x="4755" y="126"/>
                    </a:lnTo>
                    <a:lnTo>
                      <a:pt x="4758" y="126"/>
                    </a:lnTo>
                    <a:lnTo>
                      <a:pt x="4758" y="123"/>
                    </a:lnTo>
                    <a:lnTo>
                      <a:pt x="4758" y="123"/>
                    </a:lnTo>
                    <a:lnTo>
                      <a:pt x="475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7" name="Freeform 90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close/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8" name="Freeform 91"/>
              <p:cNvSpPr>
                <a:spLocks noEditPoints="1"/>
              </p:cNvSpPr>
              <p:nvPr/>
            </p:nvSpPr>
            <p:spPr bwMode="auto">
              <a:xfrm>
                <a:off x="-3" y="1712"/>
                <a:ext cx="7025" cy="1485"/>
              </a:xfrm>
              <a:custGeom>
                <a:avLst/>
                <a:gdLst>
                  <a:gd name="T0" fmla="*/ 0 w 7025"/>
                  <a:gd name="T1" fmla="*/ 1482 h 1485"/>
                  <a:gd name="T2" fmla="*/ 3708 w 7025"/>
                  <a:gd name="T3" fmla="*/ 1222 h 1485"/>
                  <a:gd name="T4" fmla="*/ 3710 w 7025"/>
                  <a:gd name="T5" fmla="*/ 1222 h 1485"/>
                  <a:gd name="T6" fmla="*/ 5829 w 7025"/>
                  <a:gd name="T7" fmla="*/ 1210 h 1485"/>
                  <a:gd name="T8" fmla="*/ 1688 w 7025"/>
                  <a:gd name="T9" fmla="*/ 1132 h 1485"/>
                  <a:gd name="T10" fmla="*/ 1686 w 7025"/>
                  <a:gd name="T11" fmla="*/ 1134 h 1485"/>
                  <a:gd name="T12" fmla="*/ 5855 w 7025"/>
                  <a:gd name="T13" fmla="*/ 1127 h 1485"/>
                  <a:gd name="T14" fmla="*/ 5855 w 7025"/>
                  <a:gd name="T15" fmla="*/ 1184 h 1485"/>
                  <a:gd name="T16" fmla="*/ 6323 w 7025"/>
                  <a:gd name="T17" fmla="*/ 1127 h 1485"/>
                  <a:gd name="T18" fmla="*/ 6321 w 7025"/>
                  <a:gd name="T19" fmla="*/ 1158 h 1485"/>
                  <a:gd name="T20" fmla="*/ 1461 w 7025"/>
                  <a:gd name="T21" fmla="*/ 1082 h 1485"/>
                  <a:gd name="T22" fmla="*/ 1464 w 7025"/>
                  <a:gd name="T23" fmla="*/ 1106 h 1485"/>
                  <a:gd name="T24" fmla="*/ 2859 w 7025"/>
                  <a:gd name="T25" fmla="*/ 1061 h 1485"/>
                  <a:gd name="T26" fmla="*/ 2859 w 7025"/>
                  <a:gd name="T27" fmla="*/ 1189 h 1485"/>
                  <a:gd name="T28" fmla="*/ 5928 w 7025"/>
                  <a:gd name="T29" fmla="*/ 1040 h 1485"/>
                  <a:gd name="T30" fmla="*/ 5930 w 7025"/>
                  <a:gd name="T31" fmla="*/ 1040 h 1485"/>
                  <a:gd name="T32" fmla="*/ 2875 w 7025"/>
                  <a:gd name="T33" fmla="*/ 1044 h 1485"/>
                  <a:gd name="T34" fmla="*/ 2878 w 7025"/>
                  <a:gd name="T35" fmla="*/ 1011 h 1485"/>
                  <a:gd name="T36" fmla="*/ 3767 w 7025"/>
                  <a:gd name="T37" fmla="*/ 1172 h 1485"/>
                  <a:gd name="T38" fmla="*/ 5947 w 7025"/>
                  <a:gd name="T39" fmla="*/ 990 h 1485"/>
                  <a:gd name="T40" fmla="*/ 5947 w 7025"/>
                  <a:gd name="T41" fmla="*/ 1021 h 1485"/>
                  <a:gd name="T42" fmla="*/ 6337 w 7025"/>
                  <a:gd name="T43" fmla="*/ 936 h 1485"/>
                  <a:gd name="T44" fmla="*/ 6339 w 7025"/>
                  <a:gd name="T45" fmla="*/ 1108 h 1485"/>
                  <a:gd name="T46" fmla="*/ 3843 w 7025"/>
                  <a:gd name="T47" fmla="*/ 926 h 1485"/>
                  <a:gd name="T48" fmla="*/ 3845 w 7025"/>
                  <a:gd name="T49" fmla="*/ 926 h 1485"/>
                  <a:gd name="T50" fmla="*/ 6387 w 7025"/>
                  <a:gd name="T51" fmla="*/ 879 h 1485"/>
                  <a:gd name="T52" fmla="*/ 6389 w 7025"/>
                  <a:gd name="T53" fmla="*/ 883 h 1485"/>
                  <a:gd name="T54" fmla="*/ 6396 w 7025"/>
                  <a:gd name="T55" fmla="*/ 850 h 1485"/>
                  <a:gd name="T56" fmla="*/ 6396 w 7025"/>
                  <a:gd name="T57" fmla="*/ 869 h 1485"/>
                  <a:gd name="T58" fmla="*/ 3098 w 7025"/>
                  <a:gd name="T59" fmla="*/ 763 h 1485"/>
                  <a:gd name="T60" fmla="*/ 3100 w 7025"/>
                  <a:gd name="T61" fmla="*/ 763 h 1485"/>
                  <a:gd name="T62" fmla="*/ 1007 w 7025"/>
                  <a:gd name="T63" fmla="*/ 777 h 1485"/>
                  <a:gd name="T64" fmla="*/ 5129 w 7025"/>
                  <a:gd name="T65" fmla="*/ 732 h 1485"/>
                  <a:gd name="T66" fmla="*/ 5131 w 7025"/>
                  <a:gd name="T67" fmla="*/ 732 h 1485"/>
                  <a:gd name="T68" fmla="*/ 3136 w 7025"/>
                  <a:gd name="T69" fmla="*/ 725 h 1485"/>
                  <a:gd name="T70" fmla="*/ 3138 w 7025"/>
                  <a:gd name="T71" fmla="*/ 656 h 1485"/>
                  <a:gd name="T72" fmla="*/ 95 w 7025"/>
                  <a:gd name="T73" fmla="*/ 1402 h 1485"/>
                  <a:gd name="T74" fmla="*/ 5249 w 7025"/>
                  <a:gd name="T75" fmla="*/ 609 h 1485"/>
                  <a:gd name="T76" fmla="*/ 5252 w 7025"/>
                  <a:gd name="T77" fmla="*/ 609 h 1485"/>
                  <a:gd name="T78" fmla="*/ 3280 w 7025"/>
                  <a:gd name="T79" fmla="*/ 583 h 1485"/>
                  <a:gd name="T80" fmla="*/ 300 w 7025"/>
                  <a:gd name="T81" fmla="*/ 547 h 1485"/>
                  <a:gd name="T82" fmla="*/ 300 w 7025"/>
                  <a:gd name="T83" fmla="*/ 566 h 1485"/>
                  <a:gd name="T84" fmla="*/ 7023 w 7025"/>
                  <a:gd name="T85" fmla="*/ 509 h 1485"/>
                  <a:gd name="T86" fmla="*/ 4192 w 7025"/>
                  <a:gd name="T87" fmla="*/ 502 h 1485"/>
                  <a:gd name="T88" fmla="*/ 4164 w 7025"/>
                  <a:gd name="T89" fmla="*/ 540 h 1485"/>
                  <a:gd name="T90" fmla="*/ 3296 w 7025"/>
                  <a:gd name="T91" fmla="*/ 500 h 1485"/>
                  <a:gd name="T92" fmla="*/ 3299 w 7025"/>
                  <a:gd name="T93" fmla="*/ 561 h 1485"/>
                  <a:gd name="T94" fmla="*/ 4034 w 7025"/>
                  <a:gd name="T95" fmla="*/ 453 h 1485"/>
                  <a:gd name="T96" fmla="*/ 3951 w 7025"/>
                  <a:gd name="T97" fmla="*/ 642 h 1485"/>
                  <a:gd name="T98" fmla="*/ 4036 w 7025"/>
                  <a:gd name="T99" fmla="*/ 488 h 1485"/>
                  <a:gd name="T100" fmla="*/ 3327 w 7025"/>
                  <a:gd name="T101" fmla="*/ 434 h 1485"/>
                  <a:gd name="T102" fmla="*/ 3327 w 7025"/>
                  <a:gd name="T103" fmla="*/ 472 h 1485"/>
                  <a:gd name="T104" fmla="*/ 4039 w 7025"/>
                  <a:gd name="T105" fmla="*/ 391 h 1485"/>
                  <a:gd name="T106" fmla="*/ 4041 w 7025"/>
                  <a:gd name="T107" fmla="*/ 445 h 1485"/>
                  <a:gd name="T108" fmla="*/ 1807 w 7025"/>
                  <a:gd name="T109" fmla="*/ 367 h 1485"/>
                  <a:gd name="T110" fmla="*/ 1809 w 7025"/>
                  <a:gd name="T111" fmla="*/ 367 h 1485"/>
                  <a:gd name="T112" fmla="*/ 4048 w 7025"/>
                  <a:gd name="T113" fmla="*/ 382 h 1485"/>
                  <a:gd name="T114" fmla="*/ 4051 w 7025"/>
                  <a:gd name="T115" fmla="*/ 327 h 1485"/>
                  <a:gd name="T116" fmla="*/ 4642 w 7025"/>
                  <a:gd name="T117" fmla="*/ 450 h 1485"/>
                  <a:gd name="T118" fmla="*/ 4800 w 7025"/>
                  <a:gd name="T119" fmla="*/ 171 h 1485"/>
                  <a:gd name="T120" fmla="*/ 4802 w 7025"/>
                  <a:gd name="T121" fmla="*/ 171 h 1485"/>
                  <a:gd name="T122" fmla="*/ 4850 w 7025"/>
                  <a:gd name="T123" fmla="*/ 123 h 1485"/>
                  <a:gd name="T124" fmla="*/ 4852 w 7025"/>
                  <a:gd name="T125" fmla="*/ 0 h 1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5" h="1485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85"/>
                    </a:lnTo>
                    <a:lnTo>
                      <a:pt x="0" y="1482"/>
                    </a:lnTo>
                    <a:lnTo>
                      <a:pt x="0" y="1482"/>
                    </a:lnTo>
                    <a:lnTo>
                      <a:pt x="0" y="1452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65"/>
                    </a:lnTo>
                    <a:lnTo>
                      <a:pt x="3710" y="1265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274"/>
                    </a:lnTo>
                    <a:lnTo>
                      <a:pt x="5831" y="1274"/>
                    </a:lnTo>
                    <a:lnTo>
                      <a:pt x="5831" y="120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82"/>
                    </a:lnTo>
                    <a:lnTo>
                      <a:pt x="5855" y="1182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158"/>
                    </a:lnTo>
                    <a:lnTo>
                      <a:pt x="6323" y="1158"/>
                    </a:lnTo>
                    <a:lnTo>
                      <a:pt x="6323" y="1127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189"/>
                    </a:lnTo>
                    <a:lnTo>
                      <a:pt x="2859" y="1189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078"/>
                    </a:lnTo>
                    <a:lnTo>
                      <a:pt x="5930" y="1078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72"/>
                    </a:lnTo>
                    <a:lnTo>
                      <a:pt x="3769" y="1172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1"/>
                    </a:lnTo>
                    <a:lnTo>
                      <a:pt x="5949" y="1021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43"/>
                    </a:lnTo>
                    <a:lnTo>
                      <a:pt x="3845" y="943"/>
                    </a:lnTo>
                    <a:lnTo>
                      <a:pt x="3845" y="926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86"/>
                    </a:lnTo>
                    <a:lnTo>
                      <a:pt x="6387" y="886"/>
                    </a:lnTo>
                    <a:lnTo>
                      <a:pt x="6387" y="883"/>
                    </a:lnTo>
                    <a:lnTo>
                      <a:pt x="6389" y="883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28"/>
                    </a:lnTo>
                    <a:lnTo>
                      <a:pt x="3100" y="928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77"/>
                    </a:lnTo>
                    <a:lnTo>
                      <a:pt x="1007" y="777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21"/>
                    </a:lnTo>
                    <a:lnTo>
                      <a:pt x="5131" y="921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25"/>
                    </a:lnTo>
                    <a:lnTo>
                      <a:pt x="3136" y="725"/>
                    </a:lnTo>
                    <a:lnTo>
                      <a:pt x="3136" y="722"/>
                    </a:lnTo>
                    <a:lnTo>
                      <a:pt x="3138" y="722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02"/>
                    </a:lnTo>
                    <a:lnTo>
                      <a:pt x="97" y="1402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680"/>
                    </a:lnTo>
                    <a:lnTo>
                      <a:pt x="5252" y="680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06"/>
                    </a:lnTo>
                    <a:lnTo>
                      <a:pt x="3282" y="606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66"/>
                    </a:lnTo>
                    <a:lnTo>
                      <a:pt x="300" y="566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042"/>
                    </a:lnTo>
                    <a:lnTo>
                      <a:pt x="7025" y="1042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64" y="540"/>
                    </a:lnTo>
                    <a:lnTo>
                      <a:pt x="4164" y="540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876"/>
                    </a:lnTo>
                    <a:lnTo>
                      <a:pt x="3954" y="876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4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72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080"/>
                    </a:lnTo>
                    <a:lnTo>
                      <a:pt x="1809" y="1080"/>
                    </a:lnTo>
                    <a:lnTo>
                      <a:pt x="1809" y="367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42" y="450"/>
                    </a:lnTo>
                    <a:lnTo>
                      <a:pt x="4644" y="448"/>
                    </a:lnTo>
                    <a:lnTo>
                      <a:pt x="4703" y="230"/>
                    </a:lnTo>
                    <a:moveTo>
                      <a:pt x="4802" y="171"/>
                    </a:move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180"/>
                    </a:lnTo>
                    <a:lnTo>
                      <a:pt x="4802" y="180"/>
                    </a:lnTo>
                    <a:lnTo>
                      <a:pt x="4802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23"/>
                    </a:lnTo>
                    <a:lnTo>
                      <a:pt x="4852" y="123"/>
                    </a:lnTo>
                    <a:lnTo>
                      <a:pt x="4852" y="121"/>
                    </a:lnTo>
                    <a:lnTo>
                      <a:pt x="4852" y="121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9" name="Freeform 92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CDB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0" name="Freeform 93"/>
              <p:cNvSpPr>
                <a:spLocks noEditPoints="1"/>
              </p:cNvSpPr>
              <p:nvPr/>
            </p:nvSpPr>
            <p:spPr bwMode="auto">
              <a:xfrm>
                <a:off x="-3" y="1710"/>
                <a:ext cx="7028" cy="1484"/>
              </a:xfrm>
              <a:custGeom>
                <a:avLst/>
                <a:gdLst>
                  <a:gd name="T0" fmla="*/ 3 w 7028"/>
                  <a:gd name="T1" fmla="*/ 1484 h 1484"/>
                  <a:gd name="T2" fmla="*/ 5668 w 7028"/>
                  <a:gd name="T3" fmla="*/ 1399 h 1484"/>
                  <a:gd name="T4" fmla="*/ 3710 w 7028"/>
                  <a:gd name="T5" fmla="*/ 1267 h 1484"/>
                  <a:gd name="T6" fmla="*/ 5831 w 7028"/>
                  <a:gd name="T7" fmla="*/ 1207 h 1484"/>
                  <a:gd name="T8" fmla="*/ 1691 w 7028"/>
                  <a:gd name="T9" fmla="*/ 1132 h 1484"/>
                  <a:gd name="T10" fmla="*/ 1688 w 7028"/>
                  <a:gd name="T11" fmla="*/ 1132 h 1484"/>
                  <a:gd name="T12" fmla="*/ 5855 w 7028"/>
                  <a:gd name="T13" fmla="*/ 1129 h 1484"/>
                  <a:gd name="T14" fmla="*/ 5857 w 7028"/>
                  <a:gd name="T15" fmla="*/ 1127 h 1484"/>
                  <a:gd name="T16" fmla="*/ 6323 w 7028"/>
                  <a:gd name="T17" fmla="*/ 1160 h 1484"/>
                  <a:gd name="T18" fmla="*/ 1447 w 7028"/>
                  <a:gd name="T19" fmla="*/ 1125 h 1484"/>
                  <a:gd name="T20" fmla="*/ 1464 w 7028"/>
                  <a:gd name="T21" fmla="*/ 1082 h 1484"/>
                  <a:gd name="T22" fmla="*/ 1464 w 7028"/>
                  <a:gd name="T23" fmla="*/ 1106 h 1484"/>
                  <a:gd name="T24" fmla="*/ 2859 w 7028"/>
                  <a:gd name="T25" fmla="*/ 1063 h 1484"/>
                  <a:gd name="T26" fmla="*/ 5933 w 7028"/>
                  <a:gd name="T27" fmla="*/ 1042 h 1484"/>
                  <a:gd name="T28" fmla="*/ 5933 w 7028"/>
                  <a:gd name="T29" fmla="*/ 1042 h 1484"/>
                  <a:gd name="T30" fmla="*/ 2878 w 7028"/>
                  <a:gd name="T31" fmla="*/ 1044 h 1484"/>
                  <a:gd name="T32" fmla="*/ 3769 w 7028"/>
                  <a:gd name="T33" fmla="*/ 992 h 1484"/>
                  <a:gd name="T34" fmla="*/ 5949 w 7028"/>
                  <a:gd name="T35" fmla="*/ 990 h 1484"/>
                  <a:gd name="T36" fmla="*/ 5949 w 7028"/>
                  <a:gd name="T37" fmla="*/ 1023 h 1484"/>
                  <a:gd name="T38" fmla="*/ 6339 w 7028"/>
                  <a:gd name="T39" fmla="*/ 938 h 1484"/>
                  <a:gd name="T40" fmla="*/ 6342 w 7028"/>
                  <a:gd name="T41" fmla="*/ 935 h 1484"/>
                  <a:gd name="T42" fmla="*/ 3847 w 7028"/>
                  <a:gd name="T43" fmla="*/ 945 h 1484"/>
                  <a:gd name="T44" fmla="*/ 6389 w 7028"/>
                  <a:gd name="T45" fmla="*/ 881 h 1484"/>
                  <a:gd name="T46" fmla="*/ 6396 w 7028"/>
                  <a:gd name="T47" fmla="*/ 850 h 1484"/>
                  <a:gd name="T48" fmla="*/ 6399 w 7028"/>
                  <a:gd name="T49" fmla="*/ 869 h 1484"/>
                  <a:gd name="T50" fmla="*/ 3100 w 7028"/>
                  <a:gd name="T51" fmla="*/ 765 h 1484"/>
                  <a:gd name="T52" fmla="*/ 1007 w 7028"/>
                  <a:gd name="T53" fmla="*/ 753 h 1484"/>
                  <a:gd name="T54" fmla="*/ 5134 w 7028"/>
                  <a:gd name="T55" fmla="*/ 732 h 1484"/>
                  <a:gd name="T56" fmla="*/ 5134 w 7028"/>
                  <a:gd name="T57" fmla="*/ 732 h 1484"/>
                  <a:gd name="T58" fmla="*/ 3138 w 7028"/>
                  <a:gd name="T59" fmla="*/ 724 h 1484"/>
                  <a:gd name="T60" fmla="*/ 97 w 7028"/>
                  <a:gd name="T61" fmla="*/ 616 h 1484"/>
                  <a:gd name="T62" fmla="*/ 5254 w 7028"/>
                  <a:gd name="T63" fmla="*/ 608 h 1484"/>
                  <a:gd name="T64" fmla="*/ 5254 w 7028"/>
                  <a:gd name="T65" fmla="*/ 608 h 1484"/>
                  <a:gd name="T66" fmla="*/ 3282 w 7028"/>
                  <a:gd name="T67" fmla="*/ 608 h 1484"/>
                  <a:gd name="T68" fmla="*/ 300 w 7028"/>
                  <a:gd name="T69" fmla="*/ 549 h 1484"/>
                  <a:gd name="T70" fmla="*/ 7025 w 7028"/>
                  <a:gd name="T71" fmla="*/ 509 h 1484"/>
                  <a:gd name="T72" fmla="*/ 4195 w 7028"/>
                  <a:gd name="T73" fmla="*/ 502 h 1484"/>
                  <a:gd name="T74" fmla="*/ 4195 w 7028"/>
                  <a:gd name="T75" fmla="*/ 502 h 1484"/>
                  <a:gd name="T76" fmla="*/ 3299 w 7028"/>
                  <a:gd name="T77" fmla="*/ 563 h 1484"/>
                  <a:gd name="T78" fmla="*/ 4039 w 7028"/>
                  <a:gd name="T79" fmla="*/ 455 h 1484"/>
                  <a:gd name="T80" fmla="*/ 3954 w 7028"/>
                  <a:gd name="T81" fmla="*/ 642 h 1484"/>
                  <a:gd name="T82" fmla="*/ 4039 w 7028"/>
                  <a:gd name="T83" fmla="*/ 455 h 1484"/>
                  <a:gd name="T84" fmla="*/ 3329 w 7028"/>
                  <a:gd name="T85" fmla="*/ 474 h 1484"/>
                  <a:gd name="T86" fmla="*/ 4041 w 7028"/>
                  <a:gd name="T87" fmla="*/ 391 h 1484"/>
                  <a:gd name="T88" fmla="*/ 4043 w 7028"/>
                  <a:gd name="T89" fmla="*/ 445 h 1484"/>
                  <a:gd name="T90" fmla="*/ 1809 w 7028"/>
                  <a:gd name="T91" fmla="*/ 369 h 1484"/>
                  <a:gd name="T92" fmla="*/ 4051 w 7028"/>
                  <a:gd name="T93" fmla="*/ 327 h 1484"/>
                  <a:gd name="T94" fmla="*/ 4051 w 7028"/>
                  <a:gd name="T95" fmla="*/ 381 h 1484"/>
                  <a:gd name="T96" fmla="*/ 4644 w 7028"/>
                  <a:gd name="T97" fmla="*/ 450 h 1484"/>
                  <a:gd name="T98" fmla="*/ 4802 w 7028"/>
                  <a:gd name="T99" fmla="*/ 173 h 1484"/>
                  <a:gd name="T100" fmla="*/ 4852 w 7028"/>
                  <a:gd name="T101" fmla="*/ 0 h 1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028" h="1484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84"/>
                    </a:lnTo>
                    <a:lnTo>
                      <a:pt x="3" y="1484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99"/>
                    </a:lnTo>
                    <a:lnTo>
                      <a:pt x="5668" y="1399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67"/>
                    </a:lnTo>
                    <a:lnTo>
                      <a:pt x="3712" y="126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76"/>
                    </a:lnTo>
                    <a:lnTo>
                      <a:pt x="5831" y="1276"/>
                    </a:lnTo>
                    <a:lnTo>
                      <a:pt x="5831" y="1207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0"/>
                    </a:lnTo>
                    <a:lnTo>
                      <a:pt x="6323" y="116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51"/>
                    </a:lnTo>
                    <a:lnTo>
                      <a:pt x="1447" y="1151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1"/>
                    </a:lnTo>
                    <a:lnTo>
                      <a:pt x="2861" y="1191"/>
                    </a:lnTo>
                    <a:lnTo>
                      <a:pt x="2861" y="1061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80"/>
                    </a:lnTo>
                    <a:lnTo>
                      <a:pt x="5933" y="1080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4"/>
                    </a:lnTo>
                    <a:lnTo>
                      <a:pt x="3772" y="1174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45"/>
                    </a:lnTo>
                    <a:lnTo>
                      <a:pt x="3847" y="945"/>
                    </a:lnTo>
                    <a:lnTo>
                      <a:pt x="3847" y="928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85"/>
                    </a:lnTo>
                    <a:lnTo>
                      <a:pt x="6391" y="885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30"/>
                    </a:lnTo>
                    <a:lnTo>
                      <a:pt x="3102" y="930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79"/>
                    </a:lnTo>
                    <a:lnTo>
                      <a:pt x="1010" y="779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3"/>
                    </a:lnTo>
                    <a:lnTo>
                      <a:pt x="5134" y="923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04"/>
                    </a:lnTo>
                    <a:lnTo>
                      <a:pt x="97" y="1404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2"/>
                    </a:lnTo>
                    <a:lnTo>
                      <a:pt x="5254" y="682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08"/>
                    </a:lnTo>
                    <a:lnTo>
                      <a:pt x="3284" y="608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68"/>
                    </a:lnTo>
                    <a:lnTo>
                      <a:pt x="303" y="568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044"/>
                    </a:lnTo>
                    <a:lnTo>
                      <a:pt x="7028" y="1044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64" y="542"/>
                    </a:lnTo>
                    <a:lnTo>
                      <a:pt x="4164" y="542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78"/>
                    </a:lnTo>
                    <a:lnTo>
                      <a:pt x="3956" y="878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2"/>
                    </a:lnTo>
                    <a:lnTo>
                      <a:pt x="1811" y="1082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4" y="450"/>
                    </a:lnTo>
                    <a:lnTo>
                      <a:pt x="4644" y="450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2" y="170"/>
                    </a:lnTo>
                    <a:lnTo>
                      <a:pt x="4802" y="173"/>
                    </a:lnTo>
                    <a:lnTo>
                      <a:pt x="4802" y="182"/>
                    </a:lnTo>
                    <a:lnTo>
                      <a:pt x="4805" y="182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3"/>
                    </a:lnTo>
                    <a:lnTo>
                      <a:pt x="4855" y="123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1" name="Freeform 94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close/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close/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close/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ADAD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2" name="Freeform 95"/>
              <p:cNvSpPr>
                <a:spLocks noEditPoints="1"/>
              </p:cNvSpPr>
              <p:nvPr/>
            </p:nvSpPr>
            <p:spPr bwMode="auto">
              <a:xfrm>
                <a:off x="0" y="1708"/>
                <a:ext cx="7025" cy="1486"/>
              </a:xfrm>
              <a:custGeom>
                <a:avLst/>
                <a:gdLst>
                  <a:gd name="T0" fmla="*/ 2 w 7025"/>
                  <a:gd name="T1" fmla="*/ 1486 h 1486"/>
                  <a:gd name="T2" fmla="*/ 5665 w 7025"/>
                  <a:gd name="T3" fmla="*/ 1401 h 1486"/>
                  <a:gd name="T4" fmla="*/ 3709 w 7025"/>
                  <a:gd name="T5" fmla="*/ 1224 h 1486"/>
                  <a:gd name="T6" fmla="*/ 5830 w 7025"/>
                  <a:gd name="T7" fmla="*/ 1207 h 1486"/>
                  <a:gd name="T8" fmla="*/ 5830 w 7025"/>
                  <a:gd name="T9" fmla="*/ 1207 h 1486"/>
                  <a:gd name="T10" fmla="*/ 1688 w 7025"/>
                  <a:gd name="T11" fmla="*/ 1134 h 1486"/>
                  <a:gd name="T12" fmla="*/ 5854 w 7025"/>
                  <a:gd name="T13" fmla="*/ 1127 h 1486"/>
                  <a:gd name="T14" fmla="*/ 5856 w 7025"/>
                  <a:gd name="T15" fmla="*/ 1181 h 1486"/>
                  <a:gd name="T16" fmla="*/ 6320 w 7025"/>
                  <a:gd name="T17" fmla="*/ 1129 h 1486"/>
                  <a:gd name="T18" fmla="*/ 1444 w 7025"/>
                  <a:gd name="T19" fmla="*/ 1124 h 1486"/>
                  <a:gd name="T20" fmla="*/ 1447 w 7025"/>
                  <a:gd name="T21" fmla="*/ 1124 h 1486"/>
                  <a:gd name="T22" fmla="*/ 1463 w 7025"/>
                  <a:gd name="T23" fmla="*/ 1108 h 1486"/>
                  <a:gd name="T24" fmla="*/ 2858 w 7025"/>
                  <a:gd name="T25" fmla="*/ 1063 h 1486"/>
                  <a:gd name="T26" fmla="*/ 2861 w 7025"/>
                  <a:gd name="T27" fmla="*/ 1063 h 1486"/>
                  <a:gd name="T28" fmla="*/ 5930 w 7025"/>
                  <a:gd name="T29" fmla="*/ 1082 h 1486"/>
                  <a:gd name="T30" fmla="*/ 2875 w 7025"/>
                  <a:gd name="T31" fmla="*/ 1013 h 1486"/>
                  <a:gd name="T32" fmla="*/ 2877 w 7025"/>
                  <a:gd name="T33" fmla="*/ 1011 h 1486"/>
                  <a:gd name="T34" fmla="*/ 3771 w 7025"/>
                  <a:gd name="T35" fmla="*/ 1176 h 1486"/>
                  <a:gd name="T36" fmla="*/ 5946 w 7025"/>
                  <a:gd name="T37" fmla="*/ 1025 h 1486"/>
                  <a:gd name="T38" fmla="*/ 6339 w 7025"/>
                  <a:gd name="T39" fmla="*/ 935 h 1486"/>
                  <a:gd name="T40" fmla="*/ 6339 w 7025"/>
                  <a:gd name="T41" fmla="*/ 1110 h 1486"/>
                  <a:gd name="T42" fmla="*/ 3844 w 7025"/>
                  <a:gd name="T43" fmla="*/ 928 h 1486"/>
                  <a:gd name="T44" fmla="*/ 6391 w 7025"/>
                  <a:gd name="T45" fmla="*/ 878 h 1486"/>
                  <a:gd name="T46" fmla="*/ 6388 w 7025"/>
                  <a:gd name="T47" fmla="*/ 887 h 1486"/>
                  <a:gd name="T48" fmla="*/ 6396 w 7025"/>
                  <a:gd name="T49" fmla="*/ 850 h 1486"/>
                  <a:gd name="T50" fmla="*/ 6398 w 7025"/>
                  <a:gd name="T51" fmla="*/ 869 h 1486"/>
                  <a:gd name="T52" fmla="*/ 3099 w 7025"/>
                  <a:gd name="T53" fmla="*/ 764 h 1486"/>
                  <a:gd name="T54" fmla="*/ 1007 w 7025"/>
                  <a:gd name="T55" fmla="*/ 753 h 1486"/>
                  <a:gd name="T56" fmla="*/ 5133 w 7025"/>
                  <a:gd name="T57" fmla="*/ 731 h 1486"/>
                  <a:gd name="T58" fmla="*/ 5133 w 7025"/>
                  <a:gd name="T59" fmla="*/ 731 h 1486"/>
                  <a:gd name="T60" fmla="*/ 3137 w 7025"/>
                  <a:gd name="T61" fmla="*/ 724 h 1486"/>
                  <a:gd name="T62" fmla="*/ 94 w 7025"/>
                  <a:gd name="T63" fmla="*/ 615 h 1486"/>
                  <a:gd name="T64" fmla="*/ 5253 w 7025"/>
                  <a:gd name="T65" fmla="*/ 608 h 1486"/>
                  <a:gd name="T66" fmla="*/ 5253 w 7025"/>
                  <a:gd name="T67" fmla="*/ 608 h 1486"/>
                  <a:gd name="T68" fmla="*/ 3281 w 7025"/>
                  <a:gd name="T69" fmla="*/ 610 h 1486"/>
                  <a:gd name="T70" fmla="*/ 300 w 7025"/>
                  <a:gd name="T71" fmla="*/ 549 h 1486"/>
                  <a:gd name="T72" fmla="*/ 7025 w 7025"/>
                  <a:gd name="T73" fmla="*/ 509 h 1486"/>
                  <a:gd name="T74" fmla="*/ 4194 w 7025"/>
                  <a:gd name="T75" fmla="*/ 502 h 1486"/>
                  <a:gd name="T76" fmla="*/ 4194 w 7025"/>
                  <a:gd name="T77" fmla="*/ 502 h 1486"/>
                  <a:gd name="T78" fmla="*/ 3298 w 7025"/>
                  <a:gd name="T79" fmla="*/ 565 h 1486"/>
                  <a:gd name="T80" fmla="*/ 4036 w 7025"/>
                  <a:gd name="T81" fmla="*/ 454 h 1486"/>
                  <a:gd name="T82" fmla="*/ 3953 w 7025"/>
                  <a:gd name="T83" fmla="*/ 644 h 1486"/>
                  <a:gd name="T84" fmla="*/ 4036 w 7025"/>
                  <a:gd name="T85" fmla="*/ 454 h 1486"/>
                  <a:gd name="T86" fmla="*/ 3329 w 7025"/>
                  <a:gd name="T87" fmla="*/ 473 h 1486"/>
                  <a:gd name="T88" fmla="*/ 4040 w 7025"/>
                  <a:gd name="T89" fmla="*/ 390 h 1486"/>
                  <a:gd name="T90" fmla="*/ 4043 w 7025"/>
                  <a:gd name="T91" fmla="*/ 447 h 1486"/>
                  <a:gd name="T92" fmla="*/ 1808 w 7025"/>
                  <a:gd name="T93" fmla="*/ 369 h 1486"/>
                  <a:gd name="T94" fmla="*/ 4048 w 7025"/>
                  <a:gd name="T95" fmla="*/ 326 h 1486"/>
                  <a:gd name="T96" fmla="*/ 4050 w 7025"/>
                  <a:gd name="T97" fmla="*/ 381 h 1486"/>
                  <a:gd name="T98" fmla="*/ 4641 w 7025"/>
                  <a:gd name="T99" fmla="*/ 452 h 1486"/>
                  <a:gd name="T100" fmla="*/ 4802 w 7025"/>
                  <a:gd name="T101" fmla="*/ 172 h 1486"/>
                  <a:gd name="T102" fmla="*/ 4852 w 7025"/>
                  <a:gd name="T103" fmla="*/ 0 h 1486"/>
                  <a:gd name="T104" fmla="*/ 4852 w 7025"/>
                  <a:gd name="T105" fmla="*/ 0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486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486"/>
                    </a:lnTo>
                    <a:lnTo>
                      <a:pt x="2" y="1486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1"/>
                    </a:lnTo>
                    <a:lnTo>
                      <a:pt x="5665" y="1401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269"/>
                    </a:lnTo>
                    <a:lnTo>
                      <a:pt x="3712" y="1269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278"/>
                    </a:lnTo>
                    <a:lnTo>
                      <a:pt x="5830" y="1278"/>
                    </a:lnTo>
                    <a:lnTo>
                      <a:pt x="5830" y="120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88" y="1131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4" y="1183"/>
                    </a:lnTo>
                    <a:lnTo>
                      <a:pt x="5854" y="1181"/>
                    </a:lnTo>
                    <a:lnTo>
                      <a:pt x="5856" y="1181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62"/>
                    </a:lnTo>
                    <a:lnTo>
                      <a:pt x="6322" y="116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53"/>
                    </a:lnTo>
                    <a:lnTo>
                      <a:pt x="1447" y="1153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193"/>
                    </a:lnTo>
                    <a:lnTo>
                      <a:pt x="2861" y="1193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082"/>
                    </a:lnTo>
                    <a:lnTo>
                      <a:pt x="5932" y="1082"/>
                    </a:lnTo>
                    <a:lnTo>
                      <a:pt x="5932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76"/>
                    </a:lnTo>
                    <a:lnTo>
                      <a:pt x="3771" y="1176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47"/>
                    </a:lnTo>
                    <a:lnTo>
                      <a:pt x="3844" y="947"/>
                    </a:lnTo>
                    <a:lnTo>
                      <a:pt x="3844" y="928"/>
                    </a:lnTo>
                    <a:moveTo>
                      <a:pt x="6391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88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32"/>
                    </a:lnTo>
                    <a:lnTo>
                      <a:pt x="3099" y="932"/>
                    </a:lnTo>
                    <a:lnTo>
                      <a:pt x="3099" y="762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81"/>
                    </a:lnTo>
                    <a:lnTo>
                      <a:pt x="1009" y="781"/>
                    </a:lnTo>
                    <a:lnTo>
                      <a:pt x="1009" y="753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25"/>
                    </a:lnTo>
                    <a:lnTo>
                      <a:pt x="5133" y="925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40" y="724"/>
                    </a:lnTo>
                    <a:lnTo>
                      <a:pt x="3140" y="655"/>
                    </a:lnTo>
                    <a:moveTo>
                      <a:pt x="96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06"/>
                    </a:lnTo>
                    <a:lnTo>
                      <a:pt x="96" y="1406"/>
                    </a:lnTo>
                    <a:lnTo>
                      <a:pt x="96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84"/>
                    </a:lnTo>
                    <a:lnTo>
                      <a:pt x="5253" y="684"/>
                    </a:lnTo>
                    <a:lnTo>
                      <a:pt x="5253" y="608"/>
                    </a:lnTo>
                    <a:moveTo>
                      <a:pt x="3284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10"/>
                    </a:lnTo>
                    <a:lnTo>
                      <a:pt x="3284" y="610"/>
                    </a:lnTo>
                    <a:lnTo>
                      <a:pt x="3284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70"/>
                    </a:lnTo>
                    <a:lnTo>
                      <a:pt x="302" y="570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046"/>
                    </a:lnTo>
                    <a:lnTo>
                      <a:pt x="7025" y="1046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61" y="544"/>
                    </a:lnTo>
                    <a:lnTo>
                      <a:pt x="4161" y="54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0"/>
                    </a:lnTo>
                    <a:lnTo>
                      <a:pt x="3955" y="880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0" y="390"/>
                    </a:lnTo>
                    <a:lnTo>
                      <a:pt x="4040" y="390"/>
                    </a:lnTo>
                    <a:lnTo>
                      <a:pt x="4040" y="393"/>
                    </a:lnTo>
                    <a:lnTo>
                      <a:pt x="4040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084"/>
                    </a:lnTo>
                    <a:lnTo>
                      <a:pt x="1811" y="1084"/>
                    </a:lnTo>
                    <a:lnTo>
                      <a:pt x="1811" y="369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1" y="452"/>
                    </a:lnTo>
                    <a:lnTo>
                      <a:pt x="4643" y="452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84"/>
                    </a:lnTo>
                    <a:lnTo>
                      <a:pt x="4804" y="184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25"/>
                    </a:lnTo>
                    <a:lnTo>
                      <a:pt x="4852" y="125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3" name="Freeform 96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4" name="Freeform 97"/>
              <p:cNvSpPr>
                <a:spLocks noEditPoints="1"/>
              </p:cNvSpPr>
              <p:nvPr/>
            </p:nvSpPr>
            <p:spPr bwMode="auto">
              <a:xfrm>
                <a:off x="2" y="1705"/>
                <a:ext cx="7025" cy="1648"/>
              </a:xfrm>
              <a:custGeom>
                <a:avLst/>
                <a:gdLst>
                  <a:gd name="T0" fmla="*/ 2 w 7025"/>
                  <a:gd name="T1" fmla="*/ 1489 h 1648"/>
                  <a:gd name="T2" fmla="*/ 5663 w 7025"/>
                  <a:gd name="T3" fmla="*/ 1404 h 1648"/>
                  <a:gd name="T4" fmla="*/ 3710 w 7025"/>
                  <a:gd name="T5" fmla="*/ 1224 h 1648"/>
                  <a:gd name="T6" fmla="*/ 5831 w 7025"/>
                  <a:gd name="T7" fmla="*/ 1210 h 1648"/>
                  <a:gd name="T8" fmla="*/ 5831 w 7025"/>
                  <a:gd name="T9" fmla="*/ 1210 h 1648"/>
                  <a:gd name="T10" fmla="*/ 1688 w 7025"/>
                  <a:gd name="T11" fmla="*/ 1134 h 1648"/>
                  <a:gd name="T12" fmla="*/ 5854 w 7025"/>
                  <a:gd name="T13" fmla="*/ 1130 h 1648"/>
                  <a:gd name="T14" fmla="*/ 5857 w 7025"/>
                  <a:gd name="T15" fmla="*/ 1184 h 1648"/>
                  <a:gd name="T16" fmla="*/ 6320 w 7025"/>
                  <a:gd name="T17" fmla="*/ 1130 h 1648"/>
                  <a:gd name="T18" fmla="*/ 1445 w 7025"/>
                  <a:gd name="T19" fmla="*/ 1127 h 1648"/>
                  <a:gd name="T20" fmla="*/ 1447 w 7025"/>
                  <a:gd name="T21" fmla="*/ 1127 h 1648"/>
                  <a:gd name="T22" fmla="*/ 1464 w 7025"/>
                  <a:gd name="T23" fmla="*/ 1108 h 1648"/>
                  <a:gd name="T24" fmla="*/ 2859 w 7025"/>
                  <a:gd name="T25" fmla="*/ 1063 h 1648"/>
                  <a:gd name="T26" fmla="*/ 2861 w 7025"/>
                  <a:gd name="T27" fmla="*/ 1063 h 1648"/>
                  <a:gd name="T28" fmla="*/ 5930 w 7025"/>
                  <a:gd name="T29" fmla="*/ 1085 h 1648"/>
                  <a:gd name="T30" fmla="*/ 2875 w 7025"/>
                  <a:gd name="T31" fmla="*/ 1014 h 1648"/>
                  <a:gd name="T32" fmla="*/ 2878 w 7025"/>
                  <a:gd name="T33" fmla="*/ 1011 h 1648"/>
                  <a:gd name="T34" fmla="*/ 3771 w 7025"/>
                  <a:gd name="T35" fmla="*/ 1179 h 1648"/>
                  <a:gd name="T36" fmla="*/ 5947 w 7025"/>
                  <a:gd name="T37" fmla="*/ 1025 h 1648"/>
                  <a:gd name="T38" fmla="*/ 6339 w 7025"/>
                  <a:gd name="T39" fmla="*/ 935 h 1648"/>
                  <a:gd name="T40" fmla="*/ 6339 w 7025"/>
                  <a:gd name="T41" fmla="*/ 1111 h 1648"/>
                  <a:gd name="T42" fmla="*/ 3842 w 7025"/>
                  <a:gd name="T43" fmla="*/ 928 h 1648"/>
                  <a:gd name="T44" fmla="*/ 6389 w 7025"/>
                  <a:gd name="T45" fmla="*/ 879 h 1648"/>
                  <a:gd name="T46" fmla="*/ 6389 w 7025"/>
                  <a:gd name="T47" fmla="*/ 890 h 1648"/>
                  <a:gd name="T48" fmla="*/ 6396 w 7025"/>
                  <a:gd name="T49" fmla="*/ 850 h 1648"/>
                  <a:gd name="T50" fmla="*/ 6398 w 7025"/>
                  <a:gd name="T51" fmla="*/ 869 h 1648"/>
                  <a:gd name="T52" fmla="*/ 3097 w 7025"/>
                  <a:gd name="T53" fmla="*/ 765 h 1648"/>
                  <a:gd name="T54" fmla="*/ 1007 w 7025"/>
                  <a:gd name="T55" fmla="*/ 753 h 1648"/>
                  <a:gd name="T56" fmla="*/ 5131 w 7025"/>
                  <a:gd name="T57" fmla="*/ 732 h 1648"/>
                  <a:gd name="T58" fmla="*/ 5131 w 7025"/>
                  <a:gd name="T59" fmla="*/ 732 h 1648"/>
                  <a:gd name="T60" fmla="*/ 3138 w 7025"/>
                  <a:gd name="T61" fmla="*/ 727 h 1648"/>
                  <a:gd name="T62" fmla="*/ 94 w 7025"/>
                  <a:gd name="T63" fmla="*/ 618 h 1648"/>
                  <a:gd name="T64" fmla="*/ 5254 w 7025"/>
                  <a:gd name="T65" fmla="*/ 609 h 1648"/>
                  <a:gd name="T66" fmla="*/ 5254 w 7025"/>
                  <a:gd name="T67" fmla="*/ 609 h 1648"/>
                  <a:gd name="T68" fmla="*/ 3282 w 7025"/>
                  <a:gd name="T69" fmla="*/ 613 h 1648"/>
                  <a:gd name="T70" fmla="*/ 300 w 7025"/>
                  <a:gd name="T71" fmla="*/ 550 h 1648"/>
                  <a:gd name="T72" fmla="*/ 7023 w 7025"/>
                  <a:gd name="T73" fmla="*/ 509 h 1648"/>
                  <a:gd name="T74" fmla="*/ 7025 w 7025"/>
                  <a:gd name="T75" fmla="*/ 1648 h 1648"/>
                  <a:gd name="T76" fmla="*/ 4159 w 7025"/>
                  <a:gd name="T77" fmla="*/ 550 h 1648"/>
                  <a:gd name="T78" fmla="*/ 3298 w 7025"/>
                  <a:gd name="T79" fmla="*/ 502 h 1648"/>
                  <a:gd name="T80" fmla="*/ 3301 w 7025"/>
                  <a:gd name="T81" fmla="*/ 564 h 1648"/>
                  <a:gd name="T82" fmla="*/ 4034 w 7025"/>
                  <a:gd name="T83" fmla="*/ 457 h 1648"/>
                  <a:gd name="T84" fmla="*/ 3956 w 7025"/>
                  <a:gd name="T85" fmla="*/ 642 h 1648"/>
                  <a:gd name="T86" fmla="*/ 3327 w 7025"/>
                  <a:gd name="T87" fmla="*/ 436 h 1648"/>
                  <a:gd name="T88" fmla="*/ 3329 w 7025"/>
                  <a:gd name="T89" fmla="*/ 434 h 1648"/>
                  <a:gd name="T90" fmla="*/ 4041 w 7025"/>
                  <a:gd name="T91" fmla="*/ 450 h 1648"/>
                  <a:gd name="T92" fmla="*/ 1809 w 7025"/>
                  <a:gd name="T93" fmla="*/ 370 h 1648"/>
                  <a:gd name="T94" fmla="*/ 1809 w 7025"/>
                  <a:gd name="T95" fmla="*/ 370 h 1648"/>
                  <a:gd name="T96" fmla="*/ 4050 w 7025"/>
                  <a:gd name="T97" fmla="*/ 384 h 1648"/>
                  <a:gd name="T98" fmla="*/ 4703 w 7025"/>
                  <a:gd name="T99" fmla="*/ 232 h 1648"/>
                  <a:gd name="T100" fmla="*/ 4805 w 7025"/>
                  <a:gd name="T101" fmla="*/ 173 h 1648"/>
                  <a:gd name="T102" fmla="*/ 4805 w 7025"/>
                  <a:gd name="T103" fmla="*/ 187 h 1648"/>
                  <a:gd name="T104" fmla="*/ 4850 w 7025"/>
                  <a:gd name="T105" fmla="*/ 128 h 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4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89"/>
                    </a:lnTo>
                    <a:lnTo>
                      <a:pt x="2" y="148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4"/>
                    </a:lnTo>
                    <a:lnTo>
                      <a:pt x="5665" y="1404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2"/>
                    </a:lnTo>
                    <a:lnTo>
                      <a:pt x="3710" y="1272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81"/>
                    </a:lnTo>
                    <a:lnTo>
                      <a:pt x="5831" y="1281"/>
                    </a:lnTo>
                    <a:lnTo>
                      <a:pt x="5831" y="1210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65"/>
                    </a:lnTo>
                    <a:lnTo>
                      <a:pt x="6323" y="116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56"/>
                    </a:lnTo>
                    <a:lnTo>
                      <a:pt x="1447" y="1156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196"/>
                    </a:lnTo>
                    <a:lnTo>
                      <a:pt x="2861" y="1196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85"/>
                    </a:lnTo>
                    <a:lnTo>
                      <a:pt x="5930" y="1085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79"/>
                    </a:lnTo>
                    <a:lnTo>
                      <a:pt x="3771" y="1179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50"/>
                    </a:lnTo>
                    <a:lnTo>
                      <a:pt x="3845" y="950"/>
                    </a:lnTo>
                    <a:lnTo>
                      <a:pt x="3845" y="928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35"/>
                    </a:lnTo>
                    <a:lnTo>
                      <a:pt x="3100" y="935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84"/>
                    </a:lnTo>
                    <a:lnTo>
                      <a:pt x="1010" y="784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28"/>
                    </a:lnTo>
                    <a:lnTo>
                      <a:pt x="5131" y="928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725"/>
                    </a:lnTo>
                    <a:lnTo>
                      <a:pt x="3138" y="725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09"/>
                    </a:lnTo>
                    <a:lnTo>
                      <a:pt x="97" y="1409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87"/>
                    </a:lnTo>
                    <a:lnTo>
                      <a:pt x="5254" y="687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13"/>
                    </a:lnTo>
                    <a:lnTo>
                      <a:pt x="3282" y="613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73"/>
                    </a:lnTo>
                    <a:lnTo>
                      <a:pt x="303" y="57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049"/>
                    </a:lnTo>
                    <a:lnTo>
                      <a:pt x="7025" y="1049"/>
                    </a:lnTo>
                    <a:lnTo>
                      <a:pt x="7025" y="1648"/>
                    </a:lnTo>
                    <a:lnTo>
                      <a:pt x="7025" y="1648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59" y="550"/>
                    </a:lnTo>
                    <a:lnTo>
                      <a:pt x="4159" y="55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883"/>
                    </a:lnTo>
                    <a:lnTo>
                      <a:pt x="3956" y="883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1"/>
                    </a:lnTo>
                    <a:lnTo>
                      <a:pt x="3329" y="471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087"/>
                    </a:lnTo>
                    <a:lnTo>
                      <a:pt x="1809" y="1087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1" y="455"/>
                    </a:lnTo>
                    <a:lnTo>
                      <a:pt x="4644" y="452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87"/>
                    </a:lnTo>
                    <a:lnTo>
                      <a:pt x="4805" y="187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28"/>
                    </a:lnTo>
                    <a:lnTo>
                      <a:pt x="4852" y="128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5" name="Freeform 98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close/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close/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  <a:close/>
                  </a:path>
                </a:pathLst>
              </a:custGeom>
              <a:solidFill>
                <a:srgbClr val="D7D7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6" name="Freeform 99"/>
              <p:cNvSpPr>
                <a:spLocks noEditPoints="1"/>
              </p:cNvSpPr>
              <p:nvPr/>
            </p:nvSpPr>
            <p:spPr bwMode="auto">
              <a:xfrm>
                <a:off x="4" y="1703"/>
                <a:ext cx="7025" cy="1650"/>
              </a:xfrm>
              <a:custGeom>
                <a:avLst/>
                <a:gdLst>
                  <a:gd name="T0" fmla="*/ 0 w 7025"/>
                  <a:gd name="T1" fmla="*/ 1491 h 1650"/>
                  <a:gd name="T2" fmla="*/ 5663 w 7025"/>
                  <a:gd name="T3" fmla="*/ 1406 h 1650"/>
                  <a:gd name="T4" fmla="*/ 3708 w 7025"/>
                  <a:gd name="T5" fmla="*/ 1224 h 1650"/>
                  <a:gd name="T6" fmla="*/ 5829 w 7025"/>
                  <a:gd name="T7" fmla="*/ 1210 h 1650"/>
                  <a:gd name="T8" fmla="*/ 5831 w 7025"/>
                  <a:gd name="T9" fmla="*/ 1210 h 1650"/>
                  <a:gd name="T10" fmla="*/ 1689 w 7025"/>
                  <a:gd name="T11" fmla="*/ 1136 h 1650"/>
                  <a:gd name="T12" fmla="*/ 5855 w 7025"/>
                  <a:gd name="T13" fmla="*/ 1129 h 1650"/>
                  <a:gd name="T14" fmla="*/ 5855 w 7025"/>
                  <a:gd name="T15" fmla="*/ 1184 h 1650"/>
                  <a:gd name="T16" fmla="*/ 6321 w 7025"/>
                  <a:gd name="T17" fmla="*/ 1132 h 1650"/>
                  <a:gd name="T18" fmla="*/ 1445 w 7025"/>
                  <a:gd name="T19" fmla="*/ 1127 h 1650"/>
                  <a:gd name="T20" fmla="*/ 1447 w 7025"/>
                  <a:gd name="T21" fmla="*/ 1127 h 1650"/>
                  <a:gd name="T22" fmla="*/ 1464 w 7025"/>
                  <a:gd name="T23" fmla="*/ 1110 h 1650"/>
                  <a:gd name="T24" fmla="*/ 2859 w 7025"/>
                  <a:gd name="T25" fmla="*/ 1063 h 1650"/>
                  <a:gd name="T26" fmla="*/ 2859 w 7025"/>
                  <a:gd name="T27" fmla="*/ 1063 h 1650"/>
                  <a:gd name="T28" fmla="*/ 5928 w 7025"/>
                  <a:gd name="T29" fmla="*/ 1087 h 1650"/>
                  <a:gd name="T30" fmla="*/ 2876 w 7025"/>
                  <a:gd name="T31" fmla="*/ 1013 h 1650"/>
                  <a:gd name="T32" fmla="*/ 2878 w 7025"/>
                  <a:gd name="T33" fmla="*/ 1013 h 1650"/>
                  <a:gd name="T34" fmla="*/ 3769 w 7025"/>
                  <a:gd name="T35" fmla="*/ 1181 h 1650"/>
                  <a:gd name="T36" fmla="*/ 5947 w 7025"/>
                  <a:gd name="T37" fmla="*/ 1025 h 1650"/>
                  <a:gd name="T38" fmla="*/ 6340 w 7025"/>
                  <a:gd name="T39" fmla="*/ 937 h 1650"/>
                  <a:gd name="T40" fmla="*/ 6340 w 7025"/>
                  <a:gd name="T41" fmla="*/ 1113 h 1650"/>
                  <a:gd name="T42" fmla="*/ 3843 w 7025"/>
                  <a:gd name="T43" fmla="*/ 928 h 1650"/>
                  <a:gd name="T44" fmla="*/ 6389 w 7025"/>
                  <a:gd name="T45" fmla="*/ 878 h 1650"/>
                  <a:gd name="T46" fmla="*/ 6389 w 7025"/>
                  <a:gd name="T47" fmla="*/ 892 h 1650"/>
                  <a:gd name="T48" fmla="*/ 6396 w 7025"/>
                  <a:gd name="T49" fmla="*/ 850 h 1650"/>
                  <a:gd name="T50" fmla="*/ 6396 w 7025"/>
                  <a:gd name="T51" fmla="*/ 869 h 1650"/>
                  <a:gd name="T52" fmla="*/ 3098 w 7025"/>
                  <a:gd name="T53" fmla="*/ 765 h 1650"/>
                  <a:gd name="T54" fmla="*/ 1008 w 7025"/>
                  <a:gd name="T55" fmla="*/ 753 h 1650"/>
                  <a:gd name="T56" fmla="*/ 5131 w 7025"/>
                  <a:gd name="T57" fmla="*/ 731 h 1650"/>
                  <a:gd name="T58" fmla="*/ 5131 w 7025"/>
                  <a:gd name="T59" fmla="*/ 731 h 1650"/>
                  <a:gd name="T60" fmla="*/ 3138 w 7025"/>
                  <a:gd name="T61" fmla="*/ 727 h 1650"/>
                  <a:gd name="T62" fmla="*/ 95 w 7025"/>
                  <a:gd name="T63" fmla="*/ 618 h 1650"/>
                  <a:gd name="T64" fmla="*/ 5252 w 7025"/>
                  <a:gd name="T65" fmla="*/ 611 h 1650"/>
                  <a:gd name="T66" fmla="*/ 5252 w 7025"/>
                  <a:gd name="T67" fmla="*/ 611 h 1650"/>
                  <a:gd name="T68" fmla="*/ 3280 w 7025"/>
                  <a:gd name="T69" fmla="*/ 615 h 1650"/>
                  <a:gd name="T70" fmla="*/ 301 w 7025"/>
                  <a:gd name="T71" fmla="*/ 549 h 1650"/>
                  <a:gd name="T72" fmla="*/ 7023 w 7025"/>
                  <a:gd name="T73" fmla="*/ 509 h 1650"/>
                  <a:gd name="T74" fmla="*/ 4193 w 7025"/>
                  <a:gd name="T75" fmla="*/ 504 h 1650"/>
                  <a:gd name="T76" fmla="*/ 4193 w 7025"/>
                  <a:gd name="T77" fmla="*/ 504 h 1650"/>
                  <a:gd name="T78" fmla="*/ 3299 w 7025"/>
                  <a:gd name="T79" fmla="*/ 566 h 1650"/>
                  <a:gd name="T80" fmla="*/ 4036 w 7025"/>
                  <a:gd name="T81" fmla="*/ 454 h 1650"/>
                  <a:gd name="T82" fmla="*/ 3954 w 7025"/>
                  <a:gd name="T83" fmla="*/ 644 h 1650"/>
                  <a:gd name="T84" fmla="*/ 4036 w 7025"/>
                  <a:gd name="T85" fmla="*/ 454 h 1650"/>
                  <a:gd name="T86" fmla="*/ 3327 w 7025"/>
                  <a:gd name="T87" fmla="*/ 473 h 1650"/>
                  <a:gd name="T88" fmla="*/ 4041 w 7025"/>
                  <a:gd name="T89" fmla="*/ 391 h 1650"/>
                  <a:gd name="T90" fmla="*/ 4041 w 7025"/>
                  <a:gd name="T91" fmla="*/ 447 h 1650"/>
                  <a:gd name="T92" fmla="*/ 1807 w 7025"/>
                  <a:gd name="T93" fmla="*/ 372 h 1650"/>
                  <a:gd name="T94" fmla="*/ 4048 w 7025"/>
                  <a:gd name="T95" fmla="*/ 329 h 1650"/>
                  <a:gd name="T96" fmla="*/ 4051 w 7025"/>
                  <a:gd name="T97" fmla="*/ 381 h 1650"/>
                  <a:gd name="T98" fmla="*/ 4642 w 7025"/>
                  <a:gd name="T99" fmla="*/ 454 h 1650"/>
                  <a:gd name="T100" fmla="*/ 4803 w 7025"/>
                  <a:gd name="T101" fmla="*/ 173 h 1650"/>
                  <a:gd name="T102" fmla="*/ 4852 w 7025"/>
                  <a:gd name="T103" fmla="*/ 0 h 1650"/>
                  <a:gd name="T104" fmla="*/ 4852 w 7025"/>
                  <a:gd name="T105" fmla="*/ 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025" h="165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1"/>
                    </a:lnTo>
                    <a:lnTo>
                      <a:pt x="0" y="1491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06"/>
                    </a:lnTo>
                    <a:lnTo>
                      <a:pt x="5666" y="1406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74"/>
                    </a:lnTo>
                    <a:lnTo>
                      <a:pt x="3710" y="1274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83"/>
                    </a:lnTo>
                    <a:lnTo>
                      <a:pt x="5831" y="1283"/>
                    </a:lnTo>
                    <a:lnTo>
                      <a:pt x="5831" y="1210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6"/>
                    </a:lnTo>
                    <a:lnTo>
                      <a:pt x="1689" y="1136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167"/>
                    </a:lnTo>
                    <a:lnTo>
                      <a:pt x="6323" y="116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58"/>
                    </a:lnTo>
                    <a:lnTo>
                      <a:pt x="1447" y="1158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198"/>
                    </a:lnTo>
                    <a:lnTo>
                      <a:pt x="2859" y="1198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87"/>
                    </a:lnTo>
                    <a:lnTo>
                      <a:pt x="5930" y="1087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6" y="1046"/>
                    </a:lnTo>
                    <a:lnTo>
                      <a:pt x="2876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1"/>
                    </a:lnTo>
                    <a:lnTo>
                      <a:pt x="3769" y="1181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2"/>
                    </a:lnTo>
                    <a:lnTo>
                      <a:pt x="3845" y="952"/>
                    </a:lnTo>
                    <a:lnTo>
                      <a:pt x="3845" y="928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37"/>
                    </a:lnTo>
                    <a:lnTo>
                      <a:pt x="3100" y="937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86"/>
                    </a:lnTo>
                    <a:lnTo>
                      <a:pt x="1008" y="786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30"/>
                    </a:lnTo>
                    <a:lnTo>
                      <a:pt x="5131" y="93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27"/>
                    </a:lnTo>
                    <a:lnTo>
                      <a:pt x="3138" y="727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11"/>
                    </a:lnTo>
                    <a:lnTo>
                      <a:pt x="97" y="1411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2" y="689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15"/>
                    </a:lnTo>
                    <a:lnTo>
                      <a:pt x="3282" y="61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0"/>
                    </a:lnTo>
                    <a:lnTo>
                      <a:pt x="7025" y="1650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57" y="552"/>
                    </a:lnTo>
                    <a:lnTo>
                      <a:pt x="4159" y="552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299" y="563"/>
                    </a:lnTo>
                    <a:lnTo>
                      <a:pt x="3299" y="502"/>
                    </a:lnTo>
                    <a:moveTo>
                      <a:pt x="4036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85"/>
                    </a:lnTo>
                    <a:lnTo>
                      <a:pt x="3954" y="885"/>
                    </a:lnTo>
                    <a:lnTo>
                      <a:pt x="3954" y="642"/>
                    </a:lnTo>
                    <a:lnTo>
                      <a:pt x="4036" y="490"/>
                    </a:lnTo>
                    <a:lnTo>
                      <a:pt x="4036" y="454"/>
                    </a:lnTo>
                    <a:moveTo>
                      <a:pt x="3330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89"/>
                    </a:lnTo>
                    <a:lnTo>
                      <a:pt x="1809" y="1089"/>
                    </a:lnTo>
                    <a:lnTo>
                      <a:pt x="1809" y="369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4"/>
                    </a:lnTo>
                    <a:lnTo>
                      <a:pt x="4642" y="45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89"/>
                    </a:lnTo>
                    <a:lnTo>
                      <a:pt x="4803" y="189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0"/>
                    </a:lnTo>
                    <a:lnTo>
                      <a:pt x="4852" y="130"/>
                    </a:lnTo>
                    <a:lnTo>
                      <a:pt x="485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7" name="Freeform 100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close/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8" name="Freeform 101"/>
              <p:cNvSpPr>
                <a:spLocks noEditPoints="1"/>
              </p:cNvSpPr>
              <p:nvPr/>
            </p:nvSpPr>
            <p:spPr bwMode="auto">
              <a:xfrm>
                <a:off x="4" y="1703"/>
                <a:ext cx="7028" cy="1650"/>
              </a:xfrm>
              <a:custGeom>
                <a:avLst/>
                <a:gdLst>
                  <a:gd name="T0" fmla="*/ 3 w 7028"/>
                  <a:gd name="T1" fmla="*/ 1491 h 1650"/>
                  <a:gd name="T2" fmla="*/ 5666 w 7028"/>
                  <a:gd name="T3" fmla="*/ 1406 h 1650"/>
                  <a:gd name="T4" fmla="*/ 3710 w 7028"/>
                  <a:gd name="T5" fmla="*/ 1224 h 1650"/>
                  <a:gd name="T6" fmla="*/ 5831 w 7028"/>
                  <a:gd name="T7" fmla="*/ 1207 h 1650"/>
                  <a:gd name="T8" fmla="*/ 5834 w 7028"/>
                  <a:gd name="T9" fmla="*/ 1207 h 1650"/>
                  <a:gd name="T10" fmla="*/ 1667 w 7028"/>
                  <a:gd name="T11" fmla="*/ 1158 h 1650"/>
                  <a:gd name="T12" fmla="*/ 1689 w 7028"/>
                  <a:gd name="T13" fmla="*/ 1134 h 1650"/>
                  <a:gd name="T14" fmla="*/ 5857 w 7028"/>
                  <a:gd name="T15" fmla="*/ 1127 h 1650"/>
                  <a:gd name="T16" fmla="*/ 5857 w 7028"/>
                  <a:gd name="T17" fmla="*/ 1181 h 1650"/>
                  <a:gd name="T18" fmla="*/ 6323 w 7028"/>
                  <a:gd name="T19" fmla="*/ 1127 h 1650"/>
                  <a:gd name="T20" fmla="*/ 1447 w 7028"/>
                  <a:gd name="T21" fmla="*/ 1125 h 1650"/>
                  <a:gd name="T22" fmla="*/ 1447 w 7028"/>
                  <a:gd name="T23" fmla="*/ 1158 h 1650"/>
                  <a:gd name="T24" fmla="*/ 1464 w 7028"/>
                  <a:gd name="T25" fmla="*/ 1108 h 1650"/>
                  <a:gd name="T26" fmla="*/ 2861 w 7028"/>
                  <a:gd name="T27" fmla="*/ 1061 h 1650"/>
                  <a:gd name="T28" fmla="*/ 2861 w 7028"/>
                  <a:gd name="T29" fmla="*/ 1198 h 1650"/>
                  <a:gd name="T30" fmla="*/ 5930 w 7028"/>
                  <a:gd name="T31" fmla="*/ 1042 h 1650"/>
                  <a:gd name="T32" fmla="*/ 2878 w 7028"/>
                  <a:gd name="T33" fmla="*/ 1011 h 1650"/>
                  <a:gd name="T34" fmla="*/ 2878 w 7028"/>
                  <a:gd name="T35" fmla="*/ 1044 h 1650"/>
                  <a:gd name="T36" fmla="*/ 3769 w 7028"/>
                  <a:gd name="T37" fmla="*/ 1181 h 1650"/>
                  <a:gd name="T38" fmla="*/ 5949 w 7028"/>
                  <a:gd name="T39" fmla="*/ 990 h 1650"/>
                  <a:gd name="T40" fmla="*/ 5952 w 7028"/>
                  <a:gd name="T41" fmla="*/ 990 h 1650"/>
                  <a:gd name="T42" fmla="*/ 6340 w 7028"/>
                  <a:gd name="T43" fmla="*/ 1110 h 1650"/>
                  <a:gd name="T44" fmla="*/ 3847 w 7028"/>
                  <a:gd name="T45" fmla="*/ 928 h 1650"/>
                  <a:gd name="T46" fmla="*/ 3847 w 7028"/>
                  <a:gd name="T47" fmla="*/ 928 h 1650"/>
                  <a:gd name="T48" fmla="*/ 6387 w 7028"/>
                  <a:gd name="T49" fmla="*/ 892 h 1650"/>
                  <a:gd name="T50" fmla="*/ 6389 w 7028"/>
                  <a:gd name="T51" fmla="*/ 878 h 1650"/>
                  <a:gd name="T52" fmla="*/ 6392 w 7028"/>
                  <a:gd name="T53" fmla="*/ 878 h 1650"/>
                  <a:gd name="T54" fmla="*/ 6399 w 7028"/>
                  <a:gd name="T55" fmla="*/ 869 h 1650"/>
                  <a:gd name="T56" fmla="*/ 3100 w 7028"/>
                  <a:gd name="T57" fmla="*/ 762 h 1650"/>
                  <a:gd name="T58" fmla="*/ 3103 w 7028"/>
                  <a:gd name="T59" fmla="*/ 762 h 1650"/>
                  <a:gd name="T60" fmla="*/ 1010 w 7028"/>
                  <a:gd name="T61" fmla="*/ 786 h 1650"/>
                  <a:gd name="T62" fmla="*/ 5131 w 7028"/>
                  <a:gd name="T63" fmla="*/ 930 h 1650"/>
                  <a:gd name="T64" fmla="*/ 3138 w 7028"/>
                  <a:gd name="T65" fmla="*/ 658 h 1650"/>
                  <a:gd name="T66" fmla="*/ 3140 w 7028"/>
                  <a:gd name="T67" fmla="*/ 656 h 1650"/>
                  <a:gd name="T68" fmla="*/ 97 w 7028"/>
                  <a:gd name="T69" fmla="*/ 1411 h 1650"/>
                  <a:gd name="T70" fmla="*/ 5252 w 7028"/>
                  <a:gd name="T71" fmla="*/ 689 h 1650"/>
                  <a:gd name="T72" fmla="*/ 3282 w 7028"/>
                  <a:gd name="T73" fmla="*/ 580 h 1650"/>
                  <a:gd name="T74" fmla="*/ 303 w 7028"/>
                  <a:gd name="T75" fmla="*/ 547 h 1650"/>
                  <a:gd name="T76" fmla="*/ 303 w 7028"/>
                  <a:gd name="T77" fmla="*/ 547 h 1650"/>
                  <a:gd name="T78" fmla="*/ 7028 w 7028"/>
                  <a:gd name="T79" fmla="*/ 1650 h 1650"/>
                  <a:gd name="T80" fmla="*/ 4159 w 7028"/>
                  <a:gd name="T81" fmla="*/ 552 h 1650"/>
                  <a:gd name="T82" fmla="*/ 3299 w 7028"/>
                  <a:gd name="T83" fmla="*/ 499 h 1650"/>
                  <a:gd name="T84" fmla="*/ 3301 w 7028"/>
                  <a:gd name="T85" fmla="*/ 561 h 1650"/>
                  <a:gd name="T86" fmla="*/ 4036 w 7028"/>
                  <a:gd name="T87" fmla="*/ 454 h 1650"/>
                  <a:gd name="T88" fmla="*/ 3956 w 7028"/>
                  <a:gd name="T89" fmla="*/ 642 h 1650"/>
                  <a:gd name="T90" fmla="*/ 3330 w 7028"/>
                  <a:gd name="T91" fmla="*/ 436 h 1650"/>
                  <a:gd name="T92" fmla="*/ 3330 w 7028"/>
                  <a:gd name="T93" fmla="*/ 433 h 1650"/>
                  <a:gd name="T94" fmla="*/ 4041 w 7028"/>
                  <a:gd name="T95" fmla="*/ 447 h 1650"/>
                  <a:gd name="T96" fmla="*/ 1811 w 7028"/>
                  <a:gd name="T97" fmla="*/ 367 h 1650"/>
                  <a:gd name="T98" fmla="*/ 1811 w 7028"/>
                  <a:gd name="T99" fmla="*/ 367 h 1650"/>
                  <a:gd name="T100" fmla="*/ 4051 w 7028"/>
                  <a:gd name="T101" fmla="*/ 381 h 1650"/>
                  <a:gd name="T102" fmla="*/ 4703 w 7028"/>
                  <a:gd name="T103" fmla="*/ 230 h 1650"/>
                  <a:gd name="T104" fmla="*/ 4805 w 7028"/>
                  <a:gd name="T105" fmla="*/ 170 h 1650"/>
                  <a:gd name="T106" fmla="*/ 4805 w 7028"/>
                  <a:gd name="T107" fmla="*/ 189 h 1650"/>
                  <a:gd name="T108" fmla="*/ 4852 w 7028"/>
                  <a:gd name="T109" fmla="*/ 130 h 16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8" h="1650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491"/>
                    </a:lnTo>
                    <a:lnTo>
                      <a:pt x="3" y="1491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06"/>
                    </a:lnTo>
                    <a:lnTo>
                      <a:pt x="5668" y="1406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4"/>
                    </a:lnTo>
                    <a:lnTo>
                      <a:pt x="3713" y="1274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283"/>
                    </a:lnTo>
                    <a:lnTo>
                      <a:pt x="5834" y="1283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7" y="1158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lnTo>
                      <a:pt x="1691" y="1132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167"/>
                    </a:lnTo>
                    <a:lnTo>
                      <a:pt x="6325" y="1167"/>
                    </a:lnTo>
                    <a:lnTo>
                      <a:pt x="6325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58"/>
                    </a:lnTo>
                    <a:lnTo>
                      <a:pt x="1447" y="115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198"/>
                    </a:lnTo>
                    <a:lnTo>
                      <a:pt x="2861" y="1198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087"/>
                    </a:lnTo>
                    <a:lnTo>
                      <a:pt x="5933" y="1087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1"/>
                    </a:lnTo>
                    <a:lnTo>
                      <a:pt x="3772" y="1181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52" y="1023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2" y="1110"/>
                    </a:lnTo>
                    <a:lnTo>
                      <a:pt x="6342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52"/>
                    </a:lnTo>
                    <a:lnTo>
                      <a:pt x="3847" y="952"/>
                    </a:lnTo>
                    <a:lnTo>
                      <a:pt x="3847" y="928"/>
                    </a:lnTo>
                    <a:moveTo>
                      <a:pt x="6387" y="892"/>
                    </a:moveTo>
                    <a:lnTo>
                      <a:pt x="6387" y="892"/>
                    </a:lnTo>
                    <a:lnTo>
                      <a:pt x="6384" y="892"/>
                    </a:lnTo>
                    <a:lnTo>
                      <a:pt x="6384" y="892"/>
                    </a:lnTo>
                    <a:lnTo>
                      <a:pt x="6387" y="892"/>
                    </a:lnTo>
                    <a:lnTo>
                      <a:pt x="6387" y="892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92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37"/>
                    </a:lnTo>
                    <a:lnTo>
                      <a:pt x="3103" y="937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786"/>
                    </a:lnTo>
                    <a:lnTo>
                      <a:pt x="1010" y="786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30"/>
                    </a:lnTo>
                    <a:lnTo>
                      <a:pt x="5134" y="930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4"/>
                    </a:lnTo>
                    <a:lnTo>
                      <a:pt x="3138" y="724"/>
                    </a:lnTo>
                    <a:lnTo>
                      <a:pt x="3138" y="722"/>
                    </a:lnTo>
                    <a:lnTo>
                      <a:pt x="3140" y="722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11"/>
                    </a:lnTo>
                    <a:lnTo>
                      <a:pt x="97" y="141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689"/>
                    </a:lnTo>
                    <a:lnTo>
                      <a:pt x="5254" y="689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15"/>
                    </a:lnTo>
                    <a:lnTo>
                      <a:pt x="3285" y="615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575"/>
                    </a:lnTo>
                    <a:lnTo>
                      <a:pt x="303" y="575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50"/>
                    </a:lnTo>
                    <a:lnTo>
                      <a:pt x="7028" y="1650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59" y="552"/>
                    </a:lnTo>
                    <a:lnTo>
                      <a:pt x="4159" y="552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1"/>
                    </a:lnTo>
                    <a:lnTo>
                      <a:pt x="3301" y="561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6" y="452"/>
                    </a:lnTo>
                    <a:lnTo>
                      <a:pt x="4036" y="452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885"/>
                    </a:lnTo>
                    <a:lnTo>
                      <a:pt x="3956" y="885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6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089"/>
                    </a:lnTo>
                    <a:lnTo>
                      <a:pt x="1811" y="1089"/>
                    </a:lnTo>
                    <a:lnTo>
                      <a:pt x="1811" y="367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4706" y="230"/>
                    </a:moveTo>
                    <a:lnTo>
                      <a:pt x="4703" y="230"/>
                    </a:lnTo>
                    <a:lnTo>
                      <a:pt x="4703" y="232"/>
                    </a:lnTo>
                    <a:lnTo>
                      <a:pt x="4642" y="454"/>
                    </a:lnTo>
                    <a:lnTo>
                      <a:pt x="4644" y="452"/>
                    </a:lnTo>
                    <a:lnTo>
                      <a:pt x="4706" y="230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189"/>
                    </a:lnTo>
                    <a:lnTo>
                      <a:pt x="4805" y="189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30"/>
                    </a:lnTo>
                    <a:lnTo>
                      <a:pt x="4855" y="130"/>
                    </a:lnTo>
                    <a:lnTo>
                      <a:pt x="485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9" name="Freeform 102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close/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close/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close/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close/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close/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close/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close/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close/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close/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close/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close/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  <a:close/>
                  </a:path>
                </a:pathLst>
              </a:custGeom>
              <a:solidFill>
                <a:srgbClr val="D5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0" name="Freeform 103"/>
              <p:cNvSpPr>
                <a:spLocks noEditPoints="1"/>
              </p:cNvSpPr>
              <p:nvPr/>
            </p:nvSpPr>
            <p:spPr bwMode="auto">
              <a:xfrm>
                <a:off x="7" y="1701"/>
                <a:ext cx="7027" cy="1652"/>
              </a:xfrm>
              <a:custGeom>
                <a:avLst/>
                <a:gdLst>
                  <a:gd name="T0" fmla="*/ 2 w 7027"/>
                  <a:gd name="T1" fmla="*/ 1493 h 1652"/>
                  <a:gd name="T2" fmla="*/ 5665 w 7027"/>
                  <a:gd name="T3" fmla="*/ 1408 h 1652"/>
                  <a:gd name="T4" fmla="*/ 3710 w 7027"/>
                  <a:gd name="T5" fmla="*/ 1224 h 1652"/>
                  <a:gd name="T6" fmla="*/ 5831 w 7027"/>
                  <a:gd name="T7" fmla="*/ 1207 h 1652"/>
                  <a:gd name="T8" fmla="*/ 5831 w 7027"/>
                  <a:gd name="T9" fmla="*/ 1207 h 1652"/>
                  <a:gd name="T10" fmla="*/ 1664 w 7027"/>
                  <a:gd name="T11" fmla="*/ 1160 h 1652"/>
                  <a:gd name="T12" fmla="*/ 1688 w 7027"/>
                  <a:gd name="T13" fmla="*/ 1134 h 1652"/>
                  <a:gd name="T14" fmla="*/ 1690 w 7027"/>
                  <a:gd name="T15" fmla="*/ 1131 h 1652"/>
                  <a:gd name="T16" fmla="*/ 5857 w 7027"/>
                  <a:gd name="T17" fmla="*/ 1183 h 1652"/>
                  <a:gd name="T18" fmla="*/ 6322 w 7027"/>
                  <a:gd name="T19" fmla="*/ 1127 h 1652"/>
                  <a:gd name="T20" fmla="*/ 6322 w 7027"/>
                  <a:gd name="T21" fmla="*/ 1127 h 1652"/>
                  <a:gd name="T22" fmla="*/ 1444 w 7027"/>
                  <a:gd name="T23" fmla="*/ 1160 h 1652"/>
                  <a:gd name="T24" fmla="*/ 1463 w 7027"/>
                  <a:gd name="T25" fmla="*/ 1084 h 1652"/>
                  <a:gd name="T26" fmla="*/ 1463 w 7027"/>
                  <a:gd name="T27" fmla="*/ 1084 h 1652"/>
                  <a:gd name="T28" fmla="*/ 2858 w 7027"/>
                  <a:gd name="T29" fmla="*/ 1200 h 1652"/>
                  <a:gd name="T30" fmla="*/ 5930 w 7027"/>
                  <a:gd name="T31" fmla="*/ 1041 h 1652"/>
                  <a:gd name="T32" fmla="*/ 2877 w 7027"/>
                  <a:gd name="T33" fmla="*/ 1010 h 1652"/>
                  <a:gd name="T34" fmla="*/ 2877 w 7027"/>
                  <a:gd name="T35" fmla="*/ 1044 h 1652"/>
                  <a:gd name="T36" fmla="*/ 3769 w 7027"/>
                  <a:gd name="T37" fmla="*/ 994 h 1652"/>
                  <a:gd name="T38" fmla="*/ 5949 w 7027"/>
                  <a:gd name="T39" fmla="*/ 989 h 1652"/>
                  <a:gd name="T40" fmla="*/ 5949 w 7027"/>
                  <a:gd name="T41" fmla="*/ 1022 h 1652"/>
                  <a:gd name="T42" fmla="*/ 6339 w 7027"/>
                  <a:gd name="T43" fmla="*/ 937 h 1652"/>
                  <a:gd name="T44" fmla="*/ 6341 w 7027"/>
                  <a:gd name="T45" fmla="*/ 935 h 1652"/>
                  <a:gd name="T46" fmla="*/ 3847 w 7027"/>
                  <a:gd name="T47" fmla="*/ 954 h 1652"/>
                  <a:gd name="T48" fmla="*/ 6384 w 7027"/>
                  <a:gd name="T49" fmla="*/ 894 h 1652"/>
                  <a:gd name="T50" fmla="*/ 6389 w 7027"/>
                  <a:gd name="T51" fmla="*/ 878 h 1652"/>
                  <a:gd name="T52" fmla="*/ 6389 w 7027"/>
                  <a:gd name="T53" fmla="*/ 887 h 1652"/>
                  <a:gd name="T54" fmla="*/ 6396 w 7027"/>
                  <a:gd name="T55" fmla="*/ 852 h 1652"/>
                  <a:gd name="T56" fmla="*/ 6398 w 7027"/>
                  <a:gd name="T57" fmla="*/ 850 h 1652"/>
                  <a:gd name="T58" fmla="*/ 3100 w 7027"/>
                  <a:gd name="T59" fmla="*/ 939 h 1652"/>
                  <a:gd name="T60" fmla="*/ 1007 w 7027"/>
                  <a:gd name="T61" fmla="*/ 755 h 1652"/>
                  <a:gd name="T62" fmla="*/ 5131 w 7027"/>
                  <a:gd name="T63" fmla="*/ 731 h 1652"/>
                  <a:gd name="T64" fmla="*/ 3140 w 7027"/>
                  <a:gd name="T65" fmla="*/ 655 h 1652"/>
                  <a:gd name="T66" fmla="*/ 3137 w 7027"/>
                  <a:gd name="T67" fmla="*/ 722 h 1652"/>
                  <a:gd name="T68" fmla="*/ 94 w 7027"/>
                  <a:gd name="T69" fmla="*/ 617 h 1652"/>
                  <a:gd name="T70" fmla="*/ 5251 w 7027"/>
                  <a:gd name="T71" fmla="*/ 608 h 1652"/>
                  <a:gd name="T72" fmla="*/ 3284 w 7027"/>
                  <a:gd name="T73" fmla="*/ 582 h 1652"/>
                  <a:gd name="T74" fmla="*/ 3284 w 7027"/>
                  <a:gd name="T75" fmla="*/ 617 h 1652"/>
                  <a:gd name="T76" fmla="*/ 300 w 7027"/>
                  <a:gd name="T77" fmla="*/ 577 h 1652"/>
                  <a:gd name="T78" fmla="*/ 7025 w 7027"/>
                  <a:gd name="T79" fmla="*/ 509 h 1652"/>
                  <a:gd name="T80" fmla="*/ 4194 w 7027"/>
                  <a:gd name="T81" fmla="*/ 501 h 1652"/>
                  <a:gd name="T82" fmla="*/ 3300 w 7027"/>
                  <a:gd name="T83" fmla="*/ 499 h 1652"/>
                  <a:gd name="T84" fmla="*/ 3300 w 7027"/>
                  <a:gd name="T85" fmla="*/ 563 h 1652"/>
                  <a:gd name="T86" fmla="*/ 4036 w 7027"/>
                  <a:gd name="T87" fmla="*/ 454 h 1652"/>
                  <a:gd name="T88" fmla="*/ 3953 w 7027"/>
                  <a:gd name="T89" fmla="*/ 887 h 1652"/>
                  <a:gd name="T90" fmla="*/ 3329 w 7027"/>
                  <a:gd name="T91" fmla="*/ 433 h 1652"/>
                  <a:gd name="T92" fmla="*/ 3329 w 7027"/>
                  <a:gd name="T93" fmla="*/ 471 h 1652"/>
                  <a:gd name="T94" fmla="*/ 4041 w 7027"/>
                  <a:gd name="T95" fmla="*/ 390 h 1652"/>
                  <a:gd name="T96" fmla="*/ 4043 w 7027"/>
                  <a:gd name="T97" fmla="*/ 445 h 1652"/>
                  <a:gd name="T98" fmla="*/ 1808 w 7027"/>
                  <a:gd name="T99" fmla="*/ 1091 h 1652"/>
                  <a:gd name="T100" fmla="*/ 4048 w 7027"/>
                  <a:gd name="T101" fmla="*/ 329 h 1652"/>
                  <a:gd name="T102" fmla="*/ 4050 w 7027"/>
                  <a:gd name="T103" fmla="*/ 326 h 1652"/>
                  <a:gd name="T104" fmla="*/ 2028 w 7027"/>
                  <a:gd name="T105" fmla="*/ 293 h 1652"/>
                  <a:gd name="T106" fmla="*/ 4644 w 7027"/>
                  <a:gd name="T107" fmla="*/ 454 h 1652"/>
                  <a:gd name="T108" fmla="*/ 4802 w 7027"/>
                  <a:gd name="T109" fmla="*/ 172 h 1652"/>
                  <a:gd name="T110" fmla="*/ 4852 w 7027"/>
                  <a:gd name="T111" fmla="*/ 0 h 1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52">
                    <a:moveTo>
                      <a:pt x="2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493"/>
                    </a:lnTo>
                    <a:lnTo>
                      <a:pt x="2" y="1493"/>
                    </a:lnTo>
                    <a:lnTo>
                      <a:pt x="2" y="1451"/>
                    </a:lnTo>
                    <a:moveTo>
                      <a:pt x="5667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08"/>
                    </a:lnTo>
                    <a:lnTo>
                      <a:pt x="5667" y="1408"/>
                    </a:lnTo>
                    <a:lnTo>
                      <a:pt x="5667" y="1325"/>
                    </a:lnTo>
                    <a:moveTo>
                      <a:pt x="3712" y="1221"/>
                    </a:move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76"/>
                    </a:lnTo>
                    <a:lnTo>
                      <a:pt x="3712" y="1276"/>
                    </a:lnTo>
                    <a:lnTo>
                      <a:pt x="3712" y="1221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09"/>
                    </a:lnTo>
                    <a:lnTo>
                      <a:pt x="5831" y="1285"/>
                    </a:lnTo>
                    <a:lnTo>
                      <a:pt x="5831" y="1285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4" y="1155"/>
                    </a:lnTo>
                    <a:lnTo>
                      <a:pt x="1664" y="1155"/>
                    </a:lnTo>
                    <a:lnTo>
                      <a:pt x="1664" y="1157"/>
                    </a:lnTo>
                    <a:lnTo>
                      <a:pt x="1664" y="1160"/>
                    </a:lnTo>
                    <a:lnTo>
                      <a:pt x="1667" y="1160"/>
                    </a:lnTo>
                    <a:lnTo>
                      <a:pt x="1667" y="1155"/>
                    </a:lnTo>
                    <a:moveTo>
                      <a:pt x="1690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1"/>
                    </a:lnTo>
                    <a:lnTo>
                      <a:pt x="1690" y="1131"/>
                    </a:lnTo>
                    <a:lnTo>
                      <a:pt x="1690" y="1131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3"/>
                    </a:lnTo>
                    <a:lnTo>
                      <a:pt x="5857" y="1183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29"/>
                    </a:lnTo>
                    <a:lnTo>
                      <a:pt x="6322" y="1169"/>
                    </a:lnTo>
                    <a:lnTo>
                      <a:pt x="6322" y="1169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60"/>
                    </a:lnTo>
                    <a:lnTo>
                      <a:pt x="1447" y="1160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3" y="1084"/>
                    </a:lnTo>
                    <a:lnTo>
                      <a:pt x="1463" y="1084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200"/>
                    </a:lnTo>
                    <a:lnTo>
                      <a:pt x="2861" y="1200"/>
                    </a:lnTo>
                    <a:lnTo>
                      <a:pt x="2861" y="1063"/>
                    </a:lnTo>
                    <a:moveTo>
                      <a:pt x="5932" y="1041"/>
                    </a:moveTo>
                    <a:lnTo>
                      <a:pt x="5932" y="1041"/>
                    </a:ln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89"/>
                    </a:lnTo>
                    <a:lnTo>
                      <a:pt x="5932" y="1089"/>
                    </a:lnTo>
                    <a:lnTo>
                      <a:pt x="5932" y="1041"/>
                    </a:lnTo>
                    <a:moveTo>
                      <a:pt x="2877" y="1010"/>
                    </a:moveTo>
                    <a:lnTo>
                      <a:pt x="2875" y="1010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0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83"/>
                    </a:lnTo>
                    <a:lnTo>
                      <a:pt x="3771" y="1183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9" y="989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41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1" y="1108"/>
                    </a:lnTo>
                    <a:lnTo>
                      <a:pt x="6341" y="935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54"/>
                    </a:lnTo>
                    <a:lnTo>
                      <a:pt x="3847" y="954"/>
                    </a:lnTo>
                    <a:lnTo>
                      <a:pt x="3847" y="928"/>
                    </a:lnTo>
                    <a:moveTo>
                      <a:pt x="6386" y="894"/>
                    </a:move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4" y="894"/>
                    </a:lnTo>
                    <a:lnTo>
                      <a:pt x="6386" y="894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7"/>
                    </a:lnTo>
                    <a:lnTo>
                      <a:pt x="6391" y="887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8"/>
                    </a:lnTo>
                    <a:lnTo>
                      <a:pt x="6398" y="868"/>
                    </a:lnTo>
                    <a:lnTo>
                      <a:pt x="6398" y="850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4"/>
                    </a:lnTo>
                    <a:lnTo>
                      <a:pt x="3100" y="939"/>
                    </a:lnTo>
                    <a:lnTo>
                      <a:pt x="3100" y="939"/>
                    </a:lnTo>
                    <a:lnTo>
                      <a:pt x="3100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788"/>
                    </a:lnTo>
                    <a:lnTo>
                      <a:pt x="1009" y="788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3"/>
                    </a:lnTo>
                    <a:lnTo>
                      <a:pt x="5131" y="932"/>
                    </a:lnTo>
                    <a:lnTo>
                      <a:pt x="5133" y="932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24"/>
                    </a:lnTo>
                    <a:lnTo>
                      <a:pt x="3137" y="724"/>
                    </a:lnTo>
                    <a:lnTo>
                      <a:pt x="3137" y="722"/>
                    </a:lnTo>
                    <a:lnTo>
                      <a:pt x="3140" y="722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7"/>
                    </a:lnTo>
                    <a:lnTo>
                      <a:pt x="94" y="1413"/>
                    </a:lnTo>
                    <a:lnTo>
                      <a:pt x="97" y="1413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691"/>
                    </a:lnTo>
                    <a:lnTo>
                      <a:pt x="5254" y="691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17"/>
                    </a:lnTo>
                    <a:lnTo>
                      <a:pt x="3284" y="617"/>
                    </a:lnTo>
                    <a:lnTo>
                      <a:pt x="3284" y="582"/>
                    </a:lnTo>
                    <a:moveTo>
                      <a:pt x="302" y="546"/>
                    </a:moveTo>
                    <a:lnTo>
                      <a:pt x="300" y="546"/>
                    </a:lnTo>
                    <a:lnTo>
                      <a:pt x="300" y="549"/>
                    </a:lnTo>
                    <a:lnTo>
                      <a:pt x="300" y="577"/>
                    </a:lnTo>
                    <a:lnTo>
                      <a:pt x="302" y="577"/>
                    </a:lnTo>
                    <a:lnTo>
                      <a:pt x="302" y="546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52"/>
                    </a:lnTo>
                    <a:lnTo>
                      <a:pt x="7027" y="1652"/>
                    </a:lnTo>
                    <a:lnTo>
                      <a:pt x="7027" y="509"/>
                    </a:lnTo>
                    <a:moveTo>
                      <a:pt x="4194" y="501"/>
                    </a:moveTo>
                    <a:lnTo>
                      <a:pt x="4194" y="501"/>
                    </a:lnTo>
                    <a:lnTo>
                      <a:pt x="4192" y="504"/>
                    </a:lnTo>
                    <a:lnTo>
                      <a:pt x="4156" y="554"/>
                    </a:lnTo>
                    <a:lnTo>
                      <a:pt x="4156" y="554"/>
                    </a:lnTo>
                    <a:lnTo>
                      <a:pt x="4194" y="501"/>
                    </a:lnTo>
                    <a:moveTo>
                      <a:pt x="3300" y="499"/>
                    </a:moveTo>
                    <a:lnTo>
                      <a:pt x="3300" y="499"/>
                    </a:lnTo>
                    <a:lnTo>
                      <a:pt x="3298" y="499"/>
                    </a:lnTo>
                    <a:lnTo>
                      <a:pt x="3298" y="501"/>
                    </a:lnTo>
                    <a:lnTo>
                      <a:pt x="3298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499"/>
                    </a:lnTo>
                    <a:moveTo>
                      <a:pt x="4038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87"/>
                    </a:lnTo>
                    <a:lnTo>
                      <a:pt x="3955" y="887"/>
                    </a:lnTo>
                    <a:lnTo>
                      <a:pt x="3955" y="641"/>
                    </a:lnTo>
                    <a:lnTo>
                      <a:pt x="4038" y="487"/>
                    </a:lnTo>
                    <a:lnTo>
                      <a:pt x="4038" y="454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9" y="473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5"/>
                    </a:lnTo>
                    <a:lnTo>
                      <a:pt x="4043" y="445"/>
                    </a:lnTo>
                    <a:lnTo>
                      <a:pt x="4043" y="390"/>
                    </a:lnTo>
                    <a:moveTo>
                      <a:pt x="1811" y="367"/>
                    </a:moveTo>
                    <a:lnTo>
                      <a:pt x="1808" y="367"/>
                    </a:lnTo>
                    <a:lnTo>
                      <a:pt x="1808" y="369"/>
                    </a:lnTo>
                    <a:lnTo>
                      <a:pt x="1808" y="1091"/>
                    </a:lnTo>
                    <a:lnTo>
                      <a:pt x="1811" y="1091"/>
                    </a:lnTo>
                    <a:lnTo>
                      <a:pt x="1811" y="367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4"/>
                    </a:lnTo>
                    <a:lnTo>
                      <a:pt x="4644" y="454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91"/>
                    </a:lnTo>
                    <a:lnTo>
                      <a:pt x="4804" y="191"/>
                    </a:lnTo>
                    <a:lnTo>
                      <a:pt x="4804" y="172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32"/>
                    </a:lnTo>
                    <a:lnTo>
                      <a:pt x="4854" y="132"/>
                    </a:lnTo>
                    <a:lnTo>
                      <a:pt x="485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1" name="Freeform 104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2" name="Freeform 105"/>
              <p:cNvSpPr>
                <a:spLocks noEditPoints="1"/>
              </p:cNvSpPr>
              <p:nvPr/>
            </p:nvSpPr>
            <p:spPr bwMode="auto">
              <a:xfrm>
                <a:off x="9" y="1698"/>
                <a:ext cx="7025" cy="1655"/>
              </a:xfrm>
              <a:custGeom>
                <a:avLst/>
                <a:gdLst>
                  <a:gd name="T0" fmla="*/ 2 w 7025"/>
                  <a:gd name="T1" fmla="*/ 1496 h 1655"/>
                  <a:gd name="T2" fmla="*/ 5665 w 7025"/>
                  <a:gd name="T3" fmla="*/ 1411 h 1655"/>
                  <a:gd name="T4" fmla="*/ 3710 w 7025"/>
                  <a:gd name="T5" fmla="*/ 1224 h 1655"/>
                  <a:gd name="T6" fmla="*/ 5831 w 7025"/>
                  <a:gd name="T7" fmla="*/ 1210 h 1655"/>
                  <a:gd name="T8" fmla="*/ 5831 w 7025"/>
                  <a:gd name="T9" fmla="*/ 1210 h 1655"/>
                  <a:gd name="T10" fmla="*/ 1665 w 7025"/>
                  <a:gd name="T11" fmla="*/ 1163 h 1655"/>
                  <a:gd name="T12" fmla="*/ 1688 w 7025"/>
                  <a:gd name="T13" fmla="*/ 1134 h 1655"/>
                  <a:gd name="T14" fmla="*/ 1688 w 7025"/>
                  <a:gd name="T15" fmla="*/ 1132 h 1655"/>
                  <a:gd name="T16" fmla="*/ 5855 w 7025"/>
                  <a:gd name="T17" fmla="*/ 1184 h 1655"/>
                  <a:gd name="T18" fmla="*/ 6323 w 7025"/>
                  <a:gd name="T19" fmla="*/ 1127 h 1655"/>
                  <a:gd name="T20" fmla="*/ 6323 w 7025"/>
                  <a:gd name="T21" fmla="*/ 1127 h 1655"/>
                  <a:gd name="T22" fmla="*/ 1445 w 7025"/>
                  <a:gd name="T23" fmla="*/ 1163 h 1655"/>
                  <a:gd name="T24" fmla="*/ 1461 w 7025"/>
                  <a:gd name="T25" fmla="*/ 1087 h 1655"/>
                  <a:gd name="T26" fmla="*/ 1464 w 7025"/>
                  <a:gd name="T27" fmla="*/ 1085 h 1655"/>
                  <a:gd name="T28" fmla="*/ 2859 w 7025"/>
                  <a:gd name="T29" fmla="*/ 1203 h 1655"/>
                  <a:gd name="T30" fmla="*/ 5930 w 7025"/>
                  <a:gd name="T31" fmla="*/ 1042 h 1655"/>
                  <a:gd name="T32" fmla="*/ 2878 w 7025"/>
                  <a:gd name="T33" fmla="*/ 1011 h 1655"/>
                  <a:gd name="T34" fmla="*/ 2878 w 7025"/>
                  <a:gd name="T35" fmla="*/ 1044 h 1655"/>
                  <a:gd name="T36" fmla="*/ 3769 w 7025"/>
                  <a:gd name="T37" fmla="*/ 995 h 1655"/>
                  <a:gd name="T38" fmla="*/ 5947 w 7025"/>
                  <a:gd name="T39" fmla="*/ 990 h 1655"/>
                  <a:gd name="T40" fmla="*/ 5949 w 7025"/>
                  <a:gd name="T41" fmla="*/ 1023 h 1655"/>
                  <a:gd name="T42" fmla="*/ 6339 w 7025"/>
                  <a:gd name="T43" fmla="*/ 938 h 1655"/>
                  <a:gd name="T44" fmla="*/ 6339 w 7025"/>
                  <a:gd name="T45" fmla="*/ 935 h 1655"/>
                  <a:gd name="T46" fmla="*/ 3845 w 7025"/>
                  <a:gd name="T47" fmla="*/ 957 h 1655"/>
                  <a:gd name="T48" fmla="*/ 6384 w 7025"/>
                  <a:gd name="T49" fmla="*/ 897 h 1655"/>
                  <a:gd name="T50" fmla="*/ 6389 w 7025"/>
                  <a:gd name="T51" fmla="*/ 879 h 1655"/>
                  <a:gd name="T52" fmla="*/ 6389 w 7025"/>
                  <a:gd name="T53" fmla="*/ 890 h 1655"/>
                  <a:gd name="T54" fmla="*/ 6396 w 7025"/>
                  <a:gd name="T55" fmla="*/ 853 h 1655"/>
                  <a:gd name="T56" fmla="*/ 6398 w 7025"/>
                  <a:gd name="T57" fmla="*/ 850 h 1655"/>
                  <a:gd name="T58" fmla="*/ 3098 w 7025"/>
                  <a:gd name="T59" fmla="*/ 942 h 1655"/>
                  <a:gd name="T60" fmla="*/ 1007 w 7025"/>
                  <a:gd name="T61" fmla="*/ 755 h 1655"/>
                  <a:gd name="T62" fmla="*/ 5131 w 7025"/>
                  <a:gd name="T63" fmla="*/ 732 h 1655"/>
                  <a:gd name="T64" fmla="*/ 3140 w 7025"/>
                  <a:gd name="T65" fmla="*/ 656 h 1655"/>
                  <a:gd name="T66" fmla="*/ 3140 w 7025"/>
                  <a:gd name="T67" fmla="*/ 656 h 1655"/>
                  <a:gd name="T68" fmla="*/ 97 w 7025"/>
                  <a:gd name="T69" fmla="*/ 1416 h 1655"/>
                  <a:gd name="T70" fmla="*/ 5252 w 7025"/>
                  <a:gd name="T71" fmla="*/ 694 h 1655"/>
                  <a:gd name="T72" fmla="*/ 3282 w 7025"/>
                  <a:gd name="T73" fmla="*/ 583 h 1655"/>
                  <a:gd name="T74" fmla="*/ 303 w 7025"/>
                  <a:gd name="T75" fmla="*/ 547 h 1655"/>
                  <a:gd name="T76" fmla="*/ 303 w 7025"/>
                  <a:gd name="T77" fmla="*/ 547 h 1655"/>
                  <a:gd name="T78" fmla="*/ 7025 w 7025"/>
                  <a:gd name="T79" fmla="*/ 1655 h 1655"/>
                  <a:gd name="T80" fmla="*/ 4154 w 7025"/>
                  <a:gd name="T81" fmla="*/ 557 h 1655"/>
                  <a:gd name="T82" fmla="*/ 3298 w 7025"/>
                  <a:gd name="T83" fmla="*/ 502 h 1655"/>
                  <a:gd name="T84" fmla="*/ 3301 w 7025"/>
                  <a:gd name="T85" fmla="*/ 564 h 1655"/>
                  <a:gd name="T86" fmla="*/ 4036 w 7025"/>
                  <a:gd name="T87" fmla="*/ 457 h 1655"/>
                  <a:gd name="T88" fmla="*/ 3956 w 7025"/>
                  <a:gd name="T89" fmla="*/ 642 h 1655"/>
                  <a:gd name="T90" fmla="*/ 3327 w 7025"/>
                  <a:gd name="T91" fmla="*/ 436 h 1655"/>
                  <a:gd name="T92" fmla="*/ 3329 w 7025"/>
                  <a:gd name="T93" fmla="*/ 433 h 1655"/>
                  <a:gd name="T94" fmla="*/ 4041 w 7025"/>
                  <a:gd name="T95" fmla="*/ 448 h 1655"/>
                  <a:gd name="T96" fmla="*/ 1809 w 7025"/>
                  <a:gd name="T97" fmla="*/ 370 h 1655"/>
                  <a:gd name="T98" fmla="*/ 1809 w 7025"/>
                  <a:gd name="T99" fmla="*/ 370 h 1655"/>
                  <a:gd name="T100" fmla="*/ 4050 w 7025"/>
                  <a:gd name="T101" fmla="*/ 384 h 1655"/>
                  <a:gd name="T102" fmla="*/ 2026 w 7025"/>
                  <a:gd name="T103" fmla="*/ 294 h 1655"/>
                  <a:gd name="T104" fmla="*/ 4703 w 7025"/>
                  <a:gd name="T105" fmla="*/ 232 h 1655"/>
                  <a:gd name="T106" fmla="*/ 4703 w 7025"/>
                  <a:gd name="T107" fmla="*/ 232 h 1655"/>
                  <a:gd name="T108" fmla="*/ 4802 w 7025"/>
                  <a:gd name="T109" fmla="*/ 194 h 1655"/>
                  <a:gd name="T110" fmla="*/ 4852 w 7025"/>
                  <a:gd name="T111" fmla="*/ 3 h 1655"/>
                  <a:gd name="T112" fmla="*/ 4909 w 7025"/>
                  <a:gd name="T113" fmla="*/ 0 h 16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55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496"/>
                    </a:lnTo>
                    <a:lnTo>
                      <a:pt x="2" y="1496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1"/>
                    </a:lnTo>
                    <a:lnTo>
                      <a:pt x="5665" y="1411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279"/>
                    </a:lnTo>
                    <a:lnTo>
                      <a:pt x="3712" y="1279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88"/>
                    </a:lnTo>
                    <a:lnTo>
                      <a:pt x="5831" y="1288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3"/>
                    </a:lnTo>
                    <a:lnTo>
                      <a:pt x="1667" y="1163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30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30"/>
                    </a:lnTo>
                    <a:lnTo>
                      <a:pt x="6320" y="1172"/>
                    </a:lnTo>
                    <a:lnTo>
                      <a:pt x="6323" y="117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63"/>
                    </a:lnTo>
                    <a:lnTo>
                      <a:pt x="1447" y="1163"/>
                    </a:lnTo>
                    <a:lnTo>
                      <a:pt x="1447" y="1125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03"/>
                    </a:lnTo>
                    <a:lnTo>
                      <a:pt x="2861" y="1203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092"/>
                    </a:lnTo>
                    <a:lnTo>
                      <a:pt x="5930" y="1092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186"/>
                    </a:lnTo>
                    <a:lnTo>
                      <a:pt x="3771" y="1186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57"/>
                    </a:lnTo>
                    <a:lnTo>
                      <a:pt x="3845" y="957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897"/>
                    </a:lnTo>
                    <a:lnTo>
                      <a:pt x="6384" y="897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5"/>
                    </a:lnTo>
                    <a:lnTo>
                      <a:pt x="3098" y="942"/>
                    </a:lnTo>
                    <a:lnTo>
                      <a:pt x="3100" y="942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1"/>
                    </a:lnTo>
                    <a:lnTo>
                      <a:pt x="1010" y="791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35"/>
                    </a:lnTo>
                    <a:lnTo>
                      <a:pt x="5133" y="935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25"/>
                    </a:lnTo>
                    <a:lnTo>
                      <a:pt x="3140" y="725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16"/>
                    </a:lnTo>
                    <a:lnTo>
                      <a:pt x="97" y="1416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694"/>
                    </a:lnTo>
                    <a:lnTo>
                      <a:pt x="5254" y="694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20"/>
                    </a:lnTo>
                    <a:lnTo>
                      <a:pt x="3282" y="620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0"/>
                    </a:lnTo>
                    <a:lnTo>
                      <a:pt x="303" y="580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55"/>
                    </a:lnTo>
                    <a:lnTo>
                      <a:pt x="7025" y="1655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54" y="557"/>
                    </a:lnTo>
                    <a:lnTo>
                      <a:pt x="4154" y="55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890"/>
                    </a:lnTo>
                    <a:lnTo>
                      <a:pt x="3956" y="890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0"/>
                    </a:lnTo>
                    <a:lnTo>
                      <a:pt x="1809" y="1094"/>
                    </a:lnTo>
                    <a:lnTo>
                      <a:pt x="1809" y="1094"/>
                    </a:lnTo>
                    <a:lnTo>
                      <a:pt x="1809" y="370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296"/>
                    </a:lnTo>
                    <a:lnTo>
                      <a:pt x="2029" y="296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42" y="457"/>
                    </a:lnTo>
                    <a:lnTo>
                      <a:pt x="4644" y="455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194"/>
                    </a:lnTo>
                    <a:lnTo>
                      <a:pt x="4805" y="194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35"/>
                    </a:lnTo>
                    <a:lnTo>
                      <a:pt x="4852" y="135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135"/>
                    </a:lnTo>
                    <a:lnTo>
                      <a:pt x="4911" y="135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3" name="Freeform 106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close/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close/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4" name="Freeform 107"/>
              <p:cNvSpPr>
                <a:spLocks noEditPoints="1"/>
              </p:cNvSpPr>
              <p:nvPr/>
            </p:nvSpPr>
            <p:spPr bwMode="auto">
              <a:xfrm>
                <a:off x="11" y="1696"/>
                <a:ext cx="7025" cy="1657"/>
              </a:xfrm>
              <a:custGeom>
                <a:avLst/>
                <a:gdLst>
                  <a:gd name="T0" fmla="*/ 3 w 7025"/>
                  <a:gd name="T1" fmla="*/ 1498 h 1657"/>
                  <a:gd name="T2" fmla="*/ 5663 w 7025"/>
                  <a:gd name="T3" fmla="*/ 1413 h 1657"/>
                  <a:gd name="T4" fmla="*/ 3710 w 7025"/>
                  <a:gd name="T5" fmla="*/ 1221 h 1657"/>
                  <a:gd name="T6" fmla="*/ 3710 w 7025"/>
                  <a:gd name="T7" fmla="*/ 1356 h 1657"/>
                  <a:gd name="T8" fmla="*/ 5829 w 7025"/>
                  <a:gd name="T9" fmla="*/ 1212 h 1657"/>
                  <a:gd name="T10" fmla="*/ 1665 w 7025"/>
                  <a:gd name="T11" fmla="*/ 1158 h 1657"/>
                  <a:gd name="T12" fmla="*/ 1665 w 7025"/>
                  <a:gd name="T13" fmla="*/ 1158 h 1657"/>
                  <a:gd name="T14" fmla="*/ 1689 w 7025"/>
                  <a:gd name="T15" fmla="*/ 1134 h 1657"/>
                  <a:gd name="T16" fmla="*/ 5855 w 7025"/>
                  <a:gd name="T17" fmla="*/ 1129 h 1657"/>
                  <a:gd name="T18" fmla="*/ 5857 w 7025"/>
                  <a:gd name="T19" fmla="*/ 1184 h 1657"/>
                  <a:gd name="T20" fmla="*/ 6321 w 7025"/>
                  <a:gd name="T21" fmla="*/ 1129 h 1657"/>
                  <a:gd name="T22" fmla="*/ 1445 w 7025"/>
                  <a:gd name="T23" fmla="*/ 1127 h 1657"/>
                  <a:gd name="T24" fmla="*/ 1447 w 7025"/>
                  <a:gd name="T25" fmla="*/ 1127 h 1657"/>
                  <a:gd name="T26" fmla="*/ 1464 w 7025"/>
                  <a:gd name="T27" fmla="*/ 1110 h 1657"/>
                  <a:gd name="T28" fmla="*/ 2859 w 7025"/>
                  <a:gd name="T29" fmla="*/ 1063 h 1657"/>
                  <a:gd name="T30" fmla="*/ 2861 w 7025"/>
                  <a:gd name="T31" fmla="*/ 1063 h 1657"/>
                  <a:gd name="T32" fmla="*/ 5928 w 7025"/>
                  <a:gd name="T33" fmla="*/ 1094 h 1657"/>
                  <a:gd name="T34" fmla="*/ 2876 w 7025"/>
                  <a:gd name="T35" fmla="*/ 1013 h 1657"/>
                  <a:gd name="T36" fmla="*/ 2878 w 7025"/>
                  <a:gd name="T37" fmla="*/ 1013 h 1657"/>
                  <a:gd name="T38" fmla="*/ 3772 w 7025"/>
                  <a:gd name="T39" fmla="*/ 1188 h 1657"/>
                  <a:gd name="T40" fmla="*/ 5947 w 7025"/>
                  <a:gd name="T41" fmla="*/ 1025 h 1657"/>
                  <a:gd name="T42" fmla="*/ 6340 w 7025"/>
                  <a:gd name="T43" fmla="*/ 935 h 1657"/>
                  <a:gd name="T44" fmla="*/ 6340 w 7025"/>
                  <a:gd name="T45" fmla="*/ 1113 h 1657"/>
                  <a:gd name="T46" fmla="*/ 3843 w 7025"/>
                  <a:gd name="T47" fmla="*/ 928 h 1657"/>
                  <a:gd name="T48" fmla="*/ 6385 w 7025"/>
                  <a:gd name="T49" fmla="*/ 895 h 1657"/>
                  <a:gd name="T50" fmla="*/ 6385 w 7025"/>
                  <a:gd name="T51" fmla="*/ 899 h 1657"/>
                  <a:gd name="T52" fmla="*/ 6387 w 7025"/>
                  <a:gd name="T53" fmla="*/ 881 h 1657"/>
                  <a:gd name="T54" fmla="*/ 6389 w 7025"/>
                  <a:gd name="T55" fmla="*/ 878 h 1657"/>
                  <a:gd name="T56" fmla="*/ 6396 w 7025"/>
                  <a:gd name="T57" fmla="*/ 871 h 1657"/>
                  <a:gd name="T58" fmla="*/ 804 w 7025"/>
                  <a:gd name="T59" fmla="*/ 828 h 1657"/>
                  <a:gd name="T60" fmla="*/ 3100 w 7025"/>
                  <a:gd name="T61" fmla="*/ 762 h 1657"/>
                  <a:gd name="T62" fmla="*/ 3100 w 7025"/>
                  <a:gd name="T63" fmla="*/ 762 h 1657"/>
                  <a:gd name="T64" fmla="*/ 1010 w 7025"/>
                  <a:gd name="T65" fmla="*/ 793 h 1657"/>
                  <a:gd name="T66" fmla="*/ 5131 w 7025"/>
                  <a:gd name="T67" fmla="*/ 937 h 1657"/>
                  <a:gd name="T68" fmla="*/ 3138 w 7025"/>
                  <a:gd name="T69" fmla="*/ 658 h 1657"/>
                  <a:gd name="T70" fmla="*/ 95 w 7025"/>
                  <a:gd name="T71" fmla="*/ 618 h 1657"/>
                  <a:gd name="T72" fmla="*/ 5254 w 7025"/>
                  <a:gd name="T73" fmla="*/ 611 h 1657"/>
                  <a:gd name="T74" fmla="*/ 5254 w 7025"/>
                  <a:gd name="T75" fmla="*/ 611 h 1657"/>
                  <a:gd name="T76" fmla="*/ 3280 w 7025"/>
                  <a:gd name="T77" fmla="*/ 622 h 1657"/>
                  <a:gd name="T78" fmla="*/ 301 w 7025"/>
                  <a:gd name="T79" fmla="*/ 549 h 1657"/>
                  <a:gd name="T80" fmla="*/ 7023 w 7025"/>
                  <a:gd name="T81" fmla="*/ 509 h 1657"/>
                  <a:gd name="T82" fmla="*/ 4193 w 7025"/>
                  <a:gd name="T83" fmla="*/ 504 h 1657"/>
                  <a:gd name="T84" fmla="*/ 4193 w 7025"/>
                  <a:gd name="T85" fmla="*/ 504 h 1657"/>
                  <a:gd name="T86" fmla="*/ 3299 w 7025"/>
                  <a:gd name="T87" fmla="*/ 566 h 1657"/>
                  <a:gd name="T88" fmla="*/ 4037 w 7025"/>
                  <a:gd name="T89" fmla="*/ 454 h 1657"/>
                  <a:gd name="T90" fmla="*/ 3954 w 7025"/>
                  <a:gd name="T91" fmla="*/ 644 h 1657"/>
                  <a:gd name="T92" fmla="*/ 4037 w 7025"/>
                  <a:gd name="T93" fmla="*/ 454 h 1657"/>
                  <a:gd name="T94" fmla="*/ 3327 w 7025"/>
                  <a:gd name="T95" fmla="*/ 473 h 1657"/>
                  <a:gd name="T96" fmla="*/ 4041 w 7025"/>
                  <a:gd name="T97" fmla="*/ 390 h 1657"/>
                  <a:gd name="T98" fmla="*/ 4041 w 7025"/>
                  <a:gd name="T99" fmla="*/ 447 h 1657"/>
                  <a:gd name="T100" fmla="*/ 1807 w 7025"/>
                  <a:gd name="T101" fmla="*/ 372 h 1657"/>
                  <a:gd name="T102" fmla="*/ 4048 w 7025"/>
                  <a:gd name="T103" fmla="*/ 327 h 1657"/>
                  <a:gd name="T104" fmla="*/ 4051 w 7025"/>
                  <a:gd name="T105" fmla="*/ 381 h 1657"/>
                  <a:gd name="T106" fmla="*/ 2027 w 7025"/>
                  <a:gd name="T107" fmla="*/ 298 h 1657"/>
                  <a:gd name="T108" fmla="*/ 4701 w 7025"/>
                  <a:gd name="T109" fmla="*/ 234 h 1657"/>
                  <a:gd name="T110" fmla="*/ 4803 w 7025"/>
                  <a:gd name="T111" fmla="*/ 173 h 1657"/>
                  <a:gd name="T112" fmla="*/ 4803 w 7025"/>
                  <a:gd name="T113" fmla="*/ 173 h 1657"/>
                  <a:gd name="T114" fmla="*/ 4852 w 7025"/>
                  <a:gd name="T115" fmla="*/ 137 h 1657"/>
                  <a:gd name="T116" fmla="*/ 4909 w 7025"/>
                  <a:gd name="T117" fmla="*/ 137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57">
                    <a:moveTo>
                      <a:pt x="3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498"/>
                    </a:lnTo>
                    <a:lnTo>
                      <a:pt x="3" y="1498"/>
                    </a:lnTo>
                    <a:lnTo>
                      <a:pt x="3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13"/>
                    </a:lnTo>
                    <a:lnTo>
                      <a:pt x="5666" y="1413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281"/>
                    </a:lnTo>
                    <a:lnTo>
                      <a:pt x="3710" y="1281"/>
                    </a:lnTo>
                    <a:lnTo>
                      <a:pt x="3710" y="1356"/>
                    </a:lnTo>
                    <a:lnTo>
                      <a:pt x="3710" y="1356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290"/>
                    </a:lnTo>
                    <a:lnTo>
                      <a:pt x="5831" y="1290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65"/>
                    </a:lnTo>
                    <a:lnTo>
                      <a:pt x="1665" y="1165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4"/>
                    </a:lnTo>
                    <a:lnTo>
                      <a:pt x="1689" y="1132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5" y="1186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74"/>
                    </a:lnTo>
                    <a:lnTo>
                      <a:pt x="6323" y="117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65"/>
                    </a:lnTo>
                    <a:lnTo>
                      <a:pt x="1447" y="1165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05"/>
                    </a:lnTo>
                    <a:lnTo>
                      <a:pt x="2861" y="1205"/>
                    </a:lnTo>
                    <a:lnTo>
                      <a:pt x="2861" y="1063"/>
                    </a:lnTo>
                    <a:moveTo>
                      <a:pt x="5931" y="1042"/>
                    </a:moveTo>
                    <a:lnTo>
                      <a:pt x="5931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094"/>
                    </a:lnTo>
                    <a:lnTo>
                      <a:pt x="5931" y="1094"/>
                    </a:lnTo>
                    <a:lnTo>
                      <a:pt x="5931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3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188"/>
                    </a:lnTo>
                    <a:lnTo>
                      <a:pt x="3772" y="1188"/>
                    </a:lnTo>
                    <a:lnTo>
                      <a:pt x="3772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59"/>
                    </a:lnTo>
                    <a:lnTo>
                      <a:pt x="3845" y="959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2" y="899"/>
                    </a:lnTo>
                    <a:lnTo>
                      <a:pt x="6385" y="899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1034"/>
                    </a:lnTo>
                    <a:lnTo>
                      <a:pt x="804" y="1034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44"/>
                    </a:lnTo>
                    <a:lnTo>
                      <a:pt x="3100" y="944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793"/>
                    </a:lnTo>
                    <a:lnTo>
                      <a:pt x="1010" y="793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37"/>
                    </a:lnTo>
                    <a:lnTo>
                      <a:pt x="5131" y="937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27"/>
                    </a:lnTo>
                    <a:lnTo>
                      <a:pt x="3138" y="727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18"/>
                    </a:lnTo>
                    <a:lnTo>
                      <a:pt x="97" y="1418"/>
                    </a:lnTo>
                    <a:lnTo>
                      <a:pt x="97" y="618"/>
                    </a:lnTo>
                    <a:moveTo>
                      <a:pt x="5254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696"/>
                    </a:lnTo>
                    <a:lnTo>
                      <a:pt x="5254" y="696"/>
                    </a:lnTo>
                    <a:lnTo>
                      <a:pt x="5254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22"/>
                    </a:lnTo>
                    <a:lnTo>
                      <a:pt x="3282" y="622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2"/>
                    </a:lnTo>
                    <a:lnTo>
                      <a:pt x="303" y="582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57"/>
                    </a:lnTo>
                    <a:lnTo>
                      <a:pt x="7025" y="1657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52" y="561"/>
                    </a:lnTo>
                    <a:lnTo>
                      <a:pt x="4152" y="561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892"/>
                    </a:lnTo>
                    <a:lnTo>
                      <a:pt x="3954" y="892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27" y="473"/>
                    </a:lnTo>
                    <a:lnTo>
                      <a:pt x="3327" y="471"/>
                    </a:lnTo>
                    <a:lnTo>
                      <a:pt x="3330" y="471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096"/>
                    </a:lnTo>
                    <a:lnTo>
                      <a:pt x="1809" y="1096"/>
                    </a:lnTo>
                    <a:lnTo>
                      <a:pt x="1809" y="369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298"/>
                    </a:lnTo>
                    <a:lnTo>
                      <a:pt x="2029" y="298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42" y="457"/>
                    </a:lnTo>
                    <a:lnTo>
                      <a:pt x="4642" y="457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196"/>
                    </a:lnTo>
                    <a:lnTo>
                      <a:pt x="4803" y="196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37"/>
                    </a:lnTo>
                    <a:lnTo>
                      <a:pt x="4852" y="137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37"/>
                    </a:lnTo>
                    <a:lnTo>
                      <a:pt x="4911" y="137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5" name="Freeform 108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close/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close/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close/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close/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close/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close/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close/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close/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close/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close/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D0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6" name="Freeform 109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5" cy="1660"/>
              </a:xfrm>
              <a:custGeom>
                <a:avLst/>
                <a:gdLst>
                  <a:gd name="T0" fmla="*/ 0 w 7025"/>
                  <a:gd name="T1" fmla="*/ 1501 h 1660"/>
                  <a:gd name="T2" fmla="*/ 5663 w 7025"/>
                  <a:gd name="T3" fmla="*/ 1416 h 1660"/>
                  <a:gd name="T4" fmla="*/ 3707 w 7025"/>
                  <a:gd name="T5" fmla="*/ 1224 h 1660"/>
                  <a:gd name="T6" fmla="*/ 5831 w 7025"/>
                  <a:gd name="T7" fmla="*/ 1210 h 1660"/>
                  <a:gd name="T8" fmla="*/ 5831 w 7025"/>
                  <a:gd name="T9" fmla="*/ 1293 h 1660"/>
                  <a:gd name="T10" fmla="*/ 1662 w 7025"/>
                  <a:gd name="T11" fmla="*/ 1161 h 1660"/>
                  <a:gd name="T12" fmla="*/ 1686 w 7025"/>
                  <a:gd name="T13" fmla="*/ 1132 h 1660"/>
                  <a:gd name="T14" fmla="*/ 1688 w 7025"/>
                  <a:gd name="T15" fmla="*/ 1135 h 1660"/>
                  <a:gd name="T16" fmla="*/ 5854 w 7025"/>
                  <a:gd name="T17" fmla="*/ 1187 h 1660"/>
                  <a:gd name="T18" fmla="*/ 6322 w 7025"/>
                  <a:gd name="T19" fmla="*/ 1130 h 1660"/>
                  <a:gd name="T20" fmla="*/ 6322 w 7025"/>
                  <a:gd name="T21" fmla="*/ 1177 h 1660"/>
                  <a:gd name="T22" fmla="*/ 1444 w 7025"/>
                  <a:gd name="T23" fmla="*/ 1130 h 1660"/>
                  <a:gd name="T24" fmla="*/ 1461 w 7025"/>
                  <a:gd name="T25" fmla="*/ 1085 h 1660"/>
                  <a:gd name="T26" fmla="*/ 1463 w 7025"/>
                  <a:gd name="T27" fmla="*/ 1108 h 1660"/>
                  <a:gd name="T28" fmla="*/ 2858 w 7025"/>
                  <a:gd name="T29" fmla="*/ 1066 h 1660"/>
                  <a:gd name="T30" fmla="*/ 5930 w 7025"/>
                  <a:gd name="T31" fmla="*/ 1042 h 1660"/>
                  <a:gd name="T32" fmla="*/ 5930 w 7025"/>
                  <a:gd name="T33" fmla="*/ 1042 h 1660"/>
                  <a:gd name="T34" fmla="*/ 2875 w 7025"/>
                  <a:gd name="T35" fmla="*/ 1047 h 1660"/>
                  <a:gd name="T36" fmla="*/ 3769 w 7025"/>
                  <a:gd name="T37" fmla="*/ 995 h 1660"/>
                  <a:gd name="T38" fmla="*/ 5949 w 7025"/>
                  <a:gd name="T39" fmla="*/ 990 h 1660"/>
                  <a:gd name="T40" fmla="*/ 5946 w 7025"/>
                  <a:gd name="T41" fmla="*/ 1023 h 1660"/>
                  <a:gd name="T42" fmla="*/ 6337 w 7025"/>
                  <a:gd name="T43" fmla="*/ 938 h 1660"/>
                  <a:gd name="T44" fmla="*/ 6339 w 7025"/>
                  <a:gd name="T45" fmla="*/ 1111 h 1660"/>
                  <a:gd name="T46" fmla="*/ 3842 w 7025"/>
                  <a:gd name="T47" fmla="*/ 962 h 1660"/>
                  <a:gd name="T48" fmla="*/ 6382 w 7025"/>
                  <a:gd name="T49" fmla="*/ 895 h 1660"/>
                  <a:gd name="T50" fmla="*/ 6389 w 7025"/>
                  <a:gd name="T51" fmla="*/ 879 h 1660"/>
                  <a:gd name="T52" fmla="*/ 6386 w 7025"/>
                  <a:gd name="T53" fmla="*/ 893 h 1660"/>
                  <a:gd name="T54" fmla="*/ 6396 w 7025"/>
                  <a:gd name="T55" fmla="*/ 850 h 1660"/>
                  <a:gd name="T56" fmla="*/ 6396 w 7025"/>
                  <a:gd name="T57" fmla="*/ 872 h 1660"/>
                  <a:gd name="T58" fmla="*/ 801 w 7025"/>
                  <a:gd name="T59" fmla="*/ 1037 h 1660"/>
                  <a:gd name="T60" fmla="*/ 3097 w 7025"/>
                  <a:gd name="T61" fmla="*/ 765 h 1660"/>
                  <a:gd name="T62" fmla="*/ 1007 w 7025"/>
                  <a:gd name="T63" fmla="*/ 753 h 1660"/>
                  <a:gd name="T64" fmla="*/ 1007 w 7025"/>
                  <a:gd name="T65" fmla="*/ 753 h 1660"/>
                  <a:gd name="T66" fmla="*/ 5131 w 7025"/>
                  <a:gd name="T67" fmla="*/ 940 h 1660"/>
                  <a:gd name="T68" fmla="*/ 3135 w 7025"/>
                  <a:gd name="T69" fmla="*/ 730 h 1660"/>
                  <a:gd name="T70" fmla="*/ 94 w 7025"/>
                  <a:gd name="T71" fmla="*/ 621 h 1660"/>
                  <a:gd name="T72" fmla="*/ 5251 w 7025"/>
                  <a:gd name="T73" fmla="*/ 611 h 1660"/>
                  <a:gd name="T74" fmla="*/ 3282 w 7025"/>
                  <a:gd name="T75" fmla="*/ 583 h 1660"/>
                  <a:gd name="T76" fmla="*/ 3282 w 7025"/>
                  <a:gd name="T77" fmla="*/ 625 h 1660"/>
                  <a:gd name="T78" fmla="*/ 300 w 7025"/>
                  <a:gd name="T79" fmla="*/ 585 h 1660"/>
                  <a:gd name="T80" fmla="*/ 7022 w 7025"/>
                  <a:gd name="T81" fmla="*/ 512 h 1660"/>
                  <a:gd name="T82" fmla="*/ 4192 w 7025"/>
                  <a:gd name="T83" fmla="*/ 505 h 1660"/>
                  <a:gd name="T84" fmla="*/ 3298 w 7025"/>
                  <a:gd name="T85" fmla="*/ 502 h 1660"/>
                  <a:gd name="T86" fmla="*/ 3298 w 7025"/>
                  <a:gd name="T87" fmla="*/ 566 h 1660"/>
                  <a:gd name="T88" fmla="*/ 4034 w 7025"/>
                  <a:gd name="T89" fmla="*/ 455 h 1660"/>
                  <a:gd name="T90" fmla="*/ 3951 w 7025"/>
                  <a:gd name="T91" fmla="*/ 895 h 1660"/>
                  <a:gd name="T92" fmla="*/ 3327 w 7025"/>
                  <a:gd name="T93" fmla="*/ 436 h 1660"/>
                  <a:gd name="T94" fmla="*/ 3327 w 7025"/>
                  <a:gd name="T95" fmla="*/ 474 h 1660"/>
                  <a:gd name="T96" fmla="*/ 4038 w 7025"/>
                  <a:gd name="T97" fmla="*/ 391 h 1660"/>
                  <a:gd name="T98" fmla="*/ 4041 w 7025"/>
                  <a:gd name="T99" fmla="*/ 448 h 1660"/>
                  <a:gd name="T100" fmla="*/ 1806 w 7025"/>
                  <a:gd name="T101" fmla="*/ 1099 h 1660"/>
                  <a:gd name="T102" fmla="*/ 1936 w 7025"/>
                  <a:gd name="T103" fmla="*/ 337 h 1660"/>
                  <a:gd name="T104" fmla="*/ 4048 w 7025"/>
                  <a:gd name="T105" fmla="*/ 330 h 1660"/>
                  <a:gd name="T106" fmla="*/ 4050 w 7025"/>
                  <a:gd name="T107" fmla="*/ 330 h 1660"/>
                  <a:gd name="T108" fmla="*/ 2028 w 7025"/>
                  <a:gd name="T109" fmla="*/ 301 h 1660"/>
                  <a:gd name="T110" fmla="*/ 4639 w 7025"/>
                  <a:gd name="T111" fmla="*/ 460 h 1660"/>
                  <a:gd name="T112" fmla="*/ 4800 w 7025"/>
                  <a:gd name="T113" fmla="*/ 173 h 1660"/>
                  <a:gd name="T114" fmla="*/ 4852 w 7025"/>
                  <a:gd name="T115" fmla="*/ 0 h 1660"/>
                  <a:gd name="T116" fmla="*/ 4852 w 7025"/>
                  <a:gd name="T117" fmla="*/ 0 h 1660"/>
                  <a:gd name="T118" fmla="*/ 4908 w 7025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0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7"/>
                    </a:lnTo>
                    <a:lnTo>
                      <a:pt x="0" y="1501"/>
                    </a:lnTo>
                    <a:lnTo>
                      <a:pt x="0" y="1501"/>
                    </a:lnTo>
                    <a:lnTo>
                      <a:pt x="0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16"/>
                    </a:lnTo>
                    <a:lnTo>
                      <a:pt x="5665" y="1416"/>
                    </a:lnTo>
                    <a:lnTo>
                      <a:pt x="5665" y="1326"/>
                    </a:lnTo>
                    <a:moveTo>
                      <a:pt x="3710" y="1224"/>
                    </a:move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224"/>
                    </a:lnTo>
                    <a:lnTo>
                      <a:pt x="3707" y="1359"/>
                    </a:lnTo>
                    <a:lnTo>
                      <a:pt x="3710" y="1359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293"/>
                    </a:lnTo>
                    <a:lnTo>
                      <a:pt x="5831" y="1293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1"/>
                    </a:lnTo>
                    <a:lnTo>
                      <a:pt x="1662" y="1168"/>
                    </a:lnTo>
                    <a:lnTo>
                      <a:pt x="1664" y="1168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5"/>
                    </a:lnTo>
                    <a:lnTo>
                      <a:pt x="1686" y="1137"/>
                    </a:lnTo>
                    <a:lnTo>
                      <a:pt x="1688" y="1137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2"/>
                    </a:lnTo>
                    <a:lnTo>
                      <a:pt x="5854" y="1187"/>
                    </a:lnTo>
                    <a:lnTo>
                      <a:pt x="5854" y="1187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2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2"/>
                    </a:lnTo>
                    <a:lnTo>
                      <a:pt x="6320" y="1177"/>
                    </a:lnTo>
                    <a:lnTo>
                      <a:pt x="6322" y="1177"/>
                    </a:lnTo>
                    <a:lnTo>
                      <a:pt x="6322" y="1130"/>
                    </a:lnTo>
                    <a:moveTo>
                      <a:pt x="1447" y="1127"/>
                    </a:moveTo>
                    <a:lnTo>
                      <a:pt x="1444" y="1127"/>
                    </a:lnTo>
                    <a:lnTo>
                      <a:pt x="1444" y="1127"/>
                    </a:lnTo>
                    <a:lnTo>
                      <a:pt x="1444" y="1130"/>
                    </a:lnTo>
                    <a:lnTo>
                      <a:pt x="1444" y="1168"/>
                    </a:lnTo>
                    <a:lnTo>
                      <a:pt x="1447" y="1168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8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6"/>
                    </a:lnTo>
                    <a:lnTo>
                      <a:pt x="2858" y="1208"/>
                    </a:lnTo>
                    <a:lnTo>
                      <a:pt x="2858" y="1208"/>
                    </a:lnTo>
                    <a:lnTo>
                      <a:pt x="2858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5"/>
                    </a:lnTo>
                    <a:lnTo>
                      <a:pt x="5928" y="1097"/>
                    </a:lnTo>
                    <a:lnTo>
                      <a:pt x="5930" y="1097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6"/>
                    </a:lnTo>
                    <a:lnTo>
                      <a:pt x="2875" y="1047"/>
                    </a:lnTo>
                    <a:lnTo>
                      <a:pt x="2875" y="1047"/>
                    </a:lnTo>
                    <a:lnTo>
                      <a:pt x="2875" y="1045"/>
                    </a:lnTo>
                    <a:lnTo>
                      <a:pt x="2877" y="1045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1"/>
                    </a:lnTo>
                    <a:lnTo>
                      <a:pt x="3769" y="1191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6" y="990"/>
                    </a:lnTo>
                    <a:lnTo>
                      <a:pt x="5946" y="992"/>
                    </a:lnTo>
                    <a:lnTo>
                      <a:pt x="5946" y="1026"/>
                    </a:lnTo>
                    <a:lnTo>
                      <a:pt x="5946" y="1026"/>
                    </a:lnTo>
                    <a:lnTo>
                      <a:pt x="5946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8"/>
                    </a:moveTo>
                    <a:lnTo>
                      <a:pt x="6339" y="938"/>
                    </a:lnTo>
                    <a:lnTo>
                      <a:pt x="6337" y="938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8"/>
                    </a:lnTo>
                    <a:moveTo>
                      <a:pt x="3844" y="929"/>
                    </a:moveTo>
                    <a:lnTo>
                      <a:pt x="3842" y="929"/>
                    </a:lnTo>
                    <a:lnTo>
                      <a:pt x="3842" y="931"/>
                    </a:lnTo>
                    <a:lnTo>
                      <a:pt x="3842" y="962"/>
                    </a:lnTo>
                    <a:lnTo>
                      <a:pt x="3844" y="962"/>
                    </a:lnTo>
                    <a:lnTo>
                      <a:pt x="3844" y="929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82" y="902"/>
                    </a:lnTo>
                    <a:lnTo>
                      <a:pt x="6382" y="902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6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6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1" y="829"/>
                    </a:lnTo>
                    <a:lnTo>
                      <a:pt x="801" y="831"/>
                    </a:lnTo>
                    <a:lnTo>
                      <a:pt x="801" y="1037"/>
                    </a:lnTo>
                    <a:lnTo>
                      <a:pt x="804" y="1037"/>
                    </a:lnTo>
                    <a:lnTo>
                      <a:pt x="804" y="829"/>
                    </a:lnTo>
                    <a:moveTo>
                      <a:pt x="3100" y="765"/>
                    </a:moveTo>
                    <a:lnTo>
                      <a:pt x="3100" y="765"/>
                    </a:lnTo>
                    <a:lnTo>
                      <a:pt x="3097" y="765"/>
                    </a:lnTo>
                    <a:lnTo>
                      <a:pt x="3097" y="765"/>
                    </a:lnTo>
                    <a:lnTo>
                      <a:pt x="3097" y="947"/>
                    </a:lnTo>
                    <a:lnTo>
                      <a:pt x="3100" y="947"/>
                    </a:lnTo>
                    <a:lnTo>
                      <a:pt x="3100" y="765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796"/>
                    </a:lnTo>
                    <a:lnTo>
                      <a:pt x="1007" y="796"/>
                    </a:lnTo>
                    <a:lnTo>
                      <a:pt x="1007" y="753"/>
                    </a:lnTo>
                    <a:moveTo>
                      <a:pt x="5131" y="734"/>
                    </a:moveTo>
                    <a:lnTo>
                      <a:pt x="5128" y="734"/>
                    </a:lnTo>
                    <a:lnTo>
                      <a:pt x="5128" y="734"/>
                    </a:lnTo>
                    <a:lnTo>
                      <a:pt x="5128" y="940"/>
                    </a:lnTo>
                    <a:lnTo>
                      <a:pt x="5131" y="940"/>
                    </a:lnTo>
                    <a:lnTo>
                      <a:pt x="5131" y="734"/>
                    </a:lnTo>
                    <a:moveTo>
                      <a:pt x="3137" y="659"/>
                    </a:moveTo>
                    <a:lnTo>
                      <a:pt x="3135" y="659"/>
                    </a:lnTo>
                    <a:lnTo>
                      <a:pt x="3135" y="661"/>
                    </a:lnTo>
                    <a:lnTo>
                      <a:pt x="3135" y="730"/>
                    </a:lnTo>
                    <a:lnTo>
                      <a:pt x="3137" y="730"/>
                    </a:lnTo>
                    <a:lnTo>
                      <a:pt x="3137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21"/>
                    </a:lnTo>
                    <a:lnTo>
                      <a:pt x="94" y="1421"/>
                    </a:lnTo>
                    <a:lnTo>
                      <a:pt x="97" y="1421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4"/>
                    </a:lnTo>
                    <a:lnTo>
                      <a:pt x="5251" y="699"/>
                    </a:lnTo>
                    <a:lnTo>
                      <a:pt x="5251" y="699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79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25"/>
                    </a:lnTo>
                    <a:lnTo>
                      <a:pt x="3282" y="625"/>
                    </a:lnTo>
                    <a:lnTo>
                      <a:pt x="3282" y="583"/>
                    </a:lnTo>
                    <a:moveTo>
                      <a:pt x="300" y="550"/>
                    </a:move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0" y="585"/>
                    </a:lnTo>
                    <a:lnTo>
                      <a:pt x="300" y="550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0"/>
                    </a:lnTo>
                    <a:lnTo>
                      <a:pt x="7025" y="1660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0" y="507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1" y="644"/>
                    </a:lnTo>
                    <a:lnTo>
                      <a:pt x="3951" y="895"/>
                    </a:lnTo>
                    <a:lnTo>
                      <a:pt x="3953" y="895"/>
                    </a:lnTo>
                    <a:lnTo>
                      <a:pt x="3953" y="642"/>
                    </a:lnTo>
                    <a:lnTo>
                      <a:pt x="4036" y="491"/>
                    </a:lnTo>
                    <a:lnTo>
                      <a:pt x="4036" y="455"/>
                    </a:lnTo>
                    <a:moveTo>
                      <a:pt x="3327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74"/>
                    </a:lnTo>
                    <a:lnTo>
                      <a:pt x="3327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8" y="391"/>
                    </a:lnTo>
                    <a:lnTo>
                      <a:pt x="4038" y="393"/>
                    </a:lnTo>
                    <a:lnTo>
                      <a:pt x="4038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099"/>
                    </a:lnTo>
                    <a:lnTo>
                      <a:pt x="1809" y="1099"/>
                    </a:lnTo>
                    <a:lnTo>
                      <a:pt x="1809" y="370"/>
                    </a:lnTo>
                    <a:moveTo>
                      <a:pt x="1936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37"/>
                    </a:lnTo>
                    <a:lnTo>
                      <a:pt x="1936" y="334"/>
                    </a:lnTo>
                    <a:moveTo>
                      <a:pt x="4050" y="330"/>
                    </a:moveTo>
                    <a:lnTo>
                      <a:pt x="4048" y="330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30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0"/>
                    </a:lnTo>
                    <a:lnTo>
                      <a:pt x="4641" y="457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0" y="173"/>
                    </a:lnTo>
                    <a:lnTo>
                      <a:pt x="4800" y="176"/>
                    </a:lnTo>
                    <a:lnTo>
                      <a:pt x="4800" y="199"/>
                    </a:lnTo>
                    <a:lnTo>
                      <a:pt x="4802" y="199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0"/>
                    </a:lnTo>
                    <a:lnTo>
                      <a:pt x="4852" y="140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40"/>
                    </a:lnTo>
                    <a:lnTo>
                      <a:pt x="4908" y="140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7" name="Freeform 110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close/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close/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FCF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8" name="Freeform 111"/>
              <p:cNvSpPr>
                <a:spLocks noEditPoints="1"/>
              </p:cNvSpPr>
              <p:nvPr/>
            </p:nvSpPr>
            <p:spPr bwMode="auto">
              <a:xfrm>
                <a:off x="14" y="1693"/>
                <a:ext cx="7027" cy="1660"/>
              </a:xfrm>
              <a:custGeom>
                <a:avLst/>
                <a:gdLst>
                  <a:gd name="T0" fmla="*/ 2 w 7027"/>
                  <a:gd name="T1" fmla="*/ 1501 h 1660"/>
                  <a:gd name="T2" fmla="*/ 5665 w 7027"/>
                  <a:gd name="T3" fmla="*/ 1416 h 1660"/>
                  <a:gd name="T4" fmla="*/ 3710 w 7027"/>
                  <a:gd name="T5" fmla="*/ 1222 h 1660"/>
                  <a:gd name="T6" fmla="*/ 5833 w 7027"/>
                  <a:gd name="T7" fmla="*/ 1208 h 1660"/>
                  <a:gd name="T8" fmla="*/ 5833 w 7027"/>
                  <a:gd name="T9" fmla="*/ 1293 h 1660"/>
                  <a:gd name="T10" fmla="*/ 1664 w 7027"/>
                  <a:gd name="T11" fmla="*/ 1158 h 1660"/>
                  <a:gd name="T12" fmla="*/ 1688 w 7027"/>
                  <a:gd name="T13" fmla="*/ 1132 h 1660"/>
                  <a:gd name="T14" fmla="*/ 1690 w 7027"/>
                  <a:gd name="T15" fmla="*/ 1132 h 1660"/>
                  <a:gd name="T16" fmla="*/ 5854 w 7027"/>
                  <a:gd name="T17" fmla="*/ 1184 h 1660"/>
                  <a:gd name="T18" fmla="*/ 6322 w 7027"/>
                  <a:gd name="T19" fmla="*/ 1127 h 1660"/>
                  <a:gd name="T20" fmla="*/ 6322 w 7027"/>
                  <a:gd name="T21" fmla="*/ 1177 h 1660"/>
                  <a:gd name="T22" fmla="*/ 1447 w 7027"/>
                  <a:gd name="T23" fmla="*/ 1127 h 1660"/>
                  <a:gd name="T24" fmla="*/ 1463 w 7027"/>
                  <a:gd name="T25" fmla="*/ 1082 h 1660"/>
                  <a:gd name="T26" fmla="*/ 1466 w 7027"/>
                  <a:gd name="T27" fmla="*/ 1106 h 1660"/>
                  <a:gd name="T28" fmla="*/ 2858 w 7027"/>
                  <a:gd name="T29" fmla="*/ 1063 h 1660"/>
                  <a:gd name="T30" fmla="*/ 5932 w 7027"/>
                  <a:gd name="T31" fmla="*/ 1040 h 1660"/>
                  <a:gd name="T32" fmla="*/ 5932 w 7027"/>
                  <a:gd name="T33" fmla="*/ 1040 h 1660"/>
                  <a:gd name="T34" fmla="*/ 2877 w 7027"/>
                  <a:gd name="T35" fmla="*/ 1045 h 1660"/>
                  <a:gd name="T36" fmla="*/ 3769 w 7027"/>
                  <a:gd name="T37" fmla="*/ 992 h 1660"/>
                  <a:gd name="T38" fmla="*/ 5949 w 7027"/>
                  <a:gd name="T39" fmla="*/ 990 h 1660"/>
                  <a:gd name="T40" fmla="*/ 5949 w 7027"/>
                  <a:gd name="T41" fmla="*/ 1023 h 1660"/>
                  <a:gd name="T42" fmla="*/ 6339 w 7027"/>
                  <a:gd name="T43" fmla="*/ 936 h 1660"/>
                  <a:gd name="T44" fmla="*/ 6341 w 7027"/>
                  <a:gd name="T45" fmla="*/ 1108 h 1660"/>
                  <a:gd name="T46" fmla="*/ 3844 w 7027"/>
                  <a:gd name="T47" fmla="*/ 962 h 1660"/>
                  <a:gd name="T48" fmla="*/ 6384 w 7027"/>
                  <a:gd name="T49" fmla="*/ 895 h 1660"/>
                  <a:gd name="T50" fmla="*/ 6391 w 7027"/>
                  <a:gd name="T51" fmla="*/ 879 h 1660"/>
                  <a:gd name="T52" fmla="*/ 6389 w 7027"/>
                  <a:gd name="T53" fmla="*/ 891 h 1660"/>
                  <a:gd name="T54" fmla="*/ 6396 w 7027"/>
                  <a:gd name="T55" fmla="*/ 850 h 1660"/>
                  <a:gd name="T56" fmla="*/ 6398 w 7027"/>
                  <a:gd name="T57" fmla="*/ 869 h 1660"/>
                  <a:gd name="T58" fmla="*/ 804 w 7027"/>
                  <a:gd name="T59" fmla="*/ 1037 h 1660"/>
                  <a:gd name="T60" fmla="*/ 3100 w 7027"/>
                  <a:gd name="T61" fmla="*/ 763 h 1660"/>
                  <a:gd name="T62" fmla="*/ 1009 w 7027"/>
                  <a:gd name="T63" fmla="*/ 753 h 1660"/>
                  <a:gd name="T64" fmla="*/ 1009 w 7027"/>
                  <a:gd name="T65" fmla="*/ 753 h 1660"/>
                  <a:gd name="T66" fmla="*/ 5133 w 7027"/>
                  <a:gd name="T67" fmla="*/ 940 h 1660"/>
                  <a:gd name="T68" fmla="*/ 3137 w 7027"/>
                  <a:gd name="T69" fmla="*/ 730 h 1660"/>
                  <a:gd name="T70" fmla="*/ 97 w 7027"/>
                  <a:gd name="T71" fmla="*/ 618 h 1660"/>
                  <a:gd name="T72" fmla="*/ 5251 w 7027"/>
                  <a:gd name="T73" fmla="*/ 609 h 1660"/>
                  <a:gd name="T74" fmla="*/ 3284 w 7027"/>
                  <a:gd name="T75" fmla="*/ 580 h 1660"/>
                  <a:gd name="T76" fmla="*/ 3284 w 7027"/>
                  <a:gd name="T77" fmla="*/ 625 h 1660"/>
                  <a:gd name="T78" fmla="*/ 300 w 7027"/>
                  <a:gd name="T79" fmla="*/ 585 h 1660"/>
                  <a:gd name="T80" fmla="*/ 7025 w 7027"/>
                  <a:gd name="T81" fmla="*/ 509 h 1660"/>
                  <a:gd name="T82" fmla="*/ 4194 w 7027"/>
                  <a:gd name="T83" fmla="*/ 502 h 1660"/>
                  <a:gd name="T84" fmla="*/ 3301 w 7027"/>
                  <a:gd name="T85" fmla="*/ 500 h 1660"/>
                  <a:gd name="T86" fmla="*/ 3301 w 7027"/>
                  <a:gd name="T87" fmla="*/ 564 h 1660"/>
                  <a:gd name="T88" fmla="*/ 4036 w 7027"/>
                  <a:gd name="T89" fmla="*/ 453 h 1660"/>
                  <a:gd name="T90" fmla="*/ 3953 w 7027"/>
                  <a:gd name="T91" fmla="*/ 895 h 1660"/>
                  <a:gd name="T92" fmla="*/ 3329 w 7027"/>
                  <a:gd name="T93" fmla="*/ 434 h 1660"/>
                  <a:gd name="T94" fmla="*/ 3329 w 7027"/>
                  <a:gd name="T95" fmla="*/ 472 h 1660"/>
                  <a:gd name="T96" fmla="*/ 4041 w 7027"/>
                  <a:gd name="T97" fmla="*/ 391 h 1660"/>
                  <a:gd name="T98" fmla="*/ 4043 w 7027"/>
                  <a:gd name="T99" fmla="*/ 446 h 1660"/>
                  <a:gd name="T100" fmla="*/ 1809 w 7027"/>
                  <a:gd name="T101" fmla="*/ 1099 h 1660"/>
                  <a:gd name="T102" fmla="*/ 1936 w 7027"/>
                  <a:gd name="T103" fmla="*/ 334 h 1660"/>
                  <a:gd name="T104" fmla="*/ 4050 w 7027"/>
                  <a:gd name="T105" fmla="*/ 327 h 1660"/>
                  <a:gd name="T106" fmla="*/ 4050 w 7027"/>
                  <a:gd name="T107" fmla="*/ 382 h 1660"/>
                  <a:gd name="T108" fmla="*/ 2028 w 7027"/>
                  <a:gd name="T109" fmla="*/ 301 h 1660"/>
                  <a:gd name="T110" fmla="*/ 4703 w 7027"/>
                  <a:gd name="T111" fmla="*/ 232 h 1660"/>
                  <a:gd name="T112" fmla="*/ 4804 w 7027"/>
                  <a:gd name="T113" fmla="*/ 171 h 1660"/>
                  <a:gd name="T114" fmla="*/ 4804 w 7027"/>
                  <a:gd name="T115" fmla="*/ 171 h 1660"/>
                  <a:gd name="T116" fmla="*/ 4854 w 7027"/>
                  <a:gd name="T117" fmla="*/ 140 h 1660"/>
                  <a:gd name="T118" fmla="*/ 4908 w 7027"/>
                  <a:gd name="T119" fmla="*/ 140 h 16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0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1"/>
                    </a:lnTo>
                    <a:lnTo>
                      <a:pt x="2" y="1501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6"/>
                    </a:lnTo>
                    <a:lnTo>
                      <a:pt x="5665" y="1416"/>
                    </a:lnTo>
                    <a:lnTo>
                      <a:pt x="5667" y="1416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59"/>
                    </a:lnTo>
                    <a:lnTo>
                      <a:pt x="3712" y="1359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3"/>
                    </a:lnTo>
                    <a:lnTo>
                      <a:pt x="5833" y="1293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68"/>
                    </a:lnTo>
                    <a:lnTo>
                      <a:pt x="1667" y="1168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35"/>
                    </a:lnTo>
                    <a:lnTo>
                      <a:pt x="1688" y="1132"/>
                    </a:lnTo>
                    <a:lnTo>
                      <a:pt x="1690" y="1132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84"/>
                    </a:lnTo>
                    <a:lnTo>
                      <a:pt x="5857" y="1184"/>
                    </a:lnTo>
                    <a:lnTo>
                      <a:pt x="5857" y="1182"/>
                    </a:lnTo>
                    <a:lnTo>
                      <a:pt x="5857" y="1182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177"/>
                    </a:lnTo>
                    <a:lnTo>
                      <a:pt x="6322" y="117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68"/>
                    </a:lnTo>
                    <a:lnTo>
                      <a:pt x="1447" y="1168"/>
                    </a:lnTo>
                    <a:lnTo>
                      <a:pt x="1447" y="1125"/>
                    </a:lnTo>
                    <a:moveTo>
                      <a:pt x="1466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106"/>
                    </a:lnTo>
                    <a:lnTo>
                      <a:pt x="1466" y="1106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08"/>
                    </a:lnTo>
                    <a:lnTo>
                      <a:pt x="2861" y="1208"/>
                    </a:lnTo>
                    <a:lnTo>
                      <a:pt x="2861" y="1061"/>
                    </a:lnTo>
                    <a:moveTo>
                      <a:pt x="5932" y="1040"/>
                    </a:moveTo>
                    <a:lnTo>
                      <a:pt x="5932" y="1040"/>
                    </a:lnTo>
                    <a:lnTo>
                      <a:pt x="5930" y="1040"/>
                    </a:lnTo>
                    <a:lnTo>
                      <a:pt x="5930" y="1042"/>
                    </a:lnTo>
                    <a:lnTo>
                      <a:pt x="5930" y="1097"/>
                    </a:lnTo>
                    <a:lnTo>
                      <a:pt x="5932" y="1097"/>
                    </a:lnTo>
                    <a:lnTo>
                      <a:pt x="5932" y="1040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45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191"/>
                    </a:lnTo>
                    <a:lnTo>
                      <a:pt x="3771" y="1191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1"/>
                    </a:lnTo>
                    <a:lnTo>
                      <a:pt x="6341" y="1111"/>
                    </a:lnTo>
                    <a:lnTo>
                      <a:pt x="6341" y="1108"/>
                    </a:lnTo>
                    <a:lnTo>
                      <a:pt x="6341" y="1108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29"/>
                    </a:lnTo>
                    <a:lnTo>
                      <a:pt x="3844" y="962"/>
                    </a:lnTo>
                    <a:lnTo>
                      <a:pt x="3847" y="962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902"/>
                    </a:lnTo>
                    <a:lnTo>
                      <a:pt x="6384" y="902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37"/>
                    </a:lnTo>
                    <a:lnTo>
                      <a:pt x="806" y="1037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47"/>
                    </a:lnTo>
                    <a:lnTo>
                      <a:pt x="3102" y="947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796"/>
                    </a:lnTo>
                    <a:lnTo>
                      <a:pt x="1009" y="796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0"/>
                    </a:lnTo>
                    <a:lnTo>
                      <a:pt x="5133" y="940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30"/>
                    </a:lnTo>
                    <a:lnTo>
                      <a:pt x="3140" y="730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21"/>
                    </a:lnTo>
                    <a:lnTo>
                      <a:pt x="97" y="1421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699"/>
                    </a:lnTo>
                    <a:lnTo>
                      <a:pt x="5254" y="699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25"/>
                    </a:lnTo>
                    <a:lnTo>
                      <a:pt x="3284" y="625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85"/>
                    </a:lnTo>
                    <a:lnTo>
                      <a:pt x="302" y="585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0"/>
                    </a:lnTo>
                    <a:lnTo>
                      <a:pt x="7027" y="1660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49" y="564"/>
                    </a:lnTo>
                    <a:lnTo>
                      <a:pt x="4149" y="564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8" y="453"/>
                    </a:moveTo>
                    <a:lnTo>
                      <a:pt x="4036" y="453"/>
                    </a:lnTo>
                    <a:lnTo>
                      <a:pt x="4036" y="453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2"/>
                    </a:lnTo>
                    <a:lnTo>
                      <a:pt x="3953" y="895"/>
                    </a:lnTo>
                    <a:lnTo>
                      <a:pt x="3956" y="895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3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2"/>
                    </a:lnTo>
                    <a:lnTo>
                      <a:pt x="3329" y="472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6"/>
                    </a:lnTo>
                    <a:lnTo>
                      <a:pt x="4043" y="446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099"/>
                    </a:lnTo>
                    <a:lnTo>
                      <a:pt x="1811" y="1099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37"/>
                    </a:lnTo>
                    <a:lnTo>
                      <a:pt x="1939" y="337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30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01"/>
                    </a:lnTo>
                    <a:lnTo>
                      <a:pt x="2028" y="301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41" y="457"/>
                    </a:lnTo>
                    <a:lnTo>
                      <a:pt x="4644" y="457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199"/>
                    </a:lnTo>
                    <a:lnTo>
                      <a:pt x="4804" y="199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40"/>
                    </a:lnTo>
                    <a:lnTo>
                      <a:pt x="4854" y="140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40"/>
                    </a:lnTo>
                    <a:lnTo>
                      <a:pt x="4911" y="140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29" name="Freeform 112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E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0" name="Freeform 113"/>
              <p:cNvSpPr>
                <a:spLocks noEditPoints="1"/>
              </p:cNvSpPr>
              <p:nvPr/>
            </p:nvSpPr>
            <p:spPr bwMode="auto">
              <a:xfrm>
                <a:off x="16" y="1691"/>
                <a:ext cx="7027" cy="1662"/>
              </a:xfrm>
              <a:custGeom>
                <a:avLst/>
                <a:gdLst>
                  <a:gd name="T0" fmla="*/ 2 w 7027"/>
                  <a:gd name="T1" fmla="*/ 1503 h 1662"/>
                  <a:gd name="T2" fmla="*/ 5665 w 7027"/>
                  <a:gd name="T3" fmla="*/ 1418 h 1662"/>
                  <a:gd name="T4" fmla="*/ 3710 w 7027"/>
                  <a:gd name="T5" fmla="*/ 1222 h 1662"/>
                  <a:gd name="T6" fmla="*/ 5831 w 7027"/>
                  <a:gd name="T7" fmla="*/ 1208 h 1662"/>
                  <a:gd name="T8" fmla="*/ 5831 w 7027"/>
                  <a:gd name="T9" fmla="*/ 1295 h 1662"/>
                  <a:gd name="T10" fmla="*/ 1665 w 7027"/>
                  <a:gd name="T11" fmla="*/ 1158 h 1662"/>
                  <a:gd name="T12" fmla="*/ 1688 w 7027"/>
                  <a:gd name="T13" fmla="*/ 1132 h 1662"/>
                  <a:gd name="T14" fmla="*/ 1688 w 7027"/>
                  <a:gd name="T15" fmla="*/ 1132 h 1662"/>
                  <a:gd name="T16" fmla="*/ 5855 w 7027"/>
                  <a:gd name="T17" fmla="*/ 1184 h 1662"/>
                  <a:gd name="T18" fmla="*/ 6323 w 7027"/>
                  <a:gd name="T19" fmla="*/ 1127 h 1662"/>
                  <a:gd name="T20" fmla="*/ 6323 w 7027"/>
                  <a:gd name="T21" fmla="*/ 1179 h 1662"/>
                  <a:gd name="T22" fmla="*/ 1445 w 7027"/>
                  <a:gd name="T23" fmla="*/ 1127 h 1662"/>
                  <a:gd name="T24" fmla="*/ 1464 w 7027"/>
                  <a:gd name="T25" fmla="*/ 1084 h 1662"/>
                  <a:gd name="T26" fmla="*/ 1464 w 7027"/>
                  <a:gd name="T27" fmla="*/ 1106 h 1662"/>
                  <a:gd name="T28" fmla="*/ 2859 w 7027"/>
                  <a:gd name="T29" fmla="*/ 1063 h 1662"/>
                  <a:gd name="T30" fmla="*/ 5930 w 7027"/>
                  <a:gd name="T31" fmla="*/ 1042 h 1662"/>
                  <a:gd name="T32" fmla="*/ 5933 w 7027"/>
                  <a:gd name="T33" fmla="*/ 1042 h 1662"/>
                  <a:gd name="T34" fmla="*/ 2878 w 7027"/>
                  <a:gd name="T35" fmla="*/ 1047 h 1662"/>
                  <a:gd name="T36" fmla="*/ 3769 w 7027"/>
                  <a:gd name="T37" fmla="*/ 992 h 1662"/>
                  <a:gd name="T38" fmla="*/ 5949 w 7027"/>
                  <a:gd name="T39" fmla="*/ 990 h 1662"/>
                  <a:gd name="T40" fmla="*/ 5949 w 7027"/>
                  <a:gd name="T41" fmla="*/ 1023 h 1662"/>
                  <a:gd name="T42" fmla="*/ 6339 w 7027"/>
                  <a:gd name="T43" fmla="*/ 935 h 1662"/>
                  <a:gd name="T44" fmla="*/ 6342 w 7027"/>
                  <a:gd name="T45" fmla="*/ 1108 h 1662"/>
                  <a:gd name="T46" fmla="*/ 3845 w 7027"/>
                  <a:gd name="T47" fmla="*/ 964 h 1662"/>
                  <a:gd name="T48" fmla="*/ 6384 w 7027"/>
                  <a:gd name="T49" fmla="*/ 895 h 1662"/>
                  <a:gd name="T50" fmla="*/ 6391 w 7027"/>
                  <a:gd name="T51" fmla="*/ 878 h 1662"/>
                  <a:gd name="T52" fmla="*/ 6389 w 7027"/>
                  <a:gd name="T53" fmla="*/ 890 h 1662"/>
                  <a:gd name="T54" fmla="*/ 6396 w 7027"/>
                  <a:gd name="T55" fmla="*/ 850 h 1662"/>
                  <a:gd name="T56" fmla="*/ 6398 w 7027"/>
                  <a:gd name="T57" fmla="*/ 869 h 1662"/>
                  <a:gd name="T58" fmla="*/ 804 w 7027"/>
                  <a:gd name="T59" fmla="*/ 1039 h 1662"/>
                  <a:gd name="T60" fmla="*/ 3100 w 7027"/>
                  <a:gd name="T61" fmla="*/ 762 h 1662"/>
                  <a:gd name="T62" fmla="*/ 1010 w 7027"/>
                  <a:gd name="T63" fmla="*/ 753 h 1662"/>
                  <a:gd name="T64" fmla="*/ 1010 w 7027"/>
                  <a:gd name="T65" fmla="*/ 753 h 1662"/>
                  <a:gd name="T66" fmla="*/ 5133 w 7027"/>
                  <a:gd name="T67" fmla="*/ 942 h 1662"/>
                  <a:gd name="T68" fmla="*/ 3138 w 7027"/>
                  <a:gd name="T69" fmla="*/ 732 h 1662"/>
                  <a:gd name="T70" fmla="*/ 95 w 7027"/>
                  <a:gd name="T71" fmla="*/ 618 h 1662"/>
                  <a:gd name="T72" fmla="*/ 5252 w 7027"/>
                  <a:gd name="T73" fmla="*/ 609 h 1662"/>
                  <a:gd name="T74" fmla="*/ 3284 w 7027"/>
                  <a:gd name="T75" fmla="*/ 582 h 1662"/>
                  <a:gd name="T76" fmla="*/ 3284 w 7027"/>
                  <a:gd name="T77" fmla="*/ 627 h 1662"/>
                  <a:gd name="T78" fmla="*/ 300 w 7027"/>
                  <a:gd name="T79" fmla="*/ 587 h 1662"/>
                  <a:gd name="T80" fmla="*/ 7025 w 7027"/>
                  <a:gd name="T81" fmla="*/ 511 h 1662"/>
                  <a:gd name="T82" fmla="*/ 4195 w 7027"/>
                  <a:gd name="T83" fmla="*/ 502 h 1662"/>
                  <a:gd name="T84" fmla="*/ 3301 w 7027"/>
                  <a:gd name="T85" fmla="*/ 500 h 1662"/>
                  <a:gd name="T86" fmla="*/ 3301 w 7027"/>
                  <a:gd name="T87" fmla="*/ 566 h 1662"/>
                  <a:gd name="T88" fmla="*/ 4036 w 7027"/>
                  <a:gd name="T89" fmla="*/ 455 h 1662"/>
                  <a:gd name="T90" fmla="*/ 3954 w 7027"/>
                  <a:gd name="T91" fmla="*/ 897 h 1662"/>
                  <a:gd name="T92" fmla="*/ 3329 w 7027"/>
                  <a:gd name="T93" fmla="*/ 433 h 1662"/>
                  <a:gd name="T94" fmla="*/ 3329 w 7027"/>
                  <a:gd name="T95" fmla="*/ 471 h 1662"/>
                  <a:gd name="T96" fmla="*/ 4041 w 7027"/>
                  <a:gd name="T97" fmla="*/ 391 h 1662"/>
                  <a:gd name="T98" fmla="*/ 4043 w 7027"/>
                  <a:gd name="T99" fmla="*/ 448 h 1662"/>
                  <a:gd name="T100" fmla="*/ 1809 w 7027"/>
                  <a:gd name="T101" fmla="*/ 1101 h 1662"/>
                  <a:gd name="T102" fmla="*/ 1937 w 7027"/>
                  <a:gd name="T103" fmla="*/ 336 h 1662"/>
                  <a:gd name="T104" fmla="*/ 4048 w 7027"/>
                  <a:gd name="T105" fmla="*/ 327 h 1662"/>
                  <a:gd name="T106" fmla="*/ 4051 w 7027"/>
                  <a:gd name="T107" fmla="*/ 381 h 1662"/>
                  <a:gd name="T108" fmla="*/ 2026 w 7027"/>
                  <a:gd name="T109" fmla="*/ 303 h 1662"/>
                  <a:gd name="T110" fmla="*/ 4703 w 7027"/>
                  <a:gd name="T111" fmla="*/ 234 h 1662"/>
                  <a:gd name="T112" fmla="*/ 4802 w 7027"/>
                  <a:gd name="T113" fmla="*/ 173 h 1662"/>
                  <a:gd name="T114" fmla="*/ 4805 w 7027"/>
                  <a:gd name="T115" fmla="*/ 173 h 1662"/>
                  <a:gd name="T116" fmla="*/ 4854 w 7027"/>
                  <a:gd name="T117" fmla="*/ 142 h 1662"/>
                  <a:gd name="T118" fmla="*/ 4909 w 7027"/>
                  <a:gd name="T119" fmla="*/ 142 h 16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7" h="1662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03"/>
                    </a:lnTo>
                    <a:lnTo>
                      <a:pt x="2" y="1503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18"/>
                    </a:lnTo>
                    <a:lnTo>
                      <a:pt x="5665" y="1418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1"/>
                    </a:lnTo>
                    <a:lnTo>
                      <a:pt x="3712" y="1361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295"/>
                    </a:lnTo>
                    <a:lnTo>
                      <a:pt x="5831" y="1295"/>
                    </a:lnTo>
                    <a:lnTo>
                      <a:pt x="5831" y="1208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0"/>
                    </a:lnTo>
                    <a:lnTo>
                      <a:pt x="1667" y="1170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4"/>
                    </a:lnTo>
                    <a:lnTo>
                      <a:pt x="5857" y="1184"/>
                    </a:lnTo>
                    <a:lnTo>
                      <a:pt x="5857" y="1181"/>
                    </a:lnTo>
                    <a:lnTo>
                      <a:pt x="5857" y="1181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179"/>
                    </a:lnTo>
                    <a:lnTo>
                      <a:pt x="6323" y="117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0"/>
                    </a:lnTo>
                    <a:lnTo>
                      <a:pt x="1447" y="1170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4" y="1084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0"/>
                    </a:lnTo>
                    <a:lnTo>
                      <a:pt x="2861" y="1210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99"/>
                    </a:lnTo>
                    <a:lnTo>
                      <a:pt x="5933" y="1099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193"/>
                    </a:lnTo>
                    <a:lnTo>
                      <a:pt x="3771" y="1193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64"/>
                    </a:lnTo>
                    <a:lnTo>
                      <a:pt x="3847" y="964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82" y="904"/>
                    </a:lnTo>
                    <a:lnTo>
                      <a:pt x="6382" y="904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39"/>
                    </a:lnTo>
                    <a:lnTo>
                      <a:pt x="806" y="1039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49"/>
                    </a:lnTo>
                    <a:lnTo>
                      <a:pt x="3100" y="949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798"/>
                    </a:lnTo>
                    <a:lnTo>
                      <a:pt x="1010" y="798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2"/>
                    </a:lnTo>
                    <a:lnTo>
                      <a:pt x="5133" y="942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2"/>
                    </a:lnTo>
                    <a:lnTo>
                      <a:pt x="3140" y="732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3"/>
                    </a:lnTo>
                    <a:lnTo>
                      <a:pt x="97" y="1423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01"/>
                    </a:lnTo>
                    <a:lnTo>
                      <a:pt x="5254" y="701"/>
                    </a:lnTo>
                    <a:lnTo>
                      <a:pt x="5254" y="609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27"/>
                    </a:lnTo>
                    <a:lnTo>
                      <a:pt x="3284" y="627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87"/>
                    </a:lnTo>
                    <a:lnTo>
                      <a:pt x="303" y="587"/>
                    </a:lnTo>
                    <a:lnTo>
                      <a:pt x="303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2"/>
                    </a:lnTo>
                    <a:lnTo>
                      <a:pt x="7027" y="1662"/>
                    </a:lnTo>
                    <a:lnTo>
                      <a:pt x="7027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7" y="566"/>
                    </a:lnTo>
                    <a:lnTo>
                      <a:pt x="4147" y="566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564"/>
                    </a:lnTo>
                    <a:lnTo>
                      <a:pt x="3301" y="564"/>
                    </a:lnTo>
                    <a:lnTo>
                      <a:pt x="3301" y="500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897"/>
                    </a:lnTo>
                    <a:lnTo>
                      <a:pt x="3956" y="897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4"/>
                    </a:lnTo>
                    <a:lnTo>
                      <a:pt x="3329" y="474"/>
                    </a:lnTo>
                    <a:lnTo>
                      <a:pt x="3329" y="471"/>
                    </a:lnTo>
                    <a:lnTo>
                      <a:pt x="3329" y="471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1"/>
                    </a:lnTo>
                    <a:lnTo>
                      <a:pt x="1811" y="1101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39"/>
                    </a:lnTo>
                    <a:lnTo>
                      <a:pt x="1939" y="339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3"/>
                    </a:lnTo>
                    <a:lnTo>
                      <a:pt x="2029" y="303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42" y="459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01"/>
                    </a:lnTo>
                    <a:lnTo>
                      <a:pt x="4805" y="201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2"/>
                    </a:lnTo>
                    <a:lnTo>
                      <a:pt x="4854" y="142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2"/>
                    </a:lnTo>
                    <a:lnTo>
                      <a:pt x="4911" y="142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1" name="Freeform 114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2" name="Freeform 115"/>
              <p:cNvSpPr>
                <a:spLocks noEditPoints="1"/>
              </p:cNvSpPr>
              <p:nvPr/>
            </p:nvSpPr>
            <p:spPr bwMode="auto">
              <a:xfrm>
                <a:off x="18" y="1689"/>
                <a:ext cx="7025" cy="1664"/>
              </a:xfrm>
              <a:custGeom>
                <a:avLst/>
                <a:gdLst>
                  <a:gd name="T0" fmla="*/ 3 w 7025"/>
                  <a:gd name="T1" fmla="*/ 1505 h 1664"/>
                  <a:gd name="T2" fmla="*/ 5663 w 7025"/>
                  <a:gd name="T3" fmla="*/ 1420 h 1664"/>
                  <a:gd name="T4" fmla="*/ 3710 w 7025"/>
                  <a:gd name="T5" fmla="*/ 1221 h 1664"/>
                  <a:gd name="T6" fmla="*/ 5831 w 7025"/>
                  <a:gd name="T7" fmla="*/ 1210 h 1664"/>
                  <a:gd name="T8" fmla="*/ 5831 w 7025"/>
                  <a:gd name="T9" fmla="*/ 1297 h 1664"/>
                  <a:gd name="T10" fmla="*/ 1665 w 7025"/>
                  <a:gd name="T11" fmla="*/ 1157 h 1664"/>
                  <a:gd name="T12" fmla="*/ 1686 w 7025"/>
                  <a:gd name="T13" fmla="*/ 1131 h 1664"/>
                  <a:gd name="T14" fmla="*/ 1689 w 7025"/>
                  <a:gd name="T15" fmla="*/ 1131 h 1664"/>
                  <a:gd name="T16" fmla="*/ 5855 w 7025"/>
                  <a:gd name="T17" fmla="*/ 1183 h 1664"/>
                  <a:gd name="T18" fmla="*/ 6323 w 7025"/>
                  <a:gd name="T19" fmla="*/ 1127 h 1664"/>
                  <a:gd name="T20" fmla="*/ 6323 w 7025"/>
                  <a:gd name="T21" fmla="*/ 1181 h 1664"/>
                  <a:gd name="T22" fmla="*/ 1445 w 7025"/>
                  <a:gd name="T23" fmla="*/ 1124 h 1664"/>
                  <a:gd name="T24" fmla="*/ 1448 w 7025"/>
                  <a:gd name="T25" fmla="*/ 1124 h 1664"/>
                  <a:gd name="T26" fmla="*/ 1464 w 7025"/>
                  <a:gd name="T27" fmla="*/ 1108 h 1664"/>
                  <a:gd name="T28" fmla="*/ 2859 w 7025"/>
                  <a:gd name="T29" fmla="*/ 1063 h 1664"/>
                  <a:gd name="T30" fmla="*/ 2862 w 7025"/>
                  <a:gd name="T31" fmla="*/ 1063 h 1664"/>
                  <a:gd name="T32" fmla="*/ 5931 w 7025"/>
                  <a:gd name="T33" fmla="*/ 1101 h 1664"/>
                  <a:gd name="T34" fmla="*/ 2876 w 7025"/>
                  <a:gd name="T35" fmla="*/ 1013 h 1664"/>
                  <a:gd name="T36" fmla="*/ 2878 w 7025"/>
                  <a:gd name="T37" fmla="*/ 1011 h 1664"/>
                  <a:gd name="T38" fmla="*/ 3772 w 7025"/>
                  <a:gd name="T39" fmla="*/ 1195 h 1664"/>
                  <a:gd name="T40" fmla="*/ 5947 w 7025"/>
                  <a:gd name="T41" fmla="*/ 1025 h 1664"/>
                  <a:gd name="T42" fmla="*/ 6340 w 7025"/>
                  <a:gd name="T43" fmla="*/ 935 h 1664"/>
                  <a:gd name="T44" fmla="*/ 6340 w 7025"/>
                  <a:gd name="T45" fmla="*/ 1110 h 1664"/>
                  <a:gd name="T46" fmla="*/ 3845 w 7025"/>
                  <a:gd name="T47" fmla="*/ 928 h 1664"/>
                  <a:gd name="T48" fmla="*/ 6385 w 7025"/>
                  <a:gd name="T49" fmla="*/ 895 h 1664"/>
                  <a:gd name="T50" fmla="*/ 6382 w 7025"/>
                  <a:gd name="T51" fmla="*/ 906 h 1664"/>
                  <a:gd name="T52" fmla="*/ 6389 w 7025"/>
                  <a:gd name="T53" fmla="*/ 880 h 1664"/>
                  <a:gd name="T54" fmla="*/ 6389 w 7025"/>
                  <a:gd name="T55" fmla="*/ 878 h 1664"/>
                  <a:gd name="T56" fmla="*/ 6396 w 7025"/>
                  <a:gd name="T57" fmla="*/ 871 h 1664"/>
                  <a:gd name="T58" fmla="*/ 804 w 7025"/>
                  <a:gd name="T59" fmla="*/ 826 h 1664"/>
                  <a:gd name="T60" fmla="*/ 3100 w 7025"/>
                  <a:gd name="T61" fmla="*/ 762 h 1664"/>
                  <a:gd name="T62" fmla="*/ 3100 w 7025"/>
                  <a:gd name="T63" fmla="*/ 951 h 1664"/>
                  <a:gd name="T64" fmla="*/ 1008 w 7025"/>
                  <a:gd name="T65" fmla="*/ 800 h 1664"/>
                  <a:gd name="T66" fmla="*/ 5131 w 7025"/>
                  <a:gd name="T67" fmla="*/ 734 h 1664"/>
                  <a:gd name="T68" fmla="*/ 3138 w 7025"/>
                  <a:gd name="T69" fmla="*/ 656 h 1664"/>
                  <a:gd name="T70" fmla="*/ 97 w 7025"/>
                  <a:gd name="T71" fmla="*/ 615 h 1664"/>
                  <a:gd name="T72" fmla="*/ 97 w 7025"/>
                  <a:gd name="T73" fmla="*/ 615 h 1664"/>
                  <a:gd name="T74" fmla="*/ 5254 w 7025"/>
                  <a:gd name="T75" fmla="*/ 703 h 1664"/>
                  <a:gd name="T76" fmla="*/ 3282 w 7025"/>
                  <a:gd name="T77" fmla="*/ 584 h 1664"/>
                  <a:gd name="T78" fmla="*/ 301 w 7025"/>
                  <a:gd name="T79" fmla="*/ 547 h 1664"/>
                  <a:gd name="T80" fmla="*/ 7025 w 7025"/>
                  <a:gd name="T81" fmla="*/ 509 h 1664"/>
                  <a:gd name="T82" fmla="*/ 7025 w 7025"/>
                  <a:gd name="T83" fmla="*/ 509 h 1664"/>
                  <a:gd name="T84" fmla="*/ 4145 w 7025"/>
                  <a:gd name="T85" fmla="*/ 568 h 1664"/>
                  <a:gd name="T86" fmla="*/ 3299 w 7025"/>
                  <a:gd name="T87" fmla="*/ 502 h 1664"/>
                  <a:gd name="T88" fmla="*/ 3301 w 7025"/>
                  <a:gd name="T89" fmla="*/ 502 h 1664"/>
                  <a:gd name="T90" fmla="*/ 4034 w 7025"/>
                  <a:gd name="T91" fmla="*/ 490 h 1664"/>
                  <a:gd name="T92" fmla="*/ 4037 w 7025"/>
                  <a:gd name="T93" fmla="*/ 490 h 1664"/>
                  <a:gd name="T94" fmla="*/ 3327 w 7025"/>
                  <a:gd name="T95" fmla="*/ 473 h 1664"/>
                  <a:gd name="T96" fmla="*/ 4041 w 7025"/>
                  <a:gd name="T97" fmla="*/ 390 h 1664"/>
                  <a:gd name="T98" fmla="*/ 4044 w 7025"/>
                  <a:gd name="T99" fmla="*/ 447 h 1664"/>
                  <a:gd name="T100" fmla="*/ 1809 w 7025"/>
                  <a:gd name="T101" fmla="*/ 1103 h 1664"/>
                  <a:gd name="T102" fmla="*/ 1937 w 7025"/>
                  <a:gd name="T103" fmla="*/ 336 h 1664"/>
                  <a:gd name="T104" fmla="*/ 4049 w 7025"/>
                  <a:gd name="T105" fmla="*/ 326 h 1664"/>
                  <a:gd name="T106" fmla="*/ 4051 w 7025"/>
                  <a:gd name="T107" fmla="*/ 381 h 1664"/>
                  <a:gd name="T108" fmla="*/ 2027 w 7025"/>
                  <a:gd name="T109" fmla="*/ 305 h 1664"/>
                  <a:gd name="T110" fmla="*/ 4701 w 7025"/>
                  <a:gd name="T111" fmla="*/ 234 h 1664"/>
                  <a:gd name="T112" fmla="*/ 4803 w 7025"/>
                  <a:gd name="T113" fmla="*/ 173 h 1664"/>
                  <a:gd name="T114" fmla="*/ 4805 w 7025"/>
                  <a:gd name="T115" fmla="*/ 173 h 1664"/>
                  <a:gd name="T116" fmla="*/ 4852 w 7025"/>
                  <a:gd name="T117" fmla="*/ 144 h 1664"/>
                  <a:gd name="T118" fmla="*/ 4909 w 7025"/>
                  <a:gd name="T119" fmla="*/ 144 h 1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4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05"/>
                    </a:lnTo>
                    <a:lnTo>
                      <a:pt x="3" y="1505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20"/>
                    </a:lnTo>
                    <a:lnTo>
                      <a:pt x="5666" y="1420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63"/>
                    </a:lnTo>
                    <a:lnTo>
                      <a:pt x="3710" y="1363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97"/>
                    </a:lnTo>
                    <a:lnTo>
                      <a:pt x="5831" y="1297"/>
                    </a:lnTo>
                    <a:lnTo>
                      <a:pt x="5831" y="1210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72"/>
                    </a:lnTo>
                    <a:lnTo>
                      <a:pt x="1665" y="1172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9" y="1134"/>
                    </a:lnTo>
                    <a:lnTo>
                      <a:pt x="1689" y="1131"/>
                    </a:lnTo>
                    <a:lnTo>
                      <a:pt x="1689" y="1131"/>
                    </a:lnTo>
                    <a:lnTo>
                      <a:pt x="1689" y="1131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5" y="1183"/>
                    </a:lnTo>
                    <a:lnTo>
                      <a:pt x="5857" y="1183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29"/>
                    </a:lnTo>
                    <a:lnTo>
                      <a:pt x="6321" y="1181"/>
                    </a:lnTo>
                    <a:lnTo>
                      <a:pt x="6323" y="1181"/>
                    </a:lnTo>
                    <a:lnTo>
                      <a:pt x="6323" y="1335"/>
                    </a:lnTo>
                    <a:lnTo>
                      <a:pt x="6323" y="1335"/>
                    </a:lnTo>
                    <a:lnTo>
                      <a:pt x="6323" y="1127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72"/>
                    </a:lnTo>
                    <a:lnTo>
                      <a:pt x="1448" y="1172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12"/>
                    </a:lnTo>
                    <a:lnTo>
                      <a:pt x="2862" y="1212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01"/>
                    </a:lnTo>
                    <a:lnTo>
                      <a:pt x="5931" y="1101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69" y="994"/>
                    </a:lnTo>
                    <a:lnTo>
                      <a:pt x="3769" y="994"/>
                    </a:lnTo>
                    <a:lnTo>
                      <a:pt x="3769" y="1195"/>
                    </a:lnTo>
                    <a:lnTo>
                      <a:pt x="3772" y="1195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2"/>
                    </a:lnTo>
                    <a:lnTo>
                      <a:pt x="5950" y="1022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111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66"/>
                    </a:lnTo>
                    <a:lnTo>
                      <a:pt x="3845" y="966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80" y="906"/>
                    </a:lnTo>
                    <a:lnTo>
                      <a:pt x="6382" y="906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41"/>
                    </a:lnTo>
                    <a:lnTo>
                      <a:pt x="807" y="1041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51"/>
                    </a:lnTo>
                    <a:lnTo>
                      <a:pt x="3100" y="951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00"/>
                    </a:lnTo>
                    <a:lnTo>
                      <a:pt x="1010" y="800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44"/>
                    </a:lnTo>
                    <a:lnTo>
                      <a:pt x="5131" y="944"/>
                    </a:lnTo>
                    <a:lnTo>
                      <a:pt x="5131" y="731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4"/>
                    </a:lnTo>
                    <a:lnTo>
                      <a:pt x="3138" y="734"/>
                    </a:lnTo>
                    <a:lnTo>
                      <a:pt x="3138" y="656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25"/>
                    </a:lnTo>
                    <a:lnTo>
                      <a:pt x="97" y="1425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3"/>
                    </a:lnTo>
                    <a:lnTo>
                      <a:pt x="5254" y="703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29"/>
                    </a:lnTo>
                    <a:lnTo>
                      <a:pt x="3282" y="629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589"/>
                    </a:lnTo>
                    <a:lnTo>
                      <a:pt x="303" y="58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64"/>
                    </a:lnTo>
                    <a:lnTo>
                      <a:pt x="7025" y="1664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45" y="568"/>
                    </a:lnTo>
                    <a:lnTo>
                      <a:pt x="4145" y="568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899"/>
                    </a:lnTo>
                    <a:lnTo>
                      <a:pt x="3956" y="899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73"/>
                    </a:lnTo>
                    <a:lnTo>
                      <a:pt x="3330" y="473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4" y="450"/>
                    </a:lnTo>
                    <a:lnTo>
                      <a:pt x="4044" y="447"/>
                    </a:lnTo>
                    <a:lnTo>
                      <a:pt x="4044" y="447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03"/>
                    </a:lnTo>
                    <a:lnTo>
                      <a:pt x="1809" y="1103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41"/>
                    </a:lnTo>
                    <a:lnTo>
                      <a:pt x="1939" y="341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05"/>
                    </a:lnTo>
                    <a:lnTo>
                      <a:pt x="2029" y="305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40" y="461"/>
                    </a:lnTo>
                    <a:lnTo>
                      <a:pt x="4642" y="45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03"/>
                    </a:lnTo>
                    <a:lnTo>
                      <a:pt x="4805" y="20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4"/>
                    </a:lnTo>
                    <a:lnTo>
                      <a:pt x="4852" y="144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4"/>
                    </a:lnTo>
                    <a:lnTo>
                      <a:pt x="4912" y="144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3" name="Freeform 116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close/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close/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close/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close/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close/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close/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close/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close/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close/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close/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close/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close/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4" name="Freeform 117"/>
              <p:cNvSpPr>
                <a:spLocks noEditPoints="1"/>
              </p:cNvSpPr>
              <p:nvPr/>
            </p:nvSpPr>
            <p:spPr bwMode="auto">
              <a:xfrm>
                <a:off x="21" y="1686"/>
                <a:ext cx="7025" cy="1667"/>
              </a:xfrm>
              <a:custGeom>
                <a:avLst/>
                <a:gdLst>
                  <a:gd name="T0" fmla="*/ 2 w 7025"/>
                  <a:gd name="T1" fmla="*/ 1508 h 1667"/>
                  <a:gd name="T2" fmla="*/ 5663 w 7025"/>
                  <a:gd name="T3" fmla="*/ 1423 h 1667"/>
                  <a:gd name="T4" fmla="*/ 3707 w 7025"/>
                  <a:gd name="T5" fmla="*/ 1222 h 1667"/>
                  <a:gd name="T6" fmla="*/ 5831 w 7025"/>
                  <a:gd name="T7" fmla="*/ 1210 h 1667"/>
                  <a:gd name="T8" fmla="*/ 5831 w 7025"/>
                  <a:gd name="T9" fmla="*/ 1300 h 1667"/>
                  <a:gd name="T10" fmla="*/ 1662 w 7025"/>
                  <a:gd name="T11" fmla="*/ 1160 h 1667"/>
                  <a:gd name="T12" fmla="*/ 1686 w 7025"/>
                  <a:gd name="T13" fmla="*/ 1132 h 1667"/>
                  <a:gd name="T14" fmla="*/ 1688 w 7025"/>
                  <a:gd name="T15" fmla="*/ 1134 h 1667"/>
                  <a:gd name="T16" fmla="*/ 5854 w 7025"/>
                  <a:gd name="T17" fmla="*/ 1186 h 1667"/>
                  <a:gd name="T18" fmla="*/ 6323 w 7025"/>
                  <a:gd name="T19" fmla="*/ 1130 h 1667"/>
                  <a:gd name="T20" fmla="*/ 6323 w 7025"/>
                  <a:gd name="T21" fmla="*/ 1338 h 1667"/>
                  <a:gd name="T22" fmla="*/ 1445 w 7025"/>
                  <a:gd name="T23" fmla="*/ 1127 h 1667"/>
                  <a:gd name="T24" fmla="*/ 1461 w 7025"/>
                  <a:gd name="T25" fmla="*/ 1085 h 1667"/>
                  <a:gd name="T26" fmla="*/ 1463 w 7025"/>
                  <a:gd name="T27" fmla="*/ 1108 h 1667"/>
                  <a:gd name="T28" fmla="*/ 2859 w 7025"/>
                  <a:gd name="T29" fmla="*/ 1066 h 1667"/>
                  <a:gd name="T30" fmla="*/ 5930 w 7025"/>
                  <a:gd name="T31" fmla="*/ 1042 h 1667"/>
                  <a:gd name="T32" fmla="*/ 5930 w 7025"/>
                  <a:gd name="T33" fmla="*/ 1042 h 1667"/>
                  <a:gd name="T34" fmla="*/ 2877 w 7025"/>
                  <a:gd name="T35" fmla="*/ 1047 h 1667"/>
                  <a:gd name="T36" fmla="*/ 3769 w 7025"/>
                  <a:gd name="T37" fmla="*/ 995 h 1667"/>
                  <a:gd name="T38" fmla="*/ 5949 w 7025"/>
                  <a:gd name="T39" fmla="*/ 990 h 1667"/>
                  <a:gd name="T40" fmla="*/ 5947 w 7025"/>
                  <a:gd name="T41" fmla="*/ 1023 h 1667"/>
                  <a:gd name="T42" fmla="*/ 6337 w 7025"/>
                  <a:gd name="T43" fmla="*/ 936 h 1667"/>
                  <a:gd name="T44" fmla="*/ 6339 w 7025"/>
                  <a:gd name="T45" fmla="*/ 1111 h 1667"/>
                  <a:gd name="T46" fmla="*/ 3842 w 7025"/>
                  <a:gd name="T47" fmla="*/ 969 h 1667"/>
                  <a:gd name="T48" fmla="*/ 6382 w 7025"/>
                  <a:gd name="T49" fmla="*/ 895 h 1667"/>
                  <a:gd name="T50" fmla="*/ 6389 w 7025"/>
                  <a:gd name="T51" fmla="*/ 879 h 1667"/>
                  <a:gd name="T52" fmla="*/ 6389 w 7025"/>
                  <a:gd name="T53" fmla="*/ 893 h 1667"/>
                  <a:gd name="T54" fmla="*/ 6396 w 7025"/>
                  <a:gd name="T55" fmla="*/ 850 h 1667"/>
                  <a:gd name="T56" fmla="*/ 6396 w 7025"/>
                  <a:gd name="T57" fmla="*/ 869 h 1667"/>
                  <a:gd name="T58" fmla="*/ 804 w 7025"/>
                  <a:gd name="T59" fmla="*/ 1044 h 1667"/>
                  <a:gd name="T60" fmla="*/ 3097 w 7025"/>
                  <a:gd name="T61" fmla="*/ 763 h 1667"/>
                  <a:gd name="T62" fmla="*/ 1009 w 7025"/>
                  <a:gd name="T63" fmla="*/ 753 h 1667"/>
                  <a:gd name="T64" fmla="*/ 1009 w 7025"/>
                  <a:gd name="T65" fmla="*/ 753 h 1667"/>
                  <a:gd name="T66" fmla="*/ 5131 w 7025"/>
                  <a:gd name="T67" fmla="*/ 947 h 1667"/>
                  <a:gd name="T68" fmla="*/ 3135 w 7025"/>
                  <a:gd name="T69" fmla="*/ 737 h 1667"/>
                  <a:gd name="T70" fmla="*/ 94 w 7025"/>
                  <a:gd name="T71" fmla="*/ 618 h 1667"/>
                  <a:gd name="T72" fmla="*/ 5251 w 7025"/>
                  <a:gd name="T73" fmla="*/ 611 h 1667"/>
                  <a:gd name="T74" fmla="*/ 3282 w 7025"/>
                  <a:gd name="T75" fmla="*/ 583 h 1667"/>
                  <a:gd name="T76" fmla="*/ 3282 w 7025"/>
                  <a:gd name="T77" fmla="*/ 632 h 1667"/>
                  <a:gd name="T78" fmla="*/ 300 w 7025"/>
                  <a:gd name="T79" fmla="*/ 592 h 1667"/>
                  <a:gd name="T80" fmla="*/ 7022 w 7025"/>
                  <a:gd name="T81" fmla="*/ 512 h 1667"/>
                  <a:gd name="T82" fmla="*/ 4192 w 7025"/>
                  <a:gd name="T83" fmla="*/ 505 h 1667"/>
                  <a:gd name="T84" fmla="*/ 3298 w 7025"/>
                  <a:gd name="T85" fmla="*/ 502 h 1667"/>
                  <a:gd name="T86" fmla="*/ 3298 w 7025"/>
                  <a:gd name="T87" fmla="*/ 566 h 1667"/>
                  <a:gd name="T88" fmla="*/ 4034 w 7025"/>
                  <a:gd name="T89" fmla="*/ 455 h 1667"/>
                  <a:gd name="T90" fmla="*/ 3953 w 7025"/>
                  <a:gd name="T91" fmla="*/ 902 h 1667"/>
                  <a:gd name="T92" fmla="*/ 3329 w 7025"/>
                  <a:gd name="T93" fmla="*/ 436 h 1667"/>
                  <a:gd name="T94" fmla="*/ 3329 w 7025"/>
                  <a:gd name="T95" fmla="*/ 436 h 1667"/>
                  <a:gd name="T96" fmla="*/ 4041 w 7025"/>
                  <a:gd name="T97" fmla="*/ 450 h 1667"/>
                  <a:gd name="T98" fmla="*/ 1809 w 7025"/>
                  <a:gd name="T99" fmla="*/ 370 h 1667"/>
                  <a:gd name="T100" fmla="*/ 1809 w 7025"/>
                  <a:gd name="T101" fmla="*/ 370 h 1667"/>
                  <a:gd name="T102" fmla="*/ 1939 w 7025"/>
                  <a:gd name="T103" fmla="*/ 344 h 1667"/>
                  <a:gd name="T104" fmla="*/ 4048 w 7025"/>
                  <a:gd name="T105" fmla="*/ 384 h 1667"/>
                  <a:gd name="T106" fmla="*/ 2029 w 7025"/>
                  <a:gd name="T107" fmla="*/ 294 h 1667"/>
                  <a:gd name="T108" fmla="*/ 2029 w 7025"/>
                  <a:gd name="T109" fmla="*/ 294 h 1667"/>
                  <a:gd name="T110" fmla="*/ 4641 w 7025"/>
                  <a:gd name="T111" fmla="*/ 462 h 1667"/>
                  <a:gd name="T112" fmla="*/ 4802 w 7025"/>
                  <a:gd name="T113" fmla="*/ 176 h 1667"/>
                  <a:gd name="T114" fmla="*/ 4849 w 7025"/>
                  <a:gd name="T115" fmla="*/ 0 h 1667"/>
                  <a:gd name="T116" fmla="*/ 4909 w 7025"/>
                  <a:gd name="T117" fmla="*/ 0 h 1667"/>
                  <a:gd name="T118" fmla="*/ 4909 w 7025"/>
                  <a:gd name="T119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025" h="1667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08"/>
                    </a:lnTo>
                    <a:lnTo>
                      <a:pt x="2" y="1508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9"/>
                    </a:lnTo>
                    <a:lnTo>
                      <a:pt x="5663" y="1423"/>
                    </a:lnTo>
                    <a:lnTo>
                      <a:pt x="5665" y="1423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07" y="1222"/>
                    </a:lnTo>
                    <a:lnTo>
                      <a:pt x="3707" y="1224"/>
                    </a:lnTo>
                    <a:lnTo>
                      <a:pt x="3707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213"/>
                    </a:lnTo>
                    <a:lnTo>
                      <a:pt x="5828" y="1300"/>
                    </a:lnTo>
                    <a:lnTo>
                      <a:pt x="5831" y="1300"/>
                    </a:lnTo>
                    <a:lnTo>
                      <a:pt x="5831" y="1210"/>
                    </a:lnTo>
                    <a:moveTo>
                      <a:pt x="1664" y="1158"/>
                    </a:moveTo>
                    <a:lnTo>
                      <a:pt x="1664" y="1158"/>
                    </a:lnTo>
                    <a:lnTo>
                      <a:pt x="1662" y="1158"/>
                    </a:lnTo>
                    <a:lnTo>
                      <a:pt x="1662" y="1160"/>
                    </a:lnTo>
                    <a:lnTo>
                      <a:pt x="1662" y="1175"/>
                    </a:lnTo>
                    <a:lnTo>
                      <a:pt x="1664" y="1175"/>
                    </a:lnTo>
                    <a:lnTo>
                      <a:pt x="1664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88" y="1132"/>
                    </a:lnTo>
                    <a:moveTo>
                      <a:pt x="5854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86"/>
                    </a:lnTo>
                    <a:lnTo>
                      <a:pt x="5854" y="1186"/>
                    </a:lnTo>
                    <a:lnTo>
                      <a:pt x="5854" y="1184"/>
                    </a:lnTo>
                    <a:lnTo>
                      <a:pt x="5854" y="1184"/>
                    </a:lnTo>
                    <a:lnTo>
                      <a:pt x="5854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38"/>
                    </a:lnTo>
                    <a:lnTo>
                      <a:pt x="6323" y="1338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7" y="1175"/>
                    </a:lnTo>
                    <a:lnTo>
                      <a:pt x="1447" y="1127"/>
                    </a:lnTo>
                    <a:moveTo>
                      <a:pt x="1463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11"/>
                    </a:lnTo>
                    <a:lnTo>
                      <a:pt x="1463" y="1111"/>
                    </a:lnTo>
                    <a:lnTo>
                      <a:pt x="1463" y="1108"/>
                    </a:lnTo>
                    <a:lnTo>
                      <a:pt x="1463" y="1108"/>
                    </a:lnTo>
                    <a:lnTo>
                      <a:pt x="1463" y="1085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15"/>
                    </a:lnTo>
                    <a:lnTo>
                      <a:pt x="2859" y="1215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2"/>
                    </a:lnTo>
                    <a:moveTo>
                      <a:pt x="2877" y="1014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7" y="1047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4"/>
                    </a:lnTo>
                    <a:moveTo>
                      <a:pt x="3769" y="995"/>
                    </a:moveTo>
                    <a:lnTo>
                      <a:pt x="3769" y="995"/>
                    </a:lnTo>
                    <a:lnTo>
                      <a:pt x="3769" y="997"/>
                    </a:lnTo>
                    <a:lnTo>
                      <a:pt x="3769" y="1198"/>
                    </a:lnTo>
                    <a:lnTo>
                      <a:pt x="3769" y="1198"/>
                    </a:lnTo>
                    <a:lnTo>
                      <a:pt x="3769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6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69"/>
                    </a:lnTo>
                    <a:lnTo>
                      <a:pt x="3845" y="969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8"/>
                    </a:lnTo>
                    <a:lnTo>
                      <a:pt x="6379" y="909"/>
                    </a:lnTo>
                    <a:lnTo>
                      <a:pt x="6382" y="909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44"/>
                    </a:lnTo>
                    <a:lnTo>
                      <a:pt x="804" y="1044"/>
                    </a:lnTo>
                    <a:lnTo>
                      <a:pt x="804" y="829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03"/>
                    </a:lnTo>
                    <a:lnTo>
                      <a:pt x="1009" y="803"/>
                    </a:lnTo>
                    <a:lnTo>
                      <a:pt x="1009" y="753"/>
                    </a:lnTo>
                    <a:moveTo>
                      <a:pt x="5131" y="732"/>
                    </a:moveTo>
                    <a:lnTo>
                      <a:pt x="5128" y="732"/>
                    </a:lnTo>
                    <a:lnTo>
                      <a:pt x="5128" y="734"/>
                    </a:lnTo>
                    <a:lnTo>
                      <a:pt x="5128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9"/>
                    </a:moveTo>
                    <a:lnTo>
                      <a:pt x="3135" y="659"/>
                    </a:lnTo>
                    <a:lnTo>
                      <a:pt x="3135" y="659"/>
                    </a:lnTo>
                    <a:lnTo>
                      <a:pt x="3135" y="737"/>
                    </a:lnTo>
                    <a:lnTo>
                      <a:pt x="3138" y="737"/>
                    </a:lnTo>
                    <a:lnTo>
                      <a:pt x="3138" y="659"/>
                    </a:lnTo>
                    <a:moveTo>
                      <a:pt x="97" y="618"/>
                    </a:moveTo>
                    <a:lnTo>
                      <a:pt x="94" y="618"/>
                    </a:lnTo>
                    <a:lnTo>
                      <a:pt x="94" y="618"/>
                    </a:lnTo>
                    <a:lnTo>
                      <a:pt x="94" y="1428"/>
                    </a:lnTo>
                    <a:lnTo>
                      <a:pt x="97" y="1428"/>
                    </a:lnTo>
                    <a:lnTo>
                      <a:pt x="97" y="618"/>
                    </a:lnTo>
                    <a:moveTo>
                      <a:pt x="5251" y="611"/>
                    </a:moveTo>
                    <a:lnTo>
                      <a:pt x="5251" y="611"/>
                    </a:lnTo>
                    <a:lnTo>
                      <a:pt x="5251" y="611"/>
                    </a:lnTo>
                    <a:lnTo>
                      <a:pt x="5251" y="706"/>
                    </a:lnTo>
                    <a:lnTo>
                      <a:pt x="5251" y="706"/>
                    </a:lnTo>
                    <a:lnTo>
                      <a:pt x="5251" y="611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2"/>
                    </a:lnTo>
                    <a:lnTo>
                      <a:pt x="3282" y="632"/>
                    </a:lnTo>
                    <a:lnTo>
                      <a:pt x="3282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2"/>
                    </a:lnTo>
                    <a:lnTo>
                      <a:pt x="302" y="592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2" y="509"/>
                    </a:lnTo>
                    <a:lnTo>
                      <a:pt x="7022" y="512"/>
                    </a:lnTo>
                    <a:lnTo>
                      <a:pt x="7022" y="1667"/>
                    </a:lnTo>
                    <a:lnTo>
                      <a:pt x="7025" y="1667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7"/>
                    </a:lnTo>
                    <a:lnTo>
                      <a:pt x="4142" y="571"/>
                    </a:lnTo>
                    <a:lnTo>
                      <a:pt x="4142" y="573"/>
                    </a:lnTo>
                    <a:lnTo>
                      <a:pt x="4192" y="505"/>
                    </a:lnTo>
                    <a:moveTo>
                      <a:pt x="3298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298" y="564"/>
                    </a:lnTo>
                    <a:lnTo>
                      <a:pt x="3298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3"/>
                    </a:lnTo>
                    <a:lnTo>
                      <a:pt x="3953" y="644"/>
                    </a:lnTo>
                    <a:lnTo>
                      <a:pt x="3953" y="902"/>
                    </a:lnTo>
                    <a:lnTo>
                      <a:pt x="3953" y="902"/>
                    </a:lnTo>
                    <a:lnTo>
                      <a:pt x="3953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6"/>
                    </a:moveTo>
                    <a:lnTo>
                      <a:pt x="3327" y="436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9" y="476"/>
                    </a:lnTo>
                    <a:lnTo>
                      <a:pt x="3329" y="436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8"/>
                    </a:lnTo>
                    <a:lnTo>
                      <a:pt x="4041" y="448"/>
                    </a:lnTo>
                    <a:lnTo>
                      <a:pt x="4041" y="391"/>
                    </a:lnTo>
                    <a:moveTo>
                      <a:pt x="1809" y="370"/>
                    </a:moveTo>
                    <a:lnTo>
                      <a:pt x="1806" y="370"/>
                    </a:lnTo>
                    <a:lnTo>
                      <a:pt x="1806" y="372"/>
                    </a:lnTo>
                    <a:lnTo>
                      <a:pt x="1806" y="1106"/>
                    </a:lnTo>
                    <a:lnTo>
                      <a:pt x="1809" y="1106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44"/>
                    </a:lnTo>
                    <a:lnTo>
                      <a:pt x="1939" y="344"/>
                    </a:lnTo>
                    <a:lnTo>
                      <a:pt x="1939" y="334"/>
                    </a:lnTo>
                    <a:moveTo>
                      <a:pt x="4050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9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08"/>
                    </a:lnTo>
                    <a:lnTo>
                      <a:pt x="2029" y="308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0" y="232"/>
                    </a:lnTo>
                    <a:lnTo>
                      <a:pt x="4700" y="235"/>
                    </a:lnTo>
                    <a:lnTo>
                      <a:pt x="4639" y="462"/>
                    </a:lnTo>
                    <a:lnTo>
                      <a:pt x="4641" y="462"/>
                    </a:lnTo>
                    <a:lnTo>
                      <a:pt x="4703" y="232"/>
                    </a:lnTo>
                    <a:moveTo>
                      <a:pt x="4802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6"/>
                    </a:lnTo>
                    <a:lnTo>
                      <a:pt x="4802" y="206"/>
                    </a:lnTo>
                    <a:lnTo>
                      <a:pt x="4802" y="206"/>
                    </a:lnTo>
                    <a:lnTo>
                      <a:pt x="4802" y="173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3"/>
                    </a:lnTo>
                    <a:lnTo>
                      <a:pt x="4849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5" name="Freeform 118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close/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close/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close/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close/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close/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close/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close/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close/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close/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close/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close/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close/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close/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close/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close/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close/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close/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close/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close/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close/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close/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close/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close/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close/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close/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close/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close/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close/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9C9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6" name="Freeform 119"/>
              <p:cNvSpPr>
                <a:spLocks noEditPoints="1"/>
              </p:cNvSpPr>
              <p:nvPr/>
            </p:nvSpPr>
            <p:spPr bwMode="auto">
              <a:xfrm>
                <a:off x="23" y="1686"/>
                <a:ext cx="7025" cy="1667"/>
              </a:xfrm>
              <a:custGeom>
                <a:avLst/>
                <a:gdLst>
                  <a:gd name="T0" fmla="*/ 0 w 7025"/>
                  <a:gd name="T1" fmla="*/ 1508 h 1667"/>
                  <a:gd name="T2" fmla="*/ 5663 w 7025"/>
                  <a:gd name="T3" fmla="*/ 1423 h 1667"/>
                  <a:gd name="T4" fmla="*/ 3708 w 7025"/>
                  <a:gd name="T5" fmla="*/ 1222 h 1667"/>
                  <a:gd name="T6" fmla="*/ 5831 w 7025"/>
                  <a:gd name="T7" fmla="*/ 1208 h 1667"/>
                  <a:gd name="T8" fmla="*/ 5831 w 7025"/>
                  <a:gd name="T9" fmla="*/ 1300 h 1667"/>
                  <a:gd name="T10" fmla="*/ 1662 w 7025"/>
                  <a:gd name="T11" fmla="*/ 1158 h 1667"/>
                  <a:gd name="T12" fmla="*/ 1686 w 7025"/>
                  <a:gd name="T13" fmla="*/ 1132 h 1667"/>
                  <a:gd name="T14" fmla="*/ 1688 w 7025"/>
                  <a:gd name="T15" fmla="*/ 1132 h 1667"/>
                  <a:gd name="T16" fmla="*/ 5852 w 7025"/>
                  <a:gd name="T17" fmla="*/ 1184 h 1667"/>
                  <a:gd name="T18" fmla="*/ 6321 w 7025"/>
                  <a:gd name="T19" fmla="*/ 1127 h 1667"/>
                  <a:gd name="T20" fmla="*/ 1445 w 7025"/>
                  <a:gd name="T21" fmla="*/ 1125 h 1667"/>
                  <a:gd name="T22" fmla="*/ 1445 w 7025"/>
                  <a:gd name="T23" fmla="*/ 1175 h 1667"/>
                  <a:gd name="T24" fmla="*/ 1461 w 7025"/>
                  <a:gd name="T25" fmla="*/ 1108 h 1667"/>
                  <a:gd name="T26" fmla="*/ 2859 w 7025"/>
                  <a:gd name="T27" fmla="*/ 1061 h 1667"/>
                  <a:gd name="T28" fmla="*/ 2859 w 7025"/>
                  <a:gd name="T29" fmla="*/ 1215 h 1667"/>
                  <a:gd name="T30" fmla="*/ 5928 w 7025"/>
                  <a:gd name="T31" fmla="*/ 1042 h 1667"/>
                  <a:gd name="T32" fmla="*/ 2875 w 7025"/>
                  <a:gd name="T33" fmla="*/ 1011 h 1667"/>
                  <a:gd name="T34" fmla="*/ 2878 w 7025"/>
                  <a:gd name="T35" fmla="*/ 1042 h 1667"/>
                  <a:gd name="T36" fmla="*/ 3767 w 7025"/>
                  <a:gd name="T37" fmla="*/ 1198 h 1667"/>
                  <a:gd name="T38" fmla="*/ 5947 w 7025"/>
                  <a:gd name="T39" fmla="*/ 990 h 1667"/>
                  <a:gd name="T40" fmla="*/ 5949 w 7025"/>
                  <a:gd name="T41" fmla="*/ 990 h 1667"/>
                  <a:gd name="T42" fmla="*/ 6337 w 7025"/>
                  <a:gd name="T43" fmla="*/ 1111 h 1667"/>
                  <a:gd name="T44" fmla="*/ 3845 w 7025"/>
                  <a:gd name="T45" fmla="*/ 926 h 1667"/>
                  <a:gd name="T46" fmla="*/ 3845 w 7025"/>
                  <a:gd name="T47" fmla="*/ 926 h 1667"/>
                  <a:gd name="T48" fmla="*/ 6380 w 7025"/>
                  <a:gd name="T49" fmla="*/ 909 h 1667"/>
                  <a:gd name="T50" fmla="*/ 6387 w 7025"/>
                  <a:gd name="T51" fmla="*/ 879 h 1667"/>
                  <a:gd name="T52" fmla="*/ 6389 w 7025"/>
                  <a:gd name="T53" fmla="*/ 888 h 1667"/>
                  <a:gd name="T54" fmla="*/ 6394 w 7025"/>
                  <a:gd name="T55" fmla="*/ 869 h 1667"/>
                  <a:gd name="T56" fmla="*/ 804 w 7025"/>
                  <a:gd name="T57" fmla="*/ 827 h 1667"/>
                  <a:gd name="T58" fmla="*/ 804 w 7025"/>
                  <a:gd name="T59" fmla="*/ 827 h 1667"/>
                  <a:gd name="T60" fmla="*/ 3098 w 7025"/>
                  <a:gd name="T61" fmla="*/ 954 h 1667"/>
                  <a:gd name="T62" fmla="*/ 1007 w 7025"/>
                  <a:gd name="T63" fmla="*/ 753 h 1667"/>
                  <a:gd name="T64" fmla="*/ 5129 w 7025"/>
                  <a:gd name="T65" fmla="*/ 732 h 1667"/>
                  <a:gd name="T66" fmla="*/ 3138 w 7025"/>
                  <a:gd name="T67" fmla="*/ 656 h 1667"/>
                  <a:gd name="T68" fmla="*/ 3138 w 7025"/>
                  <a:gd name="T69" fmla="*/ 656 h 1667"/>
                  <a:gd name="T70" fmla="*/ 97 w 7025"/>
                  <a:gd name="T71" fmla="*/ 1428 h 1667"/>
                  <a:gd name="T72" fmla="*/ 5249 w 7025"/>
                  <a:gd name="T73" fmla="*/ 706 h 1667"/>
                  <a:gd name="T74" fmla="*/ 3280 w 7025"/>
                  <a:gd name="T75" fmla="*/ 580 h 1667"/>
                  <a:gd name="T76" fmla="*/ 300 w 7025"/>
                  <a:gd name="T77" fmla="*/ 547 h 1667"/>
                  <a:gd name="T78" fmla="*/ 300 w 7025"/>
                  <a:gd name="T79" fmla="*/ 547 h 1667"/>
                  <a:gd name="T80" fmla="*/ 7025 w 7025"/>
                  <a:gd name="T81" fmla="*/ 1667 h 1667"/>
                  <a:gd name="T82" fmla="*/ 4140 w 7025"/>
                  <a:gd name="T83" fmla="*/ 573 h 1667"/>
                  <a:gd name="T84" fmla="*/ 3296 w 7025"/>
                  <a:gd name="T85" fmla="*/ 500 h 1667"/>
                  <a:gd name="T86" fmla="*/ 3299 w 7025"/>
                  <a:gd name="T87" fmla="*/ 561 h 1667"/>
                  <a:gd name="T88" fmla="*/ 4034 w 7025"/>
                  <a:gd name="T89" fmla="*/ 455 h 1667"/>
                  <a:gd name="T90" fmla="*/ 3954 w 7025"/>
                  <a:gd name="T91" fmla="*/ 640 h 1667"/>
                  <a:gd name="T92" fmla="*/ 3327 w 7025"/>
                  <a:gd name="T93" fmla="*/ 436 h 1667"/>
                  <a:gd name="T94" fmla="*/ 4041 w 7025"/>
                  <a:gd name="T95" fmla="*/ 391 h 1667"/>
                  <a:gd name="T96" fmla="*/ 4041 w 7025"/>
                  <a:gd name="T97" fmla="*/ 445 h 1667"/>
                  <a:gd name="T98" fmla="*/ 1807 w 7025"/>
                  <a:gd name="T99" fmla="*/ 370 h 1667"/>
                  <a:gd name="T100" fmla="*/ 1937 w 7025"/>
                  <a:gd name="T101" fmla="*/ 332 h 1667"/>
                  <a:gd name="T102" fmla="*/ 4051 w 7025"/>
                  <a:gd name="T103" fmla="*/ 327 h 1667"/>
                  <a:gd name="T104" fmla="*/ 4048 w 7025"/>
                  <a:gd name="T105" fmla="*/ 382 h 1667"/>
                  <a:gd name="T106" fmla="*/ 2027 w 7025"/>
                  <a:gd name="T107" fmla="*/ 294 h 1667"/>
                  <a:gd name="T108" fmla="*/ 4701 w 7025"/>
                  <a:gd name="T109" fmla="*/ 230 h 1667"/>
                  <a:gd name="T110" fmla="*/ 4803 w 7025"/>
                  <a:gd name="T111" fmla="*/ 171 h 1667"/>
                  <a:gd name="T112" fmla="*/ 4803 w 7025"/>
                  <a:gd name="T113" fmla="*/ 206 h 1667"/>
                  <a:gd name="T114" fmla="*/ 4850 w 7025"/>
                  <a:gd name="T115" fmla="*/ 147 h 1667"/>
                  <a:gd name="T116" fmla="*/ 4907 w 7025"/>
                  <a:gd name="T117" fmla="*/ 0 h 1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67">
                    <a:moveTo>
                      <a:pt x="0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08"/>
                    </a:lnTo>
                    <a:lnTo>
                      <a:pt x="0" y="1508"/>
                    </a:lnTo>
                    <a:lnTo>
                      <a:pt x="0" y="1452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23"/>
                    </a:lnTo>
                    <a:lnTo>
                      <a:pt x="5666" y="1423"/>
                    </a:lnTo>
                    <a:lnTo>
                      <a:pt x="5666" y="1326"/>
                    </a:lnTo>
                    <a:moveTo>
                      <a:pt x="3710" y="1222"/>
                    </a:move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222"/>
                    </a:lnTo>
                    <a:lnTo>
                      <a:pt x="3708" y="1366"/>
                    </a:lnTo>
                    <a:lnTo>
                      <a:pt x="3710" y="1366"/>
                    </a:lnTo>
                    <a:lnTo>
                      <a:pt x="3710" y="1222"/>
                    </a:lnTo>
                    <a:moveTo>
                      <a:pt x="5831" y="1208"/>
                    </a:moveTo>
                    <a:lnTo>
                      <a:pt x="5829" y="1208"/>
                    </a:lnTo>
                    <a:lnTo>
                      <a:pt x="5829" y="1208"/>
                    </a:lnTo>
                    <a:lnTo>
                      <a:pt x="5829" y="1210"/>
                    </a:lnTo>
                    <a:lnTo>
                      <a:pt x="5829" y="1300"/>
                    </a:lnTo>
                    <a:lnTo>
                      <a:pt x="5831" y="1300"/>
                    </a:lnTo>
                    <a:lnTo>
                      <a:pt x="5831" y="1208"/>
                    </a:lnTo>
                    <a:moveTo>
                      <a:pt x="1665" y="1156"/>
                    </a:moveTo>
                    <a:lnTo>
                      <a:pt x="1665" y="1156"/>
                    </a:lnTo>
                    <a:lnTo>
                      <a:pt x="1662" y="1156"/>
                    </a:lnTo>
                    <a:lnTo>
                      <a:pt x="1662" y="1158"/>
                    </a:lnTo>
                    <a:lnTo>
                      <a:pt x="1662" y="1175"/>
                    </a:lnTo>
                    <a:lnTo>
                      <a:pt x="1665" y="1175"/>
                    </a:lnTo>
                    <a:lnTo>
                      <a:pt x="1665" y="1156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4"/>
                    </a:lnTo>
                    <a:lnTo>
                      <a:pt x="1686" y="1132"/>
                    </a:lnTo>
                    <a:lnTo>
                      <a:pt x="1688" y="1132"/>
                    </a:lnTo>
                    <a:lnTo>
                      <a:pt x="1688" y="1132"/>
                    </a:lnTo>
                    <a:moveTo>
                      <a:pt x="5855" y="1127"/>
                    </a:moveTo>
                    <a:lnTo>
                      <a:pt x="5852" y="1127"/>
                    </a:lnTo>
                    <a:lnTo>
                      <a:pt x="5852" y="1130"/>
                    </a:lnTo>
                    <a:lnTo>
                      <a:pt x="5852" y="1184"/>
                    </a:lnTo>
                    <a:lnTo>
                      <a:pt x="5855" y="1184"/>
                    </a:lnTo>
                    <a:lnTo>
                      <a:pt x="5855" y="1127"/>
                    </a:lnTo>
                    <a:moveTo>
                      <a:pt x="6323" y="1127"/>
                    </a:moveTo>
                    <a:lnTo>
                      <a:pt x="6321" y="1127"/>
                    </a:lnTo>
                    <a:lnTo>
                      <a:pt x="6321" y="1127"/>
                    </a:lnTo>
                    <a:lnTo>
                      <a:pt x="6321" y="1130"/>
                    </a:lnTo>
                    <a:lnTo>
                      <a:pt x="6321" y="1338"/>
                    </a:lnTo>
                    <a:lnTo>
                      <a:pt x="6323" y="1338"/>
                    </a:lnTo>
                    <a:lnTo>
                      <a:pt x="6323" y="1127"/>
                    </a:lnTo>
                    <a:moveTo>
                      <a:pt x="1445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5"/>
                    </a:lnTo>
                    <a:lnTo>
                      <a:pt x="1445" y="1175"/>
                    </a:lnTo>
                    <a:lnTo>
                      <a:pt x="1445" y="1125"/>
                    </a:lnTo>
                    <a:moveTo>
                      <a:pt x="1464" y="1082"/>
                    </a:moveTo>
                    <a:lnTo>
                      <a:pt x="1461" y="1082"/>
                    </a:lnTo>
                    <a:lnTo>
                      <a:pt x="1461" y="1085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59" y="1061"/>
                    </a:moveTo>
                    <a:lnTo>
                      <a:pt x="2859" y="1061"/>
                    </a:lnTo>
                    <a:lnTo>
                      <a:pt x="2857" y="1061"/>
                    </a:lnTo>
                    <a:lnTo>
                      <a:pt x="2857" y="1063"/>
                    </a:lnTo>
                    <a:lnTo>
                      <a:pt x="2857" y="1215"/>
                    </a:lnTo>
                    <a:lnTo>
                      <a:pt x="2859" y="1215"/>
                    </a:lnTo>
                    <a:lnTo>
                      <a:pt x="2859" y="1061"/>
                    </a:lnTo>
                    <a:moveTo>
                      <a:pt x="5930" y="1040"/>
                    </a:moveTo>
                    <a:lnTo>
                      <a:pt x="5930" y="1040"/>
                    </a:lnTo>
                    <a:lnTo>
                      <a:pt x="5928" y="1040"/>
                    </a:lnTo>
                    <a:lnTo>
                      <a:pt x="5928" y="1042"/>
                    </a:lnTo>
                    <a:lnTo>
                      <a:pt x="5928" y="1104"/>
                    </a:lnTo>
                    <a:lnTo>
                      <a:pt x="5930" y="1104"/>
                    </a:lnTo>
                    <a:lnTo>
                      <a:pt x="5930" y="1040"/>
                    </a:lnTo>
                    <a:moveTo>
                      <a:pt x="2878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4"/>
                    </a:lnTo>
                    <a:lnTo>
                      <a:pt x="2875" y="1044"/>
                    </a:lnTo>
                    <a:lnTo>
                      <a:pt x="2875" y="1042"/>
                    </a:lnTo>
                    <a:lnTo>
                      <a:pt x="2878" y="1042"/>
                    </a:lnTo>
                    <a:lnTo>
                      <a:pt x="2878" y="1011"/>
                    </a:lnTo>
                    <a:moveTo>
                      <a:pt x="3769" y="992"/>
                    </a:moveTo>
                    <a:lnTo>
                      <a:pt x="3767" y="992"/>
                    </a:lnTo>
                    <a:lnTo>
                      <a:pt x="3767" y="995"/>
                    </a:lnTo>
                    <a:lnTo>
                      <a:pt x="3767" y="1198"/>
                    </a:lnTo>
                    <a:lnTo>
                      <a:pt x="3769" y="1198"/>
                    </a:lnTo>
                    <a:lnTo>
                      <a:pt x="3769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0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6"/>
                    </a:moveTo>
                    <a:lnTo>
                      <a:pt x="6339" y="936"/>
                    </a:lnTo>
                    <a:lnTo>
                      <a:pt x="6337" y="936"/>
                    </a:lnTo>
                    <a:lnTo>
                      <a:pt x="6337" y="936"/>
                    </a:lnTo>
                    <a:lnTo>
                      <a:pt x="6337" y="1111"/>
                    </a:lnTo>
                    <a:lnTo>
                      <a:pt x="6339" y="1111"/>
                    </a:lnTo>
                    <a:lnTo>
                      <a:pt x="6339" y="1108"/>
                    </a:lnTo>
                    <a:lnTo>
                      <a:pt x="6339" y="1108"/>
                    </a:lnTo>
                    <a:lnTo>
                      <a:pt x="6339" y="936"/>
                    </a:lnTo>
                    <a:moveTo>
                      <a:pt x="3845" y="926"/>
                    </a:moveTo>
                    <a:lnTo>
                      <a:pt x="3843" y="926"/>
                    </a:lnTo>
                    <a:lnTo>
                      <a:pt x="3843" y="928"/>
                    </a:lnTo>
                    <a:lnTo>
                      <a:pt x="3843" y="969"/>
                    </a:lnTo>
                    <a:lnTo>
                      <a:pt x="3845" y="969"/>
                    </a:lnTo>
                    <a:lnTo>
                      <a:pt x="3845" y="926"/>
                    </a:lnTo>
                    <a:moveTo>
                      <a:pt x="6384" y="893"/>
                    </a:moveTo>
                    <a:lnTo>
                      <a:pt x="6384" y="893"/>
                    </a:lnTo>
                    <a:lnTo>
                      <a:pt x="6382" y="893"/>
                    </a:lnTo>
                    <a:lnTo>
                      <a:pt x="6382" y="895"/>
                    </a:lnTo>
                    <a:lnTo>
                      <a:pt x="6380" y="909"/>
                    </a:lnTo>
                    <a:lnTo>
                      <a:pt x="6380" y="909"/>
                    </a:lnTo>
                    <a:lnTo>
                      <a:pt x="6384" y="893"/>
                    </a:lnTo>
                    <a:moveTo>
                      <a:pt x="6389" y="879"/>
                    </a:move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79"/>
                    </a:lnTo>
                    <a:lnTo>
                      <a:pt x="6387" y="891"/>
                    </a:lnTo>
                    <a:lnTo>
                      <a:pt x="6387" y="891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9"/>
                    </a:lnTo>
                    <a:moveTo>
                      <a:pt x="6396" y="850"/>
                    </a:moveTo>
                    <a:lnTo>
                      <a:pt x="6394" y="850"/>
                    </a:lnTo>
                    <a:lnTo>
                      <a:pt x="6394" y="850"/>
                    </a:lnTo>
                    <a:lnTo>
                      <a:pt x="6394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7"/>
                    </a:moveTo>
                    <a:lnTo>
                      <a:pt x="802" y="827"/>
                    </a:lnTo>
                    <a:lnTo>
                      <a:pt x="802" y="829"/>
                    </a:lnTo>
                    <a:lnTo>
                      <a:pt x="802" y="1044"/>
                    </a:lnTo>
                    <a:lnTo>
                      <a:pt x="804" y="1044"/>
                    </a:lnTo>
                    <a:lnTo>
                      <a:pt x="804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8" y="763"/>
                    </a:lnTo>
                    <a:lnTo>
                      <a:pt x="3098" y="763"/>
                    </a:lnTo>
                    <a:lnTo>
                      <a:pt x="3098" y="954"/>
                    </a:lnTo>
                    <a:lnTo>
                      <a:pt x="3100" y="954"/>
                    </a:lnTo>
                    <a:lnTo>
                      <a:pt x="3100" y="763"/>
                    </a:lnTo>
                    <a:moveTo>
                      <a:pt x="1007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03"/>
                    </a:lnTo>
                    <a:lnTo>
                      <a:pt x="1007" y="803"/>
                    </a:lnTo>
                    <a:lnTo>
                      <a:pt x="1007" y="753"/>
                    </a:lnTo>
                    <a:moveTo>
                      <a:pt x="5131" y="732"/>
                    </a:moveTo>
                    <a:lnTo>
                      <a:pt x="5129" y="732"/>
                    </a:lnTo>
                    <a:lnTo>
                      <a:pt x="5129" y="732"/>
                    </a:lnTo>
                    <a:lnTo>
                      <a:pt x="5129" y="947"/>
                    </a:lnTo>
                    <a:lnTo>
                      <a:pt x="5131" y="947"/>
                    </a:lnTo>
                    <a:lnTo>
                      <a:pt x="5131" y="732"/>
                    </a:lnTo>
                    <a:moveTo>
                      <a:pt x="3138" y="656"/>
                    </a:moveTo>
                    <a:lnTo>
                      <a:pt x="3136" y="656"/>
                    </a:lnTo>
                    <a:lnTo>
                      <a:pt x="3136" y="659"/>
                    </a:lnTo>
                    <a:lnTo>
                      <a:pt x="3136" y="737"/>
                    </a:lnTo>
                    <a:lnTo>
                      <a:pt x="3138" y="737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28"/>
                    </a:lnTo>
                    <a:lnTo>
                      <a:pt x="97" y="1428"/>
                    </a:lnTo>
                    <a:lnTo>
                      <a:pt x="97" y="616"/>
                    </a:lnTo>
                    <a:moveTo>
                      <a:pt x="5252" y="609"/>
                    </a:moveTo>
                    <a:lnTo>
                      <a:pt x="5249" y="609"/>
                    </a:lnTo>
                    <a:lnTo>
                      <a:pt x="5249" y="611"/>
                    </a:lnTo>
                    <a:lnTo>
                      <a:pt x="5249" y="706"/>
                    </a:lnTo>
                    <a:lnTo>
                      <a:pt x="5252" y="706"/>
                    </a:lnTo>
                    <a:lnTo>
                      <a:pt x="5252" y="609"/>
                    </a:lnTo>
                    <a:moveTo>
                      <a:pt x="3282" y="580"/>
                    </a:moveTo>
                    <a:lnTo>
                      <a:pt x="3280" y="580"/>
                    </a:lnTo>
                    <a:lnTo>
                      <a:pt x="3280" y="580"/>
                    </a:lnTo>
                    <a:lnTo>
                      <a:pt x="3280" y="583"/>
                    </a:lnTo>
                    <a:lnTo>
                      <a:pt x="3280" y="632"/>
                    </a:lnTo>
                    <a:lnTo>
                      <a:pt x="3282" y="632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592"/>
                    </a:lnTo>
                    <a:lnTo>
                      <a:pt x="300" y="592"/>
                    </a:lnTo>
                    <a:lnTo>
                      <a:pt x="300" y="547"/>
                    </a:lnTo>
                    <a:moveTo>
                      <a:pt x="7025" y="507"/>
                    </a:moveTo>
                    <a:lnTo>
                      <a:pt x="7023" y="507"/>
                    </a:lnTo>
                    <a:lnTo>
                      <a:pt x="7023" y="509"/>
                    </a:lnTo>
                    <a:lnTo>
                      <a:pt x="7023" y="1667"/>
                    </a:lnTo>
                    <a:lnTo>
                      <a:pt x="7025" y="1667"/>
                    </a:lnTo>
                    <a:lnTo>
                      <a:pt x="7025" y="507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5"/>
                    </a:lnTo>
                    <a:lnTo>
                      <a:pt x="4140" y="573"/>
                    </a:lnTo>
                    <a:lnTo>
                      <a:pt x="4140" y="573"/>
                    </a:lnTo>
                    <a:lnTo>
                      <a:pt x="4192" y="502"/>
                    </a:lnTo>
                    <a:moveTo>
                      <a:pt x="3299" y="500"/>
                    </a:moveTo>
                    <a:lnTo>
                      <a:pt x="3299" y="500"/>
                    </a:lnTo>
                    <a:lnTo>
                      <a:pt x="3296" y="500"/>
                    </a:lnTo>
                    <a:lnTo>
                      <a:pt x="3296" y="502"/>
                    </a:lnTo>
                    <a:lnTo>
                      <a:pt x="3296" y="564"/>
                    </a:lnTo>
                    <a:lnTo>
                      <a:pt x="3299" y="564"/>
                    </a:lnTo>
                    <a:lnTo>
                      <a:pt x="3299" y="561"/>
                    </a:lnTo>
                    <a:lnTo>
                      <a:pt x="3299" y="561"/>
                    </a:lnTo>
                    <a:lnTo>
                      <a:pt x="3299" y="500"/>
                    </a:lnTo>
                    <a:moveTo>
                      <a:pt x="4036" y="453"/>
                    </a:moveTo>
                    <a:lnTo>
                      <a:pt x="4034" y="453"/>
                    </a:lnTo>
                    <a:lnTo>
                      <a:pt x="4034" y="453"/>
                    </a:lnTo>
                    <a:lnTo>
                      <a:pt x="4034" y="455"/>
                    </a:lnTo>
                    <a:lnTo>
                      <a:pt x="4034" y="490"/>
                    </a:lnTo>
                    <a:lnTo>
                      <a:pt x="3951" y="642"/>
                    </a:lnTo>
                    <a:lnTo>
                      <a:pt x="3951" y="902"/>
                    </a:lnTo>
                    <a:lnTo>
                      <a:pt x="3954" y="902"/>
                    </a:lnTo>
                    <a:lnTo>
                      <a:pt x="3954" y="640"/>
                    </a:lnTo>
                    <a:lnTo>
                      <a:pt x="4036" y="488"/>
                    </a:lnTo>
                    <a:lnTo>
                      <a:pt x="4036" y="453"/>
                    </a:lnTo>
                    <a:moveTo>
                      <a:pt x="3327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76"/>
                    </a:lnTo>
                    <a:lnTo>
                      <a:pt x="3327" y="476"/>
                    </a:lnTo>
                    <a:lnTo>
                      <a:pt x="3327" y="434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39" y="391"/>
                    </a:lnTo>
                    <a:lnTo>
                      <a:pt x="4039" y="391"/>
                    </a:lnTo>
                    <a:lnTo>
                      <a:pt x="4039" y="448"/>
                    </a:lnTo>
                    <a:lnTo>
                      <a:pt x="4041" y="448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91"/>
                    </a:lnTo>
                    <a:moveTo>
                      <a:pt x="1809" y="367"/>
                    </a:moveTo>
                    <a:lnTo>
                      <a:pt x="1807" y="367"/>
                    </a:lnTo>
                    <a:lnTo>
                      <a:pt x="1807" y="370"/>
                    </a:lnTo>
                    <a:lnTo>
                      <a:pt x="1807" y="1106"/>
                    </a:lnTo>
                    <a:lnTo>
                      <a:pt x="1809" y="1106"/>
                    </a:lnTo>
                    <a:lnTo>
                      <a:pt x="1809" y="367"/>
                    </a:lnTo>
                    <a:moveTo>
                      <a:pt x="1937" y="332"/>
                    </a:moveTo>
                    <a:lnTo>
                      <a:pt x="1937" y="332"/>
                    </a:lnTo>
                    <a:lnTo>
                      <a:pt x="1937" y="334"/>
                    </a:lnTo>
                    <a:lnTo>
                      <a:pt x="1937" y="344"/>
                    </a:lnTo>
                    <a:lnTo>
                      <a:pt x="1937" y="344"/>
                    </a:lnTo>
                    <a:lnTo>
                      <a:pt x="1937" y="332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48" y="382"/>
                    </a:lnTo>
                    <a:lnTo>
                      <a:pt x="4051" y="382"/>
                    </a:lnTo>
                    <a:lnTo>
                      <a:pt x="4051" y="327"/>
                    </a:lnTo>
                    <a:moveTo>
                      <a:pt x="2029" y="292"/>
                    </a:moveTo>
                    <a:lnTo>
                      <a:pt x="2027" y="292"/>
                    </a:lnTo>
                    <a:lnTo>
                      <a:pt x="2027" y="294"/>
                    </a:lnTo>
                    <a:lnTo>
                      <a:pt x="2027" y="308"/>
                    </a:lnTo>
                    <a:lnTo>
                      <a:pt x="2029" y="308"/>
                    </a:lnTo>
                    <a:lnTo>
                      <a:pt x="2029" y="292"/>
                    </a:lnTo>
                    <a:moveTo>
                      <a:pt x="4703" y="230"/>
                    </a:moveTo>
                    <a:lnTo>
                      <a:pt x="4701" y="230"/>
                    </a:lnTo>
                    <a:lnTo>
                      <a:pt x="4701" y="232"/>
                    </a:lnTo>
                    <a:lnTo>
                      <a:pt x="4639" y="462"/>
                    </a:lnTo>
                    <a:lnTo>
                      <a:pt x="4639" y="460"/>
                    </a:lnTo>
                    <a:lnTo>
                      <a:pt x="4703" y="230"/>
                    </a:lnTo>
                    <a:moveTo>
                      <a:pt x="4803" y="171"/>
                    </a:moveTo>
                    <a:lnTo>
                      <a:pt x="4803" y="171"/>
                    </a:lnTo>
                    <a:lnTo>
                      <a:pt x="4800" y="171"/>
                    </a:lnTo>
                    <a:lnTo>
                      <a:pt x="4800" y="173"/>
                    </a:lnTo>
                    <a:lnTo>
                      <a:pt x="4800" y="206"/>
                    </a:lnTo>
                    <a:lnTo>
                      <a:pt x="4803" y="206"/>
                    </a:lnTo>
                    <a:lnTo>
                      <a:pt x="4803" y="171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0"/>
                    </a:lnTo>
                    <a:lnTo>
                      <a:pt x="4850" y="147"/>
                    </a:lnTo>
                    <a:lnTo>
                      <a:pt x="4852" y="147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7" y="0"/>
                    </a:lnTo>
                    <a:lnTo>
                      <a:pt x="4907" y="0"/>
                    </a:lnTo>
                    <a:lnTo>
                      <a:pt x="4907" y="147"/>
                    </a:lnTo>
                    <a:lnTo>
                      <a:pt x="4909" y="147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7" name="Freeform 120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close/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close/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close/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close/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close/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close/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8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8" name="Freeform 121"/>
              <p:cNvSpPr>
                <a:spLocks noEditPoints="1"/>
              </p:cNvSpPr>
              <p:nvPr/>
            </p:nvSpPr>
            <p:spPr bwMode="auto">
              <a:xfrm>
                <a:off x="23" y="1684"/>
                <a:ext cx="7028" cy="1669"/>
              </a:xfrm>
              <a:custGeom>
                <a:avLst/>
                <a:gdLst>
                  <a:gd name="T0" fmla="*/ 3 w 7028"/>
                  <a:gd name="T1" fmla="*/ 1510 h 1669"/>
                  <a:gd name="T2" fmla="*/ 5666 w 7028"/>
                  <a:gd name="T3" fmla="*/ 1425 h 1669"/>
                  <a:gd name="T4" fmla="*/ 3710 w 7028"/>
                  <a:gd name="T5" fmla="*/ 1222 h 1669"/>
                  <a:gd name="T6" fmla="*/ 5831 w 7028"/>
                  <a:gd name="T7" fmla="*/ 1207 h 1669"/>
                  <a:gd name="T8" fmla="*/ 5831 w 7028"/>
                  <a:gd name="T9" fmla="*/ 1302 h 1669"/>
                  <a:gd name="T10" fmla="*/ 1665 w 7028"/>
                  <a:gd name="T11" fmla="*/ 1158 h 1669"/>
                  <a:gd name="T12" fmla="*/ 1688 w 7028"/>
                  <a:gd name="T13" fmla="*/ 1132 h 1669"/>
                  <a:gd name="T14" fmla="*/ 5857 w 7028"/>
                  <a:gd name="T15" fmla="*/ 1127 h 1669"/>
                  <a:gd name="T16" fmla="*/ 5857 w 7028"/>
                  <a:gd name="T17" fmla="*/ 1127 h 1669"/>
                  <a:gd name="T18" fmla="*/ 6323 w 7028"/>
                  <a:gd name="T19" fmla="*/ 1340 h 1669"/>
                  <a:gd name="T20" fmla="*/ 1445 w 7028"/>
                  <a:gd name="T21" fmla="*/ 1125 h 1669"/>
                  <a:gd name="T22" fmla="*/ 1464 w 7028"/>
                  <a:gd name="T23" fmla="*/ 1082 h 1669"/>
                  <a:gd name="T24" fmla="*/ 1464 w 7028"/>
                  <a:gd name="T25" fmla="*/ 1106 h 1669"/>
                  <a:gd name="T26" fmla="*/ 2859 w 7028"/>
                  <a:gd name="T27" fmla="*/ 1063 h 1669"/>
                  <a:gd name="T28" fmla="*/ 5933 w 7028"/>
                  <a:gd name="T29" fmla="*/ 1042 h 1669"/>
                  <a:gd name="T30" fmla="*/ 5933 w 7028"/>
                  <a:gd name="T31" fmla="*/ 1106 h 1669"/>
                  <a:gd name="T32" fmla="*/ 2878 w 7028"/>
                  <a:gd name="T33" fmla="*/ 1044 h 1669"/>
                  <a:gd name="T34" fmla="*/ 3772 w 7028"/>
                  <a:gd name="T35" fmla="*/ 992 h 1669"/>
                  <a:gd name="T36" fmla="*/ 3772 w 7028"/>
                  <a:gd name="T37" fmla="*/ 992 h 1669"/>
                  <a:gd name="T38" fmla="*/ 5949 w 7028"/>
                  <a:gd name="T39" fmla="*/ 1025 h 1669"/>
                  <a:gd name="T40" fmla="*/ 6342 w 7028"/>
                  <a:gd name="T41" fmla="*/ 935 h 1669"/>
                  <a:gd name="T42" fmla="*/ 6339 w 7028"/>
                  <a:gd name="T43" fmla="*/ 1108 h 1669"/>
                  <a:gd name="T44" fmla="*/ 3845 w 7028"/>
                  <a:gd name="T45" fmla="*/ 928 h 1669"/>
                  <a:gd name="T46" fmla="*/ 6384 w 7028"/>
                  <a:gd name="T47" fmla="*/ 895 h 1669"/>
                  <a:gd name="T48" fmla="*/ 6387 w 7028"/>
                  <a:gd name="T49" fmla="*/ 895 h 1669"/>
                  <a:gd name="T50" fmla="*/ 6389 w 7028"/>
                  <a:gd name="T51" fmla="*/ 890 h 1669"/>
                  <a:gd name="T52" fmla="*/ 6399 w 7028"/>
                  <a:gd name="T53" fmla="*/ 850 h 1669"/>
                  <a:gd name="T54" fmla="*/ 6399 w 7028"/>
                  <a:gd name="T55" fmla="*/ 869 h 1669"/>
                  <a:gd name="T56" fmla="*/ 804 w 7028"/>
                  <a:gd name="T57" fmla="*/ 829 h 1669"/>
                  <a:gd name="T58" fmla="*/ 3100 w 7028"/>
                  <a:gd name="T59" fmla="*/ 762 h 1669"/>
                  <a:gd name="T60" fmla="*/ 3102 w 7028"/>
                  <a:gd name="T61" fmla="*/ 762 h 1669"/>
                  <a:gd name="T62" fmla="*/ 1010 w 7028"/>
                  <a:gd name="T63" fmla="*/ 805 h 1669"/>
                  <a:gd name="T64" fmla="*/ 5131 w 7028"/>
                  <a:gd name="T65" fmla="*/ 949 h 1669"/>
                  <a:gd name="T66" fmla="*/ 3138 w 7028"/>
                  <a:gd name="T67" fmla="*/ 658 h 1669"/>
                  <a:gd name="T68" fmla="*/ 97 w 7028"/>
                  <a:gd name="T69" fmla="*/ 616 h 1669"/>
                  <a:gd name="T70" fmla="*/ 5254 w 7028"/>
                  <a:gd name="T71" fmla="*/ 608 h 1669"/>
                  <a:gd name="T72" fmla="*/ 5254 w 7028"/>
                  <a:gd name="T73" fmla="*/ 608 h 1669"/>
                  <a:gd name="T74" fmla="*/ 3282 w 7028"/>
                  <a:gd name="T75" fmla="*/ 634 h 1669"/>
                  <a:gd name="T76" fmla="*/ 300 w 7028"/>
                  <a:gd name="T77" fmla="*/ 549 h 1669"/>
                  <a:gd name="T78" fmla="*/ 7025 w 7028"/>
                  <a:gd name="T79" fmla="*/ 509 h 1669"/>
                  <a:gd name="T80" fmla="*/ 4195 w 7028"/>
                  <a:gd name="T81" fmla="*/ 502 h 1669"/>
                  <a:gd name="T82" fmla="*/ 4195 w 7028"/>
                  <a:gd name="T83" fmla="*/ 502 h 1669"/>
                  <a:gd name="T84" fmla="*/ 3299 w 7028"/>
                  <a:gd name="T85" fmla="*/ 563 h 1669"/>
                  <a:gd name="T86" fmla="*/ 4039 w 7028"/>
                  <a:gd name="T87" fmla="*/ 455 h 1669"/>
                  <a:gd name="T88" fmla="*/ 3954 w 7028"/>
                  <a:gd name="T89" fmla="*/ 642 h 1669"/>
                  <a:gd name="T90" fmla="*/ 4039 w 7028"/>
                  <a:gd name="T91" fmla="*/ 455 h 1669"/>
                  <a:gd name="T92" fmla="*/ 3329 w 7028"/>
                  <a:gd name="T93" fmla="*/ 478 h 1669"/>
                  <a:gd name="T94" fmla="*/ 4041 w 7028"/>
                  <a:gd name="T95" fmla="*/ 393 h 1669"/>
                  <a:gd name="T96" fmla="*/ 4044 w 7028"/>
                  <a:gd name="T97" fmla="*/ 391 h 1669"/>
                  <a:gd name="T98" fmla="*/ 1811 w 7028"/>
                  <a:gd name="T99" fmla="*/ 1108 h 1669"/>
                  <a:gd name="T100" fmla="*/ 1937 w 7028"/>
                  <a:gd name="T101" fmla="*/ 346 h 1669"/>
                  <a:gd name="T102" fmla="*/ 4051 w 7028"/>
                  <a:gd name="T103" fmla="*/ 329 h 1669"/>
                  <a:gd name="T104" fmla="*/ 4051 w 7028"/>
                  <a:gd name="T105" fmla="*/ 327 h 1669"/>
                  <a:gd name="T106" fmla="*/ 2029 w 7028"/>
                  <a:gd name="T107" fmla="*/ 310 h 1669"/>
                  <a:gd name="T108" fmla="*/ 4639 w 7028"/>
                  <a:gd name="T109" fmla="*/ 462 h 1669"/>
                  <a:gd name="T110" fmla="*/ 4803 w 7028"/>
                  <a:gd name="T111" fmla="*/ 170 h 1669"/>
                  <a:gd name="T112" fmla="*/ 4855 w 7028"/>
                  <a:gd name="T113" fmla="*/ 0 h 1669"/>
                  <a:gd name="T114" fmla="*/ 4855 w 7028"/>
                  <a:gd name="T115" fmla="*/ 0 h 1669"/>
                  <a:gd name="T116" fmla="*/ 4911 w 7028"/>
                  <a:gd name="T117" fmla="*/ 149 h 1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8" h="1669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0"/>
                    </a:lnTo>
                    <a:lnTo>
                      <a:pt x="3" y="1510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8"/>
                    </a:lnTo>
                    <a:lnTo>
                      <a:pt x="5666" y="1425"/>
                    </a:lnTo>
                    <a:lnTo>
                      <a:pt x="5668" y="1425"/>
                    </a:lnTo>
                    <a:lnTo>
                      <a:pt x="5668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68"/>
                    </a:lnTo>
                    <a:lnTo>
                      <a:pt x="3712" y="1368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2"/>
                    </a:lnTo>
                    <a:lnTo>
                      <a:pt x="5831" y="1302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77"/>
                    </a:lnTo>
                    <a:lnTo>
                      <a:pt x="1667" y="1177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34"/>
                    </a:lnTo>
                    <a:lnTo>
                      <a:pt x="1691" y="1134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86"/>
                    </a:lnTo>
                    <a:lnTo>
                      <a:pt x="5857" y="1186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0"/>
                    </a:lnTo>
                    <a:lnTo>
                      <a:pt x="6323" y="1340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77"/>
                    </a:lnTo>
                    <a:lnTo>
                      <a:pt x="1447" y="1177"/>
                    </a:lnTo>
                    <a:lnTo>
                      <a:pt x="1447" y="1125"/>
                    </a:lnTo>
                    <a:moveTo>
                      <a:pt x="1464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6"/>
                    </a:lnTo>
                    <a:lnTo>
                      <a:pt x="1464" y="1106"/>
                    </a:lnTo>
                    <a:lnTo>
                      <a:pt x="1464" y="1082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17"/>
                    </a:lnTo>
                    <a:lnTo>
                      <a:pt x="2861" y="1217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3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06"/>
                    </a:lnTo>
                    <a:lnTo>
                      <a:pt x="5933" y="1106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0"/>
                    </a:lnTo>
                    <a:lnTo>
                      <a:pt x="3772" y="1200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2"/>
                    </a:lnTo>
                    <a:lnTo>
                      <a:pt x="5949" y="1025"/>
                    </a:lnTo>
                    <a:lnTo>
                      <a:pt x="5949" y="1025"/>
                    </a:lnTo>
                    <a:lnTo>
                      <a:pt x="5949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08"/>
                    </a:lnTo>
                    <a:lnTo>
                      <a:pt x="6342" y="1108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1"/>
                    </a:lnTo>
                    <a:lnTo>
                      <a:pt x="3847" y="971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1"/>
                    </a:lnTo>
                    <a:lnTo>
                      <a:pt x="6382" y="911"/>
                    </a:lnTo>
                    <a:lnTo>
                      <a:pt x="6387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9" y="871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46"/>
                    </a:lnTo>
                    <a:lnTo>
                      <a:pt x="806" y="1046"/>
                    </a:lnTo>
                    <a:lnTo>
                      <a:pt x="806" y="826"/>
                    </a:lnTo>
                    <a:moveTo>
                      <a:pt x="3102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56"/>
                    </a:lnTo>
                    <a:lnTo>
                      <a:pt x="3102" y="956"/>
                    </a:lnTo>
                    <a:lnTo>
                      <a:pt x="3102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05"/>
                    </a:lnTo>
                    <a:lnTo>
                      <a:pt x="1010" y="805"/>
                    </a:lnTo>
                    <a:lnTo>
                      <a:pt x="1010" y="753"/>
                    </a:lnTo>
                    <a:moveTo>
                      <a:pt x="5134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49"/>
                    </a:lnTo>
                    <a:lnTo>
                      <a:pt x="5134" y="949"/>
                    </a:lnTo>
                    <a:lnTo>
                      <a:pt x="5134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39"/>
                    </a:lnTo>
                    <a:lnTo>
                      <a:pt x="3140" y="73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30"/>
                    </a:lnTo>
                    <a:lnTo>
                      <a:pt x="97" y="1430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08"/>
                    </a:lnTo>
                    <a:lnTo>
                      <a:pt x="5254" y="708"/>
                    </a:lnTo>
                    <a:lnTo>
                      <a:pt x="5254" y="608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34"/>
                    </a:lnTo>
                    <a:lnTo>
                      <a:pt x="3284" y="634"/>
                    </a:lnTo>
                    <a:lnTo>
                      <a:pt x="3284" y="580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4"/>
                    </a:lnTo>
                    <a:lnTo>
                      <a:pt x="303" y="594"/>
                    </a:lnTo>
                    <a:lnTo>
                      <a:pt x="303" y="547"/>
                    </a:lnTo>
                    <a:moveTo>
                      <a:pt x="7028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69"/>
                    </a:lnTo>
                    <a:lnTo>
                      <a:pt x="7028" y="1669"/>
                    </a:lnTo>
                    <a:lnTo>
                      <a:pt x="7028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40" y="575"/>
                    </a:lnTo>
                    <a:lnTo>
                      <a:pt x="4140" y="575"/>
                    </a:lnTo>
                    <a:lnTo>
                      <a:pt x="4195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9" y="500"/>
                    </a:lnTo>
                    <a:lnTo>
                      <a:pt x="3299" y="502"/>
                    </a:lnTo>
                    <a:lnTo>
                      <a:pt x="3299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63"/>
                    </a:lnTo>
                    <a:lnTo>
                      <a:pt x="3301" y="500"/>
                    </a:lnTo>
                    <a:moveTo>
                      <a:pt x="4039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4" y="642"/>
                    </a:lnTo>
                    <a:lnTo>
                      <a:pt x="3954" y="904"/>
                    </a:lnTo>
                    <a:lnTo>
                      <a:pt x="3956" y="904"/>
                    </a:lnTo>
                    <a:lnTo>
                      <a:pt x="3956" y="642"/>
                    </a:lnTo>
                    <a:lnTo>
                      <a:pt x="4039" y="488"/>
                    </a:lnTo>
                    <a:lnTo>
                      <a:pt x="4039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78"/>
                    </a:lnTo>
                    <a:lnTo>
                      <a:pt x="3329" y="478"/>
                    </a:lnTo>
                    <a:lnTo>
                      <a:pt x="3329" y="433"/>
                    </a:lnTo>
                    <a:moveTo>
                      <a:pt x="4044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08"/>
                    </a:lnTo>
                    <a:lnTo>
                      <a:pt x="1811" y="110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4"/>
                    </a:lnTo>
                    <a:lnTo>
                      <a:pt x="1937" y="346"/>
                    </a:lnTo>
                    <a:lnTo>
                      <a:pt x="1939" y="346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4"/>
                    </a:lnTo>
                    <a:lnTo>
                      <a:pt x="4051" y="384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9" y="294"/>
                    </a:lnTo>
                    <a:lnTo>
                      <a:pt x="2029" y="294"/>
                    </a:lnTo>
                    <a:lnTo>
                      <a:pt x="2029" y="310"/>
                    </a:lnTo>
                    <a:lnTo>
                      <a:pt x="2029" y="310"/>
                    </a:lnTo>
                    <a:lnTo>
                      <a:pt x="2029" y="294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2"/>
                    </a:lnTo>
                    <a:lnTo>
                      <a:pt x="4642" y="462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3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08"/>
                    </a:lnTo>
                    <a:lnTo>
                      <a:pt x="4805" y="208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49"/>
                    </a:lnTo>
                    <a:lnTo>
                      <a:pt x="4855" y="149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49"/>
                    </a:lnTo>
                    <a:lnTo>
                      <a:pt x="4911" y="14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9" name="Freeform 122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close/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close/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close/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close/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close/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close/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close/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close/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close/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close/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close/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close/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close/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close/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close/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close/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close/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close/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close/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close/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close/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close/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close/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close/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close/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close/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close/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7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0" name="Freeform 123"/>
              <p:cNvSpPr>
                <a:spLocks noEditPoints="1"/>
              </p:cNvSpPr>
              <p:nvPr/>
            </p:nvSpPr>
            <p:spPr bwMode="auto">
              <a:xfrm>
                <a:off x="26" y="1682"/>
                <a:ext cx="7025" cy="1671"/>
              </a:xfrm>
              <a:custGeom>
                <a:avLst/>
                <a:gdLst>
                  <a:gd name="T0" fmla="*/ 2 w 7025"/>
                  <a:gd name="T1" fmla="*/ 1512 h 1671"/>
                  <a:gd name="T2" fmla="*/ 5665 w 7025"/>
                  <a:gd name="T3" fmla="*/ 1427 h 1671"/>
                  <a:gd name="T4" fmla="*/ 3709 w 7025"/>
                  <a:gd name="T5" fmla="*/ 1221 h 1671"/>
                  <a:gd name="T6" fmla="*/ 5830 w 7025"/>
                  <a:gd name="T7" fmla="*/ 1207 h 1671"/>
                  <a:gd name="T8" fmla="*/ 5830 w 7025"/>
                  <a:gd name="T9" fmla="*/ 1304 h 1671"/>
                  <a:gd name="T10" fmla="*/ 1664 w 7025"/>
                  <a:gd name="T11" fmla="*/ 1157 h 1671"/>
                  <a:gd name="T12" fmla="*/ 1688 w 7025"/>
                  <a:gd name="T13" fmla="*/ 1131 h 1671"/>
                  <a:gd name="T14" fmla="*/ 5856 w 7025"/>
                  <a:gd name="T15" fmla="*/ 1127 h 1671"/>
                  <a:gd name="T16" fmla="*/ 5856 w 7025"/>
                  <a:gd name="T17" fmla="*/ 1188 h 1671"/>
                  <a:gd name="T18" fmla="*/ 6320 w 7025"/>
                  <a:gd name="T19" fmla="*/ 1129 h 1671"/>
                  <a:gd name="T20" fmla="*/ 1444 w 7025"/>
                  <a:gd name="T21" fmla="*/ 1124 h 1671"/>
                  <a:gd name="T22" fmla="*/ 1447 w 7025"/>
                  <a:gd name="T23" fmla="*/ 1124 h 1671"/>
                  <a:gd name="T24" fmla="*/ 1463 w 7025"/>
                  <a:gd name="T25" fmla="*/ 1108 h 1671"/>
                  <a:gd name="T26" fmla="*/ 2858 w 7025"/>
                  <a:gd name="T27" fmla="*/ 1063 h 1671"/>
                  <a:gd name="T28" fmla="*/ 2861 w 7025"/>
                  <a:gd name="T29" fmla="*/ 1063 h 1671"/>
                  <a:gd name="T30" fmla="*/ 5930 w 7025"/>
                  <a:gd name="T31" fmla="*/ 1108 h 1671"/>
                  <a:gd name="T32" fmla="*/ 2875 w 7025"/>
                  <a:gd name="T33" fmla="*/ 1013 h 1671"/>
                  <a:gd name="T34" fmla="*/ 2877 w 7025"/>
                  <a:gd name="T35" fmla="*/ 1011 h 1671"/>
                  <a:gd name="T36" fmla="*/ 3771 w 7025"/>
                  <a:gd name="T37" fmla="*/ 1202 h 1671"/>
                  <a:gd name="T38" fmla="*/ 5946 w 7025"/>
                  <a:gd name="T39" fmla="*/ 1025 h 1671"/>
                  <a:gd name="T40" fmla="*/ 6339 w 7025"/>
                  <a:gd name="T41" fmla="*/ 935 h 1671"/>
                  <a:gd name="T42" fmla="*/ 6339 w 7025"/>
                  <a:gd name="T43" fmla="*/ 1110 h 1671"/>
                  <a:gd name="T44" fmla="*/ 3844 w 7025"/>
                  <a:gd name="T45" fmla="*/ 928 h 1671"/>
                  <a:gd name="T46" fmla="*/ 6384 w 7025"/>
                  <a:gd name="T47" fmla="*/ 895 h 1671"/>
                  <a:gd name="T48" fmla="*/ 6379 w 7025"/>
                  <a:gd name="T49" fmla="*/ 913 h 1671"/>
                  <a:gd name="T50" fmla="*/ 6388 w 7025"/>
                  <a:gd name="T51" fmla="*/ 880 h 1671"/>
                  <a:gd name="T52" fmla="*/ 6388 w 7025"/>
                  <a:gd name="T53" fmla="*/ 878 h 1671"/>
                  <a:gd name="T54" fmla="*/ 6398 w 7025"/>
                  <a:gd name="T55" fmla="*/ 871 h 1671"/>
                  <a:gd name="T56" fmla="*/ 803 w 7025"/>
                  <a:gd name="T57" fmla="*/ 826 h 1671"/>
                  <a:gd name="T58" fmla="*/ 3099 w 7025"/>
                  <a:gd name="T59" fmla="*/ 762 h 1671"/>
                  <a:gd name="T60" fmla="*/ 3099 w 7025"/>
                  <a:gd name="T61" fmla="*/ 958 h 1671"/>
                  <a:gd name="T62" fmla="*/ 1007 w 7025"/>
                  <a:gd name="T63" fmla="*/ 807 h 1671"/>
                  <a:gd name="T64" fmla="*/ 5131 w 7025"/>
                  <a:gd name="T65" fmla="*/ 734 h 1671"/>
                  <a:gd name="T66" fmla="*/ 3137 w 7025"/>
                  <a:gd name="T67" fmla="*/ 655 h 1671"/>
                  <a:gd name="T68" fmla="*/ 97 w 7025"/>
                  <a:gd name="T69" fmla="*/ 615 h 1671"/>
                  <a:gd name="T70" fmla="*/ 97 w 7025"/>
                  <a:gd name="T71" fmla="*/ 615 h 1671"/>
                  <a:gd name="T72" fmla="*/ 5253 w 7025"/>
                  <a:gd name="T73" fmla="*/ 710 h 1671"/>
                  <a:gd name="T74" fmla="*/ 3281 w 7025"/>
                  <a:gd name="T75" fmla="*/ 582 h 1671"/>
                  <a:gd name="T76" fmla="*/ 300 w 7025"/>
                  <a:gd name="T77" fmla="*/ 547 h 1671"/>
                  <a:gd name="T78" fmla="*/ 7025 w 7025"/>
                  <a:gd name="T79" fmla="*/ 509 h 1671"/>
                  <a:gd name="T80" fmla="*/ 7025 w 7025"/>
                  <a:gd name="T81" fmla="*/ 509 h 1671"/>
                  <a:gd name="T82" fmla="*/ 4137 w 7025"/>
                  <a:gd name="T83" fmla="*/ 577 h 1671"/>
                  <a:gd name="T84" fmla="*/ 3298 w 7025"/>
                  <a:gd name="T85" fmla="*/ 502 h 1671"/>
                  <a:gd name="T86" fmla="*/ 3300 w 7025"/>
                  <a:gd name="T87" fmla="*/ 502 h 1671"/>
                  <a:gd name="T88" fmla="*/ 4036 w 7025"/>
                  <a:gd name="T89" fmla="*/ 490 h 1671"/>
                  <a:gd name="T90" fmla="*/ 4036 w 7025"/>
                  <a:gd name="T91" fmla="*/ 487 h 1671"/>
                  <a:gd name="T92" fmla="*/ 3326 w 7025"/>
                  <a:gd name="T93" fmla="*/ 480 h 1671"/>
                  <a:gd name="T94" fmla="*/ 4041 w 7025"/>
                  <a:gd name="T95" fmla="*/ 390 h 1671"/>
                  <a:gd name="T96" fmla="*/ 4043 w 7025"/>
                  <a:gd name="T97" fmla="*/ 447 h 1671"/>
                  <a:gd name="T98" fmla="*/ 1808 w 7025"/>
                  <a:gd name="T99" fmla="*/ 1110 h 1671"/>
                  <a:gd name="T100" fmla="*/ 1936 w 7025"/>
                  <a:gd name="T101" fmla="*/ 336 h 1671"/>
                  <a:gd name="T102" fmla="*/ 4048 w 7025"/>
                  <a:gd name="T103" fmla="*/ 326 h 1671"/>
                  <a:gd name="T104" fmla="*/ 4050 w 7025"/>
                  <a:gd name="T105" fmla="*/ 381 h 1671"/>
                  <a:gd name="T106" fmla="*/ 2026 w 7025"/>
                  <a:gd name="T107" fmla="*/ 312 h 1671"/>
                  <a:gd name="T108" fmla="*/ 4703 w 7025"/>
                  <a:gd name="T109" fmla="*/ 234 h 1671"/>
                  <a:gd name="T110" fmla="*/ 4802 w 7025"/>
                  <a:gd name="T111" fmla="*/ 172 h 1671"/>
                  <a:gd name="T112" fmla="*/ 4804 w 7025"/>
                  <a:gd name="T113" fmla="*/ 172 h 1671"/>
                  <a:gd name="T114" fmla="*/ 4852 w 7025"/>
                  <a:gd name="T115" fmla="*/ 151 h 1671"/>
                  <a:gd name="T116" fmla="*/ 4908 w 7025"/>
                  <a:gd name="T117" fmla="*/ 151 h 16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1">
                    <a:moveTo>
                      <a:pt x="2" y="1453"/>
                    </a:moveTo>
                    <a:lnTo>
                      <a:pt x="0" y="1453"/>
                    </a:lnTo>
                    <a:lnTo>
                      <a:pt x="0" y="1453"/>
                    </a:lnTo>
                    <a:lnTo>
                      <a:pt x="0" y="1512"/>
                    </a:lnTo>
                    <a:lnTo>
                      <a:pt x="2" y="1512"/>
                    </a:lnTo>
                    <a:lnTo>
                      <a:pt x="2" y="1453"/>
                    </a:lnTo>
                    <a:moveTo>
                      <a:pt x="5665" y="1325"/>
                    </a:moveTo>
                    <a:lnTo>
                      <a:pt x="5665" y="1325"/>
                    </a:lnTo>
                    <a:lnTo>
                      <a:pt x="5665" y="1328"/>
                    </a:lnTo>
                    <a:lnTo>
                      <a:pt x="5665" y="1427"/>
                    </a:lnTo>
                    <a:lnTo>
                      <a:pt x="5665" y="1427"/>
                    </a:lnTo>
                    <a:lnTo>
                      <a:pt x="5665" y="1325"/>
                    </a:lnTo>
                    <a:moveTo>
                      <a:pt x="3712" y="1221"/>
                    </a:moveTo>
                    <a:lnTo>
                      <a:pt x="3709" y="1221"/>
                    </a:lnTo>
                    <a:lnTo>
                      <a:pt x="3709" y="1221"/>
                    </a:lnTo>
                    <a:lnTo>
                      <a:pt x="3709" y="1224"/>
                    </a:lnTo>
                    <a:lnTo>
                      <a:pt x="3709" y="1370"/>
                    </a:lnTo>
                    <a:lnTo>
                      <a:pt x="3712" y="1370"/>
                    </a:lnTo>
                    <a:lnTo>
                      <a:pt x="3712" y="1221"/>
                    </a:lnTo>
                    <a:moveTo>
                      <a:pt x="5830" y="1207"/>
                    </a:moveTo>
                    <a:lnTo>
                      <a:pt x="5830" y="1207"/>
                    </a:lnTo>
                    <a:lnTo>
                      <a:pt x="5828" y="1207"/>
                    </a:lnTo>
                    <a:lnTo>
                      <a:pt x="5828" y="1209"/>
                    </a:lnTo>
                    <a:lnTo>
                      <a:pt x="5828" y="1304"/>
                    </a:lnTo>
                    <a:lnTo>
                      <a:pt x="5830" y="1304"/>
                    </a:lnTo>
                    <a:lnTo>
                      <a:pt x="5830" y="1207"/>
                    </a:lnTo>
                    <a:moveTo>
                      <a:pt x="1667" y="1157"/>
                    </a:move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57"/>
                    </a:lnTo>
                    <a:lnTo>
                      <a:pt x="1664" y="1179"/>
                    </a:lnTo>
                    <a:lnTo>
                      <a:pt x="1667" y="1179"/>
                    </a:lnTo>
                    <a:lnTo>
                      <a:pt x="1667" y="1157"/>
                    </a:lnTo>
                    <a:moveTo>
                      <a:pt x="1688" y="1131"/>
                    </a:moveTo>
                    <a:lnTo>
                      <a:pt x="1688" y="1131"/>
                    </a:lnTo>
                    <a:lnTo>
                      <a:pt x="1688" y="1134"/>
                    </a:lnTo>
                    <a:lnTo>
                      <a:pt x="1688" y="1136"/>
                    </a:lnTo>
                    <a:lnTo>
                      <a:pt x="1688" y="1136"/>
                    </a:lnTo>
                    <a:lnTo>
                      <a:pt x="1688" y="1131"/>
                    </a:lnTo>
                    <a:moveTo>
                      <a:pt x="5856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188"/>
                    </a:lnTo>
                    <a:lnTo>
                      <a:pt x="5856" y="1188"/>
                    </a:lnTo>
                    <a:lnTo>
                      <a:pt x="5856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42"/>
                    </a:lnTo>
                    <a:lnTo>
                      <a:pt x="6322" y="1342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79"/>
                    </a:lnTo>
                    <a:lnTo>
                      <a:pt x="1447" y="1179"/>
                    </a:lnTo>
                    <a:lnTo>
                      <a:pt x="1447" y="1124"/>
                    </a:lnTo>
                    <a:moveTo>
                      <a:pt x="1463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08"/>
                    </a:lnTo>
                    <a:lnTo>
                      <a:pt x="1463" y="1108"/>
                    </a:lnTo>
                    <a:lnTo>
                      <a:pt x="1463" y="1105"/>
                    </a:lnTo>
                    <a:lnTo>
                      <a:pt x="1463" y="1105"/>
                    </a:lnTo>
                    <a:lnTo>
                      <a:pt x="1463" y="1084"/>
                    </a:lnTo>
                    <a:moveTo>
                      <a:pt x="2861" y="1063"/>
                    </a:moveTo>
                    <a:lnTo>
                      <a:pt x="2858" y="1063"/>
                    </a:lnTo>
                    <a:lnTo>
                      <a:pt x="2858" y="1063"/>
                    </a:lnTo>
                    <a:lnTo>
                      <a:pt x="2858" y="1065"/>
                    </a:lnTo>
                    <a:lnTo>
                      <a:pt x="2858" y="1219"/>
                    </a:lnTo>
                    <a:lnTo>
                      <a:pt x="2861" y="1219"/>
                    </a:lnTo>
                    <a:lnTo>
                      <a:pt x="2861" y="1063"/>
                    </a:lnTo>
                    <a:moveTo>
                      <a:pt x="5930" y="1041"/>
                    </a:moveTo>
                    <a:lnTo>
                      <a:pt x="5930" y="1041"/>
                    </a:lnTo>
                    <a:lnTo>
                      <a:pt x="5930" y="1041"/>
                    </a:lnTo>
                    <a:lnTo>
                      <a:pt x="5930" y="1044"/>
                    </a:lnTo>
                    <a:lnTo>
                      <a:pt x="5930" y="1108"/>
                    </a:lnTo>
                    <a:lnTo>
                      <a:pt x="5930" y="1108"/>
                    </a:lnTo>
                    <a:lnTo>
                      <a:pt x="5930" y="1041"/>
                    </a:lnTo>
                    <a:moveTo>
                      <a:pt x="2877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46"/>
                    </a:lnTo>
                    <a:lnTo>
                      <a:pt x="2877" y="1046"/>
                    </a:lnTo>
                    <a:lnTo>
                      <a:pt x="2877" y="1044"/>
                    </a:lnTo>
                    <a:lnTo>
                      <a:pt x="2877" y="1044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2"/>
                    </a:lnTo>
                    <a:lnTo>
                      <a:pt x="3771" y="1202"/>
                    </a:lnTo>
                    <a:lnTo>
                      <a:pt x="3771" y="992"/>
                    </a:lnTo>
                    <a:moveTo>
                      <a:pt x="5949" y="989"/>
                    </a:moveTo>
                    <a:lnTo>
                      <a:pt x="5946" y="989"/>
                    </a:lnTo>
                    <a:lnTo>
                      <a:pt x="5946" y="992"/>
                    </a:lnTo>
                    <a:lnTo>
                      <a:pt x="5946" y="1025"/>
                    </a:lnTo>
                    <a:lnTo>
                      <a:pt x="5949" y="1025"/>
                    </a:lnTo>
                    <a:lnTo>
                      <a:pt x="5949" y="1022"/>
                    </a:lnTo>
                    <a:lnTo>
                      <a:pt x="5949" y="1022"/>
                    </a:lnTo>
                    <a:lnTo>
                      <a:pt x="5949" y="989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7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1110"/>
                    </a:lnTo>
                    <a:lnTo>
                      <a:pt x="6339" y="935"/>
                    </a:lnTo>
                    <a:moveTo>
                      <a:pt x="3844" y="928"/>
                    </a:moveTo>
                    <a:lnTo>
                      <a:pt x="3844" y="928"/>
                    </a:lnTo>
                    <a:lnTo>
                      <a:pt x="3844" y="930"/>
                    </a:lnTo>
                    <a:lnTo>
                      <a:pt x="3844" y="973"/>
                    </a:lnTo>
                    <a:lnTo>
                      <a:pt x="3844" y="973"/>
                    </a:lnTo>
                    <a:lnTo>
                      <a:pt x="3844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9" y="913"/>
                    </a:lnTo>
                    <a:lnTo>
                      <a:pt x="6379" y="913"/>
                    </a:lnTo>
                    <a:lnTo>
                      <a:pt x="6384" y="895"/>
                    </a:lnTo>
                    <a:moveTo>
                      <a:pt x="6388" y="878"/>
                    </a:moveTo>
                    <a:lnTo>
                      <a:pt x="6388" y="878"/>
                    </a:lnTo>
                    <a:lnTo>
                      <a:pt x="6388" y="878"/>
                    </a:lnTo>
                    <a:lnTo>
                      <a:pt x="6388" y="88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90"/>
                    </a:lnTo>
                    <a:lnTo>
                      <a:pt x="6388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3" y="826"/>
                    </a:lnTo>
                    <a:lnTo>
                      <a:pt x="803" y="828"/>
                    </a:lnTo>
                    <a:lnTo>
                      <a:pt x="803" y="1048"/>
                    </a:lnTo>
                    <a:lnTo>
                      <a:pt x="806" y="1048"/>
                    </a:lnTo>
                    <a:lnTo>
                      <a:pt x="806" y="826"/>
                    </a:lnTo>
                    <a:moveTo>
                      <a:pt x="3099" y="762"/>
                    </a:moveTo>
                    <a:lnTo>
                      <a:pt x="3099" y="762"/>
                    </a:lnTo>
                    <a:lnTo>
                      <a:pt x="3099" y="762"/>
                    </a:lnTo>
                    <a:lnTo>
                      <a:pt x="3099" y="764"/>
                    </a:lnTo>
                    <a:lnTo>
                      <a:pt x="3099" y="958"/>
                    </a:lnTo>
                    <a:lnTo>
                      <a:pt x="3099" y="958"/>
                    </a:lnTo>
                    <a:lnTo>
                      <a:pt x="3099" y="762"/>
                    </a:lnTo>
                    <a:moveTo>
                      <a:pt x="1009" y="752"/>
                    </a:moveTo>
                    <a:lnTo>
                      <a:pt x="1007" y="752"/>
                    </a:lnTo>
                    <a:lnTo>
                      <a:pt x="1007" y="755"/>
                    </a:lnTo>
                    <a:lnTo>
                      <a:pt x="1007" y="807"/>
                    </a:lnTo>
                    <a:lnTo>
                      <a:pt x="1009" y="807"/>
                    </a:lnTo>
                    <a:lnTo>
                      <a:pt x="1009" y="752"/>
                    </a:lnTo>
                    <a:moveTo>
                      <a:pt x="5133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51"/>
                    </a:lnTo>
                    <a:lnTo>
                      <a:pt x="5133" y="951"/>
                    </a:lnTo>
                    <a:lnTo>
                      <a:pt x="5133" y="731"/>
                    </a:lnTo>
                    <a:moveTo>
                      <a:pt x="3140" y="655"/>
                    </a:moveTo>
                    <a:lnTo>
                      <a:pt x="3137" y="655"/>
                    </a:lnTo>
                    <a:lnTo>
                      <a:pt x="3137" y="658"/>
                    </a:lnTo>
                    <a:lnTo>
                      <a:pt x="3137" y="741"/>
                    </a:lnTo>
                    <a:lnTo>
                      <a:pt x="3140" y="741"/>
                    </a:lnTo>
                    <a:lnTo>
                      <a:pt x="3140" y="655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32"/>
                    </a:lnTo>
                    <a:lnTo>
                      <a:pt x="97" y="1432"/>
                    </a:lnTo>
                    <a:lnTo>
                      <a:pt x="97" y="615"/>
                    </a:lnTo>
                    <a:moveTo>
                      <a:pt x="5253" y="608"/>
                    </a:moveTo>
                    <a:lnTo>
                      <a:pt x="5251" y="608"/>
                    </a:lnTo>
                    <a:lnTo>
                      <a:pt x="5251" y="610"/>
                    </a:lnTo>
                    <a:lnTo>
                      <a:pt x="5251" y="710"/>
                    </a:lnTo>
                    <a:lnTo>
                      <a:pt x="5253" y="710"/>
                    </a:lnTo>
                    <a:lnTo>
                      <a:pt x="5253" y="608"/>
                    </a:lnTo>
                    <a:moveTo>
                      <a:pt x="3281" y="582"/>
                    </a:move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582"/>
                    </a:lnTo>
                    <a:lnTo>
                      <a:pt x="3281" y="636"/>
                    </a:lnTo>
                    <a:lnTo>
                      <a:pt x="3281" y="636"/>
                    </a:lnTo>
                    <a:lnTo>
                      <a:pt x="3281" y="582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596"/>
                    </a:lnTo>
                    <a:lnTo>
                      <a:pt x="302" y="596"/>
                    </a:lnTo>
                    <a:lnTo>
                      <a:pt x="302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71"/>
                    </a:lnTo>
                    <a:lnTo>
                      <a:pt x="7025" y="1671"/>
                    </a:lnTo>
                    <a:lnTo>
                      <a:pt x="7025" y="509"/>
                    </a:lnTo>
                    <a:moveTo>
                      <a:pt x="4194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7" y="577"/>
                    </a:lnTo>
                    <a:lnTo>
                      <a:pt x="4137" y="577"/>
                    </a:lnTo>
                    <a:lnTo>
                      <a:pt x="4194" y="502"/>
                    </a:lnTo>
                    <a:moveTo>
                      <a:pt x="3300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65"/>
                    </a:lnTo>
                    <a:lnTo>
                      <a:pt x="3300" y="565"/>
                    </a:lnTo>
                    <a:lnTo>
                      <a:pt x="3300" y="563"/>
                    </a:lnTo>
                    <a:lnTo>
                      <a:pt x="3300" y="563"/>
                    </a:lnTo>
                    <a:lnTo>
                      <a:pt x="3300" y="502"/>
                    </a:lnTo>
                    <a:moveTo>
                      <a:pt x="4036" y="454"/>
                    </a:moveTo>
                    <a:lnTo>
                      <a:pt x="4036" y="454"/>
                    </a:lnTo>
                    <a:lnTo>
                      <a:pt x="4036" y="454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06"/>
                    </a:lnTo>
                    <a:lnTo>
                      <a:pt x="3955" y="906"/>
                    </a:lnTo>
                    <a:lnTo>
                      <a:pt x="3955" y="641"/>
                    </a:lnTo>
                    <a:lnTo>
                      <a:pt x="4036" y="487"/>
                    </a:lnTo>
                    <a:lnTo>
                      <a:pt x="4036" y="454"/>
                    </a:lnTo>
                    <a:moveTo>
                      <a:pt x="3329" y="433"/>
                    </a:moveTo>
                    <a:lnTo>
                      <a:pt x="3326" y="433"/>
                    </a:lnTo>
                    <a:lnTo>
                      <a:pt x="3326" y="435"/>
                    </a:lnTo>
                    <a:lnTo>
                      <a:pt x="3326" y="480"/>
                    </a:lnTo>
                    <a:lnTo>
                      <a:pt x="3329" y="480"/>
                    </a:lnTo>
                    <a:lnTo>
                      <a:pt x="3329" y="433"/>
                    </a:lnTo>
                    <a:moveTo>
                      <a:pt x="4043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447"/>
                    </a:lnTo>
                    <a:lnTo>
                      <a:pt x="4043" y="390"/>
                    </a:lnTo>
                    <a:moveTo>
                      <a:pt x="1811" y="369"/>
                    </a:moveTo>
                    <a:lnTo>
                      <a:pt x="1808" y="369"/>
                    </a:lnTo>
                    <a:lnTo>
                      <a:pt x="1808" y="369"/>
                    </a:lnTo>
                    <a:lnTo>
                      <a:pt x="1808" y="1110"/>
                    </a:lnTo>
                    <a:lnTo>
                      <a:pt x="1811" y="1110"/>
                    </a:lnTo>
                    <a:lnTo>
                      <a:pt x="1811" y="369"/>
                    </a:lnTo>
                    <a:moveTo>
                      <a:pt x="1938" y="333"/>
                    </a:moveTo>
                    <a:lnTo>
                      <a:pt x="1936" y="333"/>
                    </a:lnTo>
                    <a:lnTo>
                      <a:pt x="1936" y="336"/>
                    </a:lnTo>
                    <a:lnTo>
                      <a:pt x="1936" y="348"/>
                    </a:lnTo>
                    <a:lnTo>
                      <a:pt x="1938" y="348"/>
                    </a:lnTo>
                    <a:lnTo>
                      <a:pt x="1938" y="333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0" y="383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3"/>
                    </a:moveTo>
                    <a:lnTo>
                      <a:pt x="2026" y="293"/>
                    </a:lnTo>
                    <a:lnTo>
                      <a:pt x="2026" y="296"/>
                    </a:lnTo>
                    <a:lnTo>
                      <a:pt x="2026" y="312"/>
                    </a:lnTo>
                    <a:lnTo>
                      <a:pt x="2028" y="312"/>
                    </a:lnTo>
                    <a:lnTo>
                      <a:pt x="2028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9" y="464"/>
                    </a:lnTo>
                    <a:lnTo>
                      <a:pt x="4641" y="461"/>
                    </a:lnTo>
                    <a:lnTo>
                      <a:pt x="4703" y="232"/>
                    </a:lnTo>
                    <a:moveTo>
                      <a:pt x="4804" y="172"/>
                    </a:move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172"/>
                    </a:lnTo>
                    <a:lnTo>
                      <a:pt x="4802" y="210"/>
                    </a:lnTo>
                    <a:lnTo>
                      <a:pt x="4804" y="210"/>
                    </a:lnTo>
                    <a:lnTo>
                      <a:pt x="4804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51"/>
                    </a:lnTo>
                    <a:lnTo>
                      <a:pt x="4852" y="15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2"/>
                    </a:lnTo>
                    <a:lnTo>
                      <a:pt x="4908" y="151"/>
                    </a:lnTo>
                    <a:lnTo>
                      <a:pt x="4911" y="15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1" name="Freeform 124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close/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close/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close/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close/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close/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close/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close/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close/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5C5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2" name="Freeform 125"/>
              <p:cNvSpPr>
                <a:spLocks noEditPoints="1"/>
              </p:cNvSpPr>
              <p:nvPr/>
            </p:nvSpPr>
            <p:spPr bwMode="auto">
              <a:xfrm>
                <a:off x="28" y="1679"/>
                <a:ext cx="7025" cy="1674"/>
              </a:xfrm>
              <a:custGeom>
                <a:avLst/>
                <a:gdLst>
                  <a:gd name="T0" fmla="*/ 2 w 7025"/>
                  <a:gd name="T1" fmla="*/ 1515 h 1674"/>
                  <a:gd name="T2" fmla="*/ 5663 w 7025"/>
                  <a:gd name="T3" fmla="*/ 1430 h 1674"/>
                  <a:gd name="T4" fmla="*/ 3710 w 7025"/>
                  <a:gd name="T5" fmla="*/ 1222 h 1674"/>
                  <a:gd name="T6" fmla="*/ 5831 w 7025"/>
                  <a:gd name="T7" fmla="*/ 1210 h 1674"/>
                  <a:gd name="T8" fmla="*/ 5831 w 7025"/>
                  <a:gd name="T9" fmla="*/ 1307 h 1674"/>
                  <a:gd name="T10" fmla="*/ 1665 w 7025"/>
                  <a:gd name="T11" fmla="*/ 1160 h 1674"/>
                  <a:gd name="T12" fmla="*/ 1686 w 7025"/>
                  <a:gd name="T13" fmla="*/ 1132 h 1674"/>
                  <a:gd name="T14" fmla="*/ 5857 w 7025"/>
                  <a:gd name="T15" fmla="*/ 1130 h 1674"/>
                  <a:gd name="T16" fmla="*/ 5857 w 7025"/>
                  <a:gd name="T17" fmla="*/ 1191 h 1674"/>
                  <a:gd name="T18" fmla="*/ 6320 w 7025"/>
                  <a:gd name="T19" fmla="*/ 1130 h 1674"/>
                  <a:gd name="T20" fmla="*/ 1445 w 7025"/>
                  <a:gd name="T21" fmla="*/ 1127 h 1674"/>
                  <a:gd name="T22" fmla="*/ 1447 w 7025"/>
                  <a:gd name="T23" fmla="*/ 1127 h 1674"/>
                  <a:gd name="T24" fmla="*/ 1464 w 7025"/>
                  <a:gd name="T25" fmla="*/ 1108 h 1674"/>
                  <a:gd name="T26" fmla="*/ 2859 w 7025"/>
                  <a:gd name="T27" fmla="*/ 1063 h 1674"/>
                  <a:gd name="T28" fmla="*/ 2861 w 7025"/>
                  <a:gd name="T29" fmla="*/ 1063 h 1674"/>
                  <a:gd name="T30" fmla="*/ 5928 w 7025"/>
                  <a:gd name="T31" fmla="*/ 1111 h 1674"/>
                  <a:gd name="T32" fmla="*/ 2875 w 7025"/>
                  <a:gd name="T33" fmla="*/ 1014 h 1674"/>
                  <a:gd name="T34" fmla="*/ 2878 w 7025"/>
                  <a:gd name="T35" fmla="*/ 1011 h 1674"/>
                  <a:gd name="T36" fmla="*/ 3771 w 7025"/>
                  <a:gd name="T37" fmla="*/ 1205 h 1674"/>
                  <a:gd name="T38" fmla="*/ 5947 w 7025"/>
                  <a:gd name="T39" fmla="*/ 1025 h 1674"/>
                  <a:gd name="T40" fmla="*/ 6339 w 7025"/>
                  <a:gd name="T41" fmla="*/ 935 h 1674"/>
                  <a:gd name="T42" fmla="*/ 6339 w 7025"/>
                  <a:gd name="T43" fmla="*/ 1113 h 1674"/>
                  <a:gd name="T44" fmla="*/ 3842 w 7025"/>
                  <a:gd name="T45" fmla="*/ 928 h 1674"/>
                  <a:gd name="T46" fmla="*/ 6384 w 7025"/>
                  <a:gd name="T47" fmla="*/ 895 h 1674"/>
                  <a:gd name="T48" fmla="*/ 6379 w 7025"/>
                  <a:gd name="T49" fmla="*/ 916 h 1674"/>
                  <a:gd name="T50" fmla="*/ 6386 w 7025"/>
                  <a:gd name="T51" fmla="*/ 881 h 1674"/>
                  <a:gd name="T52" fmla="*/ 6389 w 7025"/>
                  <a:gd name="T53" fmla="*/ 879 h 1674"/>
                  <a:gd name="T54" fmla="*/ 6396 w 7025"/>
                  <a:gd name="T55" fmla="*/ 872 h 1674"/>
                  <a:gd name="T56" fmla="*/ 804 w 7025"/>
                  <a:gd name="T57" fmla="*/ 827 h 1674"/>
                  <a:gd name="T58" fmla="*/ 3100 w 7025"/>
                  <a:gd name="T59" fmla="*/ 763 h 1674"/>
                  <a:gd name="T60" fmla="*/ 3100 w 7025"/>
                  <a:gd name="T61" fmla="*/ 961 h 1674"/>
                  <a:gd name="T62" fmla="*/ 1007 w 7025"/>
                  <a:gd name="T63" fmla="*/ 810 h 1674"/>
                  <a:gd name="T64" fmla="*/ 5131 w 7025"/>
                  <a:gd name="T65" fmla="*/ 734 h 1674"/>
                  <a:gd name="T66" fmla="*/ 3138 w 7025"/>
                  <a:gd name="T67" fmla="*/ 658 h 1674"/>
                  <a:gd name="T68" fmla="*/ 97 w 7025"/>
                  <a:gd name="T69" fmla="*/ 618 h 1674"/>
                  <a:gd name="T70" fmla="*/ 97 w 7025"/>
                  <a:gd name="T71" fmla="*/ 618 h 1674"/>
                  <a:gd name="T72" fmla="*/ 5254 w 7025"/>
                  <a:gd name="T73" fmla="*/ 713 h 1674"/>
                  <a:gd name="T74" fmla="*/ 3279 w 7025"/>
                  <a:gd name="T75" fmla="*/ 585 h 1674"/>
                  <a:gd name="T76" fmla="*/ 300 w 7025"/>
                  <a:gd name="T77" fmla="*/ 547 h 1674"/>
                  <a:gd name="T78" fmla="*/ 7025 w 7025"/>
                  <a:gd name="T79" fmla="*/ 509 h 1674"/>
                  <a:gd name="T80" fmla="*/ 7025 w 7025"/>
                  <a:gd name="T81" fmla="*/ 509 h 1674"/>
                  <a:gd name="T82" fmla="*/ 4138 w 7025"/>
                  <a:gd name="T83" fmla="*/ 580 h 1674"/>
                  <a:gd name="T84" fmla="*/ 3298 w 7025"/>
                  <a:gd name="T85" fmla="*/ 505 h 1674"/>
                  <a:gd name="T86" fmla="*/ 3301 w 7025"/>
                  <a:gd name="T87" fmla="*/ 502 h 1674"/>
                  <a:gd name="T88" fmla="*/ 4034 w 7025"/>
                  <a:gd name="T89" fmla="*/ 490 h 1674"/>
                  <a:gd name="T90" fmla="*/ 4036 w 7025"/>
                  <a:gd name="T91" fmla="*/ 490 h 1674"/>
                  <a:gd name="T92" fmla="*/ 3327 w 7025"/>
                  <a:gd name="T93" fmla="*/ 483 h 1674"/>
                  <a:gd name="T94" fmla="*/ 4041 w 7025"/>
                  <a:gd name="T95" fmla="*/ 391 h 1674"/>
                  <a:gd name="T96" fmla="*/ 4043 w 7025"/>
                  <a:gd name="T97" fmla="*/ 448 h 1674"/>
                  <a:gd name="T98" fmla="*/ 1809 w 7025"/>
                  <a:gd name="T99" fmla="*/ 1113 h 1674"/>
                  <a:gd name="T100" fmla="*/ 1936 w 7025"/>
                  <a:gd name="T101" fmla="*/ 336 h 1674"/>
                  <a:gd name="T102" fmla="*/ 4048 w 7025"/>
                  <a:gd name="T103" fmla="*/ 327 h 1674"/>
                  <a:gd name="T104" fmla="*/ 4050 w 7025"/>
                  <a:gd name="T105" fmla="*/ 381 h 1674"/>
                  <a:gd name="T106" fmla="*/ 2026 w 7025"/>
                  <a:gd name="T107" fmla="*/ 315 h 1674"/>
                  <a:gd name="T108" fmla="*/ 4701 w 7025"/>
                  <a:gd name="T109" fmla="*/ 235 h 1674"/>
                  <a:gd name="T110" fmla="*/ 4802 w 7025"/>
                  <a:gd name="T111" fmla="*/ 173 h 1674"/>
                  <a:gd name="T112" fmla="*/ 4805 w 7025"/>
                  <a:gd name="T113" fmla="*/ 173 h 1674"/>
                  <a:gd name="T114" fmla="*/ 4852 w 7025"/>
                  <a:gd name="T115" fmla="*/ 154 h 1674"/>
                  <a:gd name="T116" fmla="*/ 4909 w 7025"/>
                  <a:gd name="T117" fmla="*/ 154 h 1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025" h="1674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5"/>
                    </a:lnTo>
                    <a:lnTo>
                      <a:pt x="2" y="1515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0"/>
                    </a:lnTo>
                    <a:lnTo>
                      <a:pt x="5665" y="1430"/>
                    </a:lnTo>
                    <a:lnTo>
                      <a:pt x="5665" y="1326"/>
                    </a:lnTo>
                    <a:moveTo>
                      <a:pt x="3710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3"/>
                    </a:lnTo>
                    <a:lnTo>
                      <a:pt x="3710" y="1373"/>
                    </a:lnTo>
                    <a:lnTo>
                      <a:pt x="3710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8" y="1210"/>
                    </a:lnTo>
                    <a:lnTo>
                      <a:pt x="5828" y="1210"/>
                    </a:lnTo>
                    <a:lnTo>
                      <a:pt x="5828" y="1307"/>
                    </a:lnTo>
                    <a:lnTo>
                      <a:pt x="5831" y="1307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82"/>
                    </a:lnTo>
                    <a:lnTo>
                      <a:pt x="1665" y="1182"/>
                    </a:lnTo>
                    <a:lnTo>
                      <a:pt x="1665" y="1158"/>
                    </a:lnTo>
                    <a:moveTo>
                      <a:pt x="1688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39"/>
                    </a:lnTo>
                    <a:lnTo>
                      <a:pt x="1688" y="1139"/>
                    </a:lnTo>
                    <a:lnTo>
                      <a:pt x="1688" y="1132"/>
                    </a:lnTo>
                    <a:moveTo>
                      <a:pt x="5857" y="1130"/>
                    </a:move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30"/>
                    </a:lnTo>
                    <a:lnTo>
                      <a:pt x="5854" y="1191"/>
                    </a:lnTo>
                    <a:lnTo>
                      <a:pt x="5857" y="1191"/>
                    </a:lnTo>
                    <a:lnTo>
                      <a:pt x="5857" y="1130"/>
                    </a:lnTo>
                    <a:moveTo>
                      <a:pt x="6323" y="1130"/>
                    </a:move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130"/>
                    </a:lnTo>
                    <a:lnTo>
                      <a:pt x="6320" y="1345"/>
                    </a:lnTo>
                    <a:lnTo>
                      <a:pt x="6323" y="1345"/>
                    </a:lnTo>
                    <a:lnTo>
                      <a:pt x="6323" y="1130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82"/>
                    </a:lnTo>
                    <a:lnTo>
                      <a:pt x="1447" y="1182"/>
                    </a:lnTo>
                    <a:lnTo>
                      <a:pt x="1447" y="1127"/>
                    </a:lnTo>
                    <a:moveTo>
                      <a:pt x="1464" y="1085"/>
                    </a:moveTo>
                    <a:lnTo>
                      <a:pt x="1461" y="1085"/>
                    </a:lnTo>
                    <a:lnTo>
                      <a:pt x="1461" y="1087"/>
                    </a:lnTo>
                    <a:lnTo>
                      <a:pt x="1461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108"/>
                    </a:lnTo>
                    <a:lnTo>
                      <a:pt x="1464" y="1085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2"/>
                    </a:lnTo>
                    <a:lnTo>
                      <a:pt x="2861" y="1222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1"/>
                    </a:lnTo>
                    <a:lnTo>
                      <a:pt x="5930" y="1111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4"/>
                    </a:lnTo>
                    <a:lnTo>
                      <a:pt x="2875" y="1014"/>
                    </a:lnTo>
                    <a:lnTo>
                      <a:pt x="2875" y="1047"/>
                    </a:lnTo>
                    <a:lnTo>
                      <a:pt x="2878" y="1047"/>
                    </a:lnTo>
                    <a:lnTo>
                      <a:pt x="2878" y="1044"/>
                    </a:lnTo>
                    <a:lnTo>
                      <a:pt x="2878" y="1044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05"/>
                    </a:lnTo>
                    <a:lnTo>
                      <a:pt x="3771" y="1205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7" y="1025"/>
                    </a:lnTo>
                    <a:lnTo>
                      <a:pt x="5947" y="1023"/>
                    </a:lnTo>
                    <a:lnTo>
                      <a:pt x="5949" y="1023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8"/>
                    </a:lnTo>
                    <a:lnTo>
                      <a:pt x="6337" y="1113"/>
                    </a:lnTo>
                    <a:lnTo>
                      <a:pt x="6339" y="1113"/>
                    </a:lnTo>
                    <a:lnTo>
                      <a:pt x="6339" y="1111"/>
                    </a:lnTo>
                    <a:lnTo>
                      <a:pt x="6339" y="1111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2" y="928"/>
                    </a:lnTo>
                    <a:lnTo>
                      <a:pt x="3842" y="931"/>
                    </a:lnTo>
                    <a:lnTo>
                      <a:pt x="3842" y="976"/>
                    </a:lnTo>
                    <a:lnTo>
                      <a:pt x="3845" y="976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2" y="898"/>
                    </a:lnTo>
                    <a:lnTo>
                      <a:pt x="6377" y="916"/>
                    </a:lnTo>
                    <a:lnTo>
                      <a:pt x="6379" y="916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6" y="879"/>
                    </a:lnTo>
                    <a:lnTo>
                      <a:pt x="6386" y="881"/>
                    </a:lnTo>
                    <a:lnTo>
                      <a:pt x="6386" y="893"/>
                    </a:lnTo>
                    <a:lnTo>
                      <a:pt x="6389" y="893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6" y="872"/>
                    </a:lnTo>
                    <a:lnTo>
                      <a:pt x="6396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1"/>
                    </a:lnTo>
                    <a:lnTo>
                      <a:pt x="806" y="1051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097" y="763"/>
                    </a:lnTo>
                    <a:lnTo>
                      <a:pt x="3097" y="765"/>
                    </a:lnTo>
                    <a:lnTo>
                      <a:pt x="3097" y="961"/>
                    </a:lnTo>
                    <a:lnTo>
                      <a:pt x="3100" y="961"/>
                    </a:lnTo>
                    <a:lnTo>
                      <a:pt x="3100" y="763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0"/>
                    </a:lnTo>
                    <a:lnTo>
                      <a:pt x="1010" y="810"/>
                    </a:lnTo>
                    <a:lnTo>
                      <a:pt x="1010" y="753"/>
                    </a:lnTo>
                    <a:moveTo>
                      <a:pt x="5131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4"/>
                    </a:lnTo>
                    <a:lnTo>
                      <a:pt x="5131" y="954"/>
                    </a:lnTo>
                    <a:lnTo>
                      <a:pt x="5131" y="732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44"/>
                    </a:lnTo>
                    <a:lnTo>
                      <a:pt x="3138" y="744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35"/>
                    </a:lnTo>
                    <a:lnTo>
                      <a:pt x="97" y="1435"/>
                    </a:lnTo>
                    <a:lnTo>
                      <a:pt x="97" y="618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3"/>
                    </a:lnTo>
                    <a:lnTo>
                      <a:pt x="5254" y="713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79" y="583"/>
                    </a:lnTo>
                    <a:lnTo>
                      <a:pt x="3279" y="585"/>
                    </a:lnTo>
                    <a:lnTo>
                      <a:pt x="3279" y="639"/>
                    </a:lnTo>
                    <a:lnTo>
                      <a:pt x="3282" y="639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599"/>
                    </a:lnTo>
                    <a:lnTo>
                      <a:pt x="303" y="599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2"/>
                    </a:lnTo>
                    <a:lnTo>
                      <a:pt x="7023" y="1674"/>
                    </a:lnTo>
                    <a:lnTo>
                      <a:pt x="7025" y="1674"/>
                    </a:lnTo>
                    <a:lnTo>
                      <a:pt x="7025" y="509"/>
                    </a:lnTo>
                    <a:moveTo>
                      <a:pt x="4192" y="505"/>
                    </a:moveTo>
                    <a:lnTo>
                      <a:pt x="4192" y="505"/>
                    </a:lnTo>
                    <a:lnTo>
                      <a:pt x="4192" y="505"/>
                    </a:lnTo>
                    <a:lnTo>
                      <a:pt x="4135" y="580"/>
                    </a:lnTo>
                    <a:lnTo>
                      <a:pt x="4138" y="580"/>
                    </a:lnTo>
                    <a:lnTo>
                      <a:pt x="4192" y="505"/>
                    </a:lnTo>
                    <a:moveTo>
                      <a:pt x="3301" y="502"/>
                    </a:moveTo>
                    <a:lnTo>
                      <a:pt x="3298" y="502"/>
                    </a:lnTo>
                    <a:lnTo>
                      <a:pt x="3298" y="502"/>
                    </a:lnTo>
                    <a:lnTo>
                      <a:pt x="3298" y="505"/>
                    </a:lnTo>
                    <a:lnTo>
                      <a:pt x="3298" y="566"/>
                    </a:lnTo>
                    <a:lnTo>
                      <a:pt x="3298" y="566"/>
                    </a:lnTo>
                    <a:lnTo>
                      <a:pt x="3298" y="564"/>
                    </a:lnTo>
                    <a:lnTo>
                      <a:pt x="3301" y="564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4" y="455"/>
                    </a:lnTo>
                    <a:lnTo>
                      <a:pt x="4034" y="455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3" y="644"/>
                    </a:lnTo>
                    <a:lnTo>
                      <a:pt x="3953" y="909"/>
                    </a:lnTo>
                    <a:lnTo>
                      <a:pt x="3956" y="909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83"/>
                    </a:lnTo>
                    <a:lnTo>
                      <a:pt x="3329" y="483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70"/>
                    </a:moveTo>
                    <a:lnTo>
                      <a:pt x="1809" y="370"/>
                    </a:lnTo>
                    <a:lnTo>
                      <a:pt x="1809" y="372"/>
                    </a:lnTo>
                    <a:lnTo>
                      <a:pt x="1809" y="1113"/>
                    </a:lnTo>
                    <a:lnTo>
                      <a:pt x="1809" y="1113"/>
                    </a:lnTo>
                    <a:lnTo>
                      <a:pt x="1809" y="370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6"/>
                    </a:lnTo>
                    <a:lnTo>
                      <a:pt x="1936" y="351"/>
                    </a:lnTo>
                    <a:lnTo>
                      <a:pt x="1939" y="351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15"/>
                    </a:lnTo>
                    <a:lnTo>
                      <a:pt x="2029" y="315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5"/>
                    </a:lnTo>
                    <a:lnTo>
                      <a:pt x="4639" y="464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13"/>
                    </a:lnTo>
                    <a:lnTo>
                      <a:pt x="4805" y="213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3"/>
                    </a:lnTo>
                    <a:lnTo>
                      <a:pt x="4850" y="154"/>
                    </a:lnTo>
                    <a:lnTo>
                      <a:pt x="4852" y="154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3"/>
                    </a:lnTo>
                    <a:lnTo>
                      <a:pt x="4909" y="154"/>
                    </a:lnTo>
                    <a:lnTo>
                      <a:pt x="4911" y="154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3" name="Freeform 126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close/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close/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close/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close/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close/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close/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close/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close/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close/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close/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close/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close/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close/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  <a:close/>
                  </a:path>
                </a:pathLst>
              </a:custGeom>
              <a:solidFill>
                <a:srgbClr val="C4C3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4" name="Freeform 127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5" cy="1676"/>
              </a:xfrm>
              <a:custGeom>
                <a:avLst/>
                <a:gdLst>
                  <a:gd name="T0" fmla="*/ 0 w 7025"/>
                  <a:gd name="T1" fmla="*/ 1517 h 1676"/>
                  <a:gd name="T2" fmla="*/ 5663 w 7025"/>
                  <a:gd name="T3" fmla="*/ 1432 h 1676"/>
                  <a:gd name="T4" fmla="*/ 3708 w 7025"/>
                  <a:gd name="T5" fmla="*/ 1224 h 1676"/>
                  <a:gd name="T6" fmla="*/ 5831 w 7025"/>
                  <a:gd name="T7" fmla="*/ 1210 h 1676"/>
                  <a:gd name="T8" fmla="*/ 5831 w 7025"/>
                  <a:gd name="T9" fmla="*/ 1309 h 1676"/>
                  <a:gd name="T10" fmla="*/ 1663 w 7025"/>
                  <a:gd name="T11" fmla="*/ 1160 h 1676"/>
                  <a:gd name="T12" fmla="*/ 1686 w 7025"/>
                  <a:gd name="T13" fmla="*/ 1132 h 1676"/>
                  <a:gd name="T14" fmla="*/ 5855 w 7025"/>
                  <a:gd name="T15" fmla="*/ 1129 h 1676"/>
                  <a:gd name="T16" fmla="*/ 5855 w 7025"/>
                  <a:gd name="T17" fmla="*/ 1193 h 1676"/>
                  <a:gd name="T18" fmla="*/ 6321 w 7025"/>
                  <a:gd name="T19" fmla="*/ 1132 h 1676"/>
                  <a:gd name="T20" fmla="*/ 1445 w 7025"/>
                  <a:gd name="T21" fmla="*/ 1127 h 1676"/>
                  <a:gd name="T22" fmla="*/ 1447 w 7025"/>
                  <a:gd name="T23" fmla="*/ 1127 h 1676"/>
                  <a:gd name="T24" fmla="*/ 1464 w 7025"/>
                  <a:gd name="T25" fmla="*/ 1110 h 1676"/>
                  <a:gd name="T26" fmla="*/ 2859 w 7025"/>
                  <a:gd name="T27" fmla="*/ 1065 h 1676"/>
                  <a:gd name="T28" fmla="*/ 5930 w 7025"/>
                  <a:gd name="T29" fmla="*/ 1042 h 1676"/>
                  <a:gd name="T30" fmla="*/ 5930 w 7025"/>
                  <a:gd name="T31" fmla="*/ 1042 h 1676"/>
                  <a:gd name="T32" fmla="*/ 2878 w 7025"/>
                  <a:gd name="T33" fmla="*/ 1046 h 1676"/>
                  <a:gd name="T34" fmla="*/ 3769 w 7025"/>
                  <a:gd name="T35" fmla="*/ 1207 h 1676"/>
                  <a:gd name="T36" fmla="*/ 5947 w 7025"/>
                  <a:gd name="T37" fmla="*/ 992 h 1676"/>
                  <a:gd name="T38" fmla="*/ 6340 w 7025"/>
                  <a:gd name="T39" fmla="*/ 937 h 1676"/>
                  <a:gd name="T40" fmla="*/ 6340 w 7025"/>
                  <a:gd name="T41" fmla="*/ 937 h 1676"/>
                  <a:gd name="T42" fmla="*/ 3845 w 7025"/>
                  <a:gd name="T43" fmla="*/ 978 h 1676"/>
                  <a:gd name="T44" fmla="*/ 6382 w 7025"/>
                  <a:gd name="T45" fmla="*/ 897 h 1676"/>
                  <a:gd name="T46" fmla="*/ 6387 w 7025"/>
                  <a:gd name="T47" fmla="*/ 878 h 1676"/>
                  <a:gd name="T48" fmla="*/ 6389 w 7025"/>
                  <a:gd name="T49" fmla="*/ 890 h 1676"/>
                  <a:gd name="T50" fmla="*/ 6396 w 7025"/>
                  <a:gd name="T51" fmla="*/ 852 h 1676"/>
                  <a:gd name="T52" fmla="*/ 6396 w 7025"/>
                  <a:gd name="T53" fmla="*/ 850 h 1676"/>
                  <a:gd name="T54" fmla="*/ 804 w 7025"/>
                  <a:gd name="T55" fmla="*/ 1053 h 1676"/>
                  <a:gd name="T56" fmla="*/ 3098 w 7025"/>
                  <a:gd name="T57" fmla="*/ 765 h 1676"/>
                  <a:gd name="T58" fmla="*/ 1008 w 7025"/>
                  <a:gd name="T59" fmla="*/ 753 h 1676"/>
                  <a:gd name="T60" fmla="*/ 5131 w 7025"/>
                  <a:gd name="T61" fmla="*/ 731 h 1676"/>
                  <a:gd name="T62" fmla="*/ 5131 w 7025"/>
                  <a:gd name="T63" fmla="*/ 731 h 1676"/>
                  <a:gd name="T64" fmla="*/ 3138 w 7025"/>
                  <a:gd name="T65" fmla="*/ 746 h 1676"/>
                  <a:gd name="T66" fmla="*/ 95 w 7025"/>
                  <a:gd name="T67" fmla="*/ 1437 h 1676"/>
                  <a:gd name="T68" fmla="*/ 5252 w 7025"/>
                  <a:gd name="T69" fmla="*/ 611 h 1676"/>
                  <a:gd name="T70" fmla="*/ 3282 w 7025"/>
                  <a:gd name="T71" fmla="*/ 582 h 1676"/>
                  <a:gd name="T72" fmla="*/ 3282 w 7025"/>
                  <a:gd name="T73" fmla="*/ 582 h 1676"/>
                  <a:gd name="T74" fmla="*/ 303 w 7025"/>
                  <a:gd name="T75" fmla="*/ 601 h 1676"/>
                  <a:gd name="T76" fmla="*/ 7023 w 7025"/>
                  <a:gd name="T77" fmla="*/ 1676 h 1676"/>
                  <a:gd name="T78" fmla="*/ 4190 w 7025"/>
                  <a:gd name="T79" fmla="*/ 507 h 1676"/>
                  <a:gd name="T80" fmla="*/ 3299 w 7025"/>
                  <a:gd name="T81" fmla="*/ 502 h 1676"/>
                  <a:gd name="T82" fmla="*/ 3299 w 7025"/>
                  <a:gd name="T83" fmla="*/ 502 h 1676"/>
                  <a:gd name="T84" fmla="*/ 4034 w 7025"/>
                  <a:gd name="T85" fmla="*/ 492 h 1676"/>
                  <a:gd name="T86" fmla="*/ 4037 w 7025"/>
                  <a:gd name="T87" fmla="*/ 490 h 1676"/>
                  <a:gd name="T88" fmla="*/ 3327 w 7025"/>
                  <a:gd name="T89" fmla="*/ 485 h 1676"/>
                  <a:gd name="T90" fmla="*/ 4041 w 7025"/>
                  <a:gd name="T91" fmla="*/ 391 h 1676"/>
                  <a:gd name="T92" fmla="*/ 4041 w 7025"/>
                  <a:gd name="T93" fmla="*/ 447 h 1676"/>
                  <a:gd name="T94" fmla="*/ 1807 w 7025"/>
                  <a:gd name="T95" fmla="*/ 1115 h 1676"/>
                  <a:gd name="T96" fmla="*/ 1937 w 7025"/>
                  <a:gd name="T97" fmla="*/ 336 h 1676"/>
                  <a:gd name="T98" fmla="*/ 4048 w 7025"/>
                  <a:gd name="T99" fmla="*/ 329 h 1676"/>
                  <a:gd name="T100" fmla="*/ 4051 w 7025"/>
                  <a:gd name="T101" fmla="*/ 381 h 1676"/>
                  <a:gd name="T102" fmla="*/ 2027 w 7025"/>
                  <a:gd name="T103" fmla="*/ 317 h 1676"/>
                  <a:gd name="T104" fmla="*/ 4701 w 7025"/>
                  <a:gd name="T105" fmla="*/ 234 h 1676"/>
                  <a:gd name="T106" fmla="*/ 4803 w 7025"/>
                  <a:gd name="T107" fmla="*/ 173 h 1676"/>
                  <a:gd name="T108" fmla="*/ 4803 w 7025"/>
                  <a:gd name="T109" fmla="*/ 173 h 1676"/>
                  <a:gd name="T110" fmla="*/ 4852 w 7025"/>
                  <a:gd name="T111" fmla="*/ 156 h 1676"/>
                  <a:gd name="T112" fmla="*/ 4909 w 7025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76">
                    <a:moveTo>
                      <a:pt x="0" y="1454"/>
                    </a:moveTo>
                    <a:lnTo>
                      <a:pt x="0" y="1454"/>
                    </a:lnTo>
                    <a:lnTo>
                      <a:pt x="0" y="1456"/>
                    </a:lnTo>
                    <a:lnTo>
                      <a:pt x="0" y="1517"/>
                    </a:lnTo>
                    <a:lnTo>
                      <a:pt x="0" y="1517"/>
                    </a:lnTo>
                    <a:lnTo>
                      <a:pt x="0" y="1454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2"/>
                    </a:lnTo>
                    <a:lnTo>
                      <a:pt x="5666" y="1432"/>
                    </a:lnTo>
                    <a:lnTo>
                      <a:pt x="5666" y="1326"/>
                    </a:lnTo>
                    <a:moveTo>
                      <a:pt x="3710" y="1224"/>
                    </a:move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224"/>
                    </a:lnTo>
                    <a:lnTo>
                      <a:pt x="3708" y="1375"/>
                    </a:lnTo>
                    <a:lnTo>
                      <a:pt x="3710" y="1375"/>
                    </a:lnTo>
                    <a:lnTo>
                      <a:pt x="3710" y="1224"/>
                    </a:lnTo>
                    <a:moveTo>
                      <a:pt x="5831" y="1210"/>
                    </a:move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09"/>
                    </a:lnTo>
                    <a:lnTo>
                      <a:pt x="5831" y="1309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3" y="1158"/>
                    </a:lnTo>
                    <a:lnTo>
                      <a:pt x="1663" y="1160"/>
                    </a:lnTo>
                    <a:lnTo>
                      <a:pt x="1663" y="1184"/>
                    </a:lnTo>
                    <a:lnTo>
                      <a:pt x="1665" y="1184"/>
                    </a:lnTo>
                    <a:lnTo>
                      <a:pt x="1665" y="1158"/>
                    </a:lnTo>
                    <a:moveTo>
                      <a:pt x="1689" y="1132"/>
                    </a:moveTo>
                    <a:lnTo>
                      <a:pt x="1686" y="1132"/>
                    </a:lnTo>
                    <a:lnTo>
                      <a:pt x="1686" y="1134"/>
                    </a:lnTo>
                    <a:lnTo>
                      <a:pt x="1686" y="1141"/>
                    </a:lnTo>
                    <a:lnTo>
                      <a:pt x="1689" y="1141"/>
                    </a:lnTo>
                    <a:lnTo>
                      <a:pt x="1689" y="1132"/>
                    </a:lnTo>
                    <a:moveTo>
                      <a:pt x="5855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32"/>
                    </a:lnTo>
                    <a:lnTo>
                      <a:pt x="5855" y="1193"/>
                    </a:lnTo>
                    <a:lnTo>
                      <a:pt x="5855" y="1193"/>
                    </a:lnTo>
                    <a:lnTo>
                      <a:pt x="5855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32"/>
                    </a:lnTo>
                    <a:lnTo>
                      <a:pt x="6321" y="1347"/>
                    </a:lnTo>
                    <a:lnTo>
                      <a:pt x="6323" y="1347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9"/>
                    </a:lnTo>
                    <a:lnTo>
                      <a:pt x="1445" y="1184"/>
                    </a:lnTo>
                    <a:lnTo>
                      <a:pt x="1447" y="1184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7"/>
                    </a:lnTo>
                    <a:lnTo>
                      <a:pt x="1462" y="1110"/>
                    </a:lnTo>
                    <a:lnTo>
                      <a:pt x="1464" y="1110"/>
                    </a:lnTo>
                    <a:lnTo>
                      <a:pt x="1464" y="1084"/>
                    </a:lnTo>
                    <a:moveTo>
                      <a:pt x="2859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24"/>
                    </a:lnTo>
                    <a:lnTo>
                      <a:pt x="2859" y="1224"/>
                    </a:lnTo>
                    <a:lnTo>
                      <a:pt x="2859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28" y="1042"/>
                    </a:lnTo>
                    <a:lnTo>
                      <a:pt x="5928" y="1044"/>
                    </a:lnTo>
                    <a:lnTo>
                      <a:pt x="5928" y="1113"/>
                    </a:lnTo>
                    <a:lnTo>
                      <a:pt x="5930" y="1113"/>
                    </a:lnTo>
                    <a:lnTo>
                      <a:pt x="5930" y="1042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46"/>
                    </a:lnTo>
                    <a:lnTo>
                      <a:pt x="2878" y="1046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07"/>
                    </a:lnTo>
                    <a:lnTo>
                      <a:pt x="3769" y="1207"/>
                    </a:lnTo>
                    <a:lnTo>
                      <a:pt x="3769" y="994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25"/>
                    </a:lnTo>
                    <a:lnTo>
                      <a:pt x="5949" y="1025"/>
                    </a:lnTo>
                    <a:lnTo>
                      <a:pt x="5949" y="990"/>
                    </a:lnTo>
                    <a:moveTo>
                      <a:pt x="6340" y="937"/>
                    </a:moveTo>
                    <a:lnTo>
                      <a:pt x="6340" y="937"/>
                    </a:lnTo>
                    <a:lnTo>
                      <a:pt x="6337" y="937"/>
                    </a:lnTo>
                    <a:lnTo>
                      <a:pt x="6337" y="937"/>
                    </a:lnTo>
                    <a:lnTo>
                      <a:pt x="6337" y="1113"/>
                    </a:lnTo>
                    <a:lnTo>
                      <a:pt x="6340" y="1113"/>
                    </a:lnTo>
                    <a:lnTo>
                      <a:pt x="6340" y="937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78"/>
                    </a:lnTo>
                    <a:lnTo>
                      <a:pt x="3845" y="978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18"/>
                    </a:lnTo>
                    <a:lnTo>
                      <a:pt x="6380" y="918"/>
                    </a:lnTo>
                    <a:lnTo>
                      <a:pt x="6384" y="895"/>
                    </a:lnTo>
                    <a:moveTo>
                      <a:pt x="6389" y="878"/>
                    </a:moveTo>
                    <a:lnTo>
                      <a:pt x="6387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6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50"/>
                    </a:lnTo>
                    <a:moveTo>
                      <a:pt x="804" y="829"/>
                    </a:moveTo>
                    <a:lnTo>
                      <a:pt x="804" y="829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4" y="1053"/>
                    </a:lnTo>
                    <a:lnTo>
                      <a:pt x="804" y="829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3"/>
                    </a:lnTo>
                    <a:lnTo>
                      <a:pt x="3100" y="963"/>
                    </a:lnTo>
                    <a:lnTo>
                      <a:pt x="3100" y="762"/>
                    </a:lnTo>
                    <a:moveTo>
                      <a:pt x="1008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2"/>
                    </a:lnTo>
                    <a:lnTo>
                      <a:pt x="1008" y="812"/>
                    </a:lnTo>
                    <a:lnTo>
                      <a:pt x="1008" y="753"/>
                    </a:lnTo>
                    <a:moveTo>
                      <a:pt x="5131" y="731"/>
                    </a:moveTo>
                    <a:lnTo>
                      <a:pt x="5129" y="731"/>
                    </a:lnTo>
                    <a:lnTo>
                      <a:pt x="5129" y="734"/>
                    </a:lnTo>
                    <a:lnTo>
                      <a:pt x="5129" y="956"/>
                    </a:lnTo>
                    <a:lnTo>
                      <a:pt x="5131" y="956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60"/>
                    </a:lnTo>
                    <a:lnTo>
                      <a:pt x="3136" y="746"/>
                    </a:lnTo>
                    <a:lnTo>
                      <a:pt x="3138" y="746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20"/>
                    </a:lnTo>
                    <a:lnTo>
                      <a:pt x="95" y="1437"/>
                    </a:lnTo>
                    <a:lnTo>
                      <a:pt x="97" y="1437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2" y="715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1"/>
                    </a:lnTo>
                    <a:lnTo>
                      <a:pt x="3282" y="641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76"/>
                    </a:lnTo>
                    <a:lnTo>
                      <a:pt x="7025" y="1676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0" y="507"/>
                    </a:lnTo>
                    <a:lnTo>
                      <a:pt x="4136" y="582"/>
                    </a:lnTo>
                    <a:lnTo>
                      <a:pt x="4136" y="585"/>
                    </a:lnTo>
                    <a:lnTo>
                      <a:pt x="4193" y="504"/>
                    </a:lnTo>
                    <a:moveTo>
                      <a:pt x="3299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66"/>
                    </a:lnTo>
                    <a:lnTo>
                      <a:pt x="3299" y="566"/>
                    </a:lnTo>
                    <a:lnTo>
                      <a:pt x="3299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1"/>
                    </a:lnTo>
                    <a:lnTo>
                      <a:pt x="3954" y="911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5"/>
                    </a:moveTo>
                    <a:lnTo>
                      <a:pt x="3327" y="435"/>
                    </a:lnTo>
                    <a:lnTo>
                      <a:pt x="3327" y="435"/>
                    </a:lnTo>
                    <a:lnTo>
                      <a:pt x="3327" y="485"/>
                    </a:lnTo>
                    <a:lnTo>
                      <a:pt x="3330" y="485"/>
                    </a:lnTo>
                    <a:lnTo>
                      <a:pt x="3330" y="435"/>
                    </a:lnTo>
                    <a:moveTo>
                      <a:pt x="4041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1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2"/>
                    </a:lnTo>
                    <a:lnTo>
                      <a:pt x="1807" y="1115"/>
                    </a:lnTo>
                    <a:lnTo>
                      <a:pt x="1809" y="1115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9"/>
                    </a:moveTo>
                    <a:lnTo>
                      <a:pt x="4048" y="329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48" y="383"/>
                    </a:lnTo>
                    <a:lnTo>
                      <a:pt x="4048" y="381"/>
                    </a:lnTo>
                    <a:lnTo>
                      <a:pt x="4051" y="381"/>
                    </a:lnTo>
                    <a:lnTo>
                      <a:pt x="4051" y="329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6"/>
                    </a:lnTo>
                    <a:lnTo>
                      <a:pt x="4639" y="464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15"/>
                    </a:lnTo>
                    <a:lnTo>
                      <a:pt x="4803" y="215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56"/>
                    </a:lnTo>
                    <a:lnTo>
                      <a:pt x="4852" y="156"/>
                    </a:lnTo>
                    <a:lnTo>
                      <a:pt x="4852" y="0"/>
                    </a:lnTo>
                    <a:moveTo>
                      <a:pt x="4909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56"/>
                    </a:lnTo>
                    <a:lnTo>
                      <a:pt x="4909" y="156"/>
                    </a:lnTo>
                    <a:lnTo>
                      <a:pt x="4909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5" name="Freeform 128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close/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close/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close/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close/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close/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close/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close/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close/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close/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close/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close/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close/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close/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close/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close/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close/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close/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close/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close/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close/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close/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close/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close/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close/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close/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close/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close/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close/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close/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close/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2C2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6" name="Freeform 129"/>
              <p:cNvSpPr>
                <a:spLocks noEditPoints="1"/>
              </p:cNvSpPr>
              <p:nvPr/>
            </p:nvSpPr>
            <p:spPr bwMode="auto">
              <a:xfrm>
                <a:off x="30" y="1677"/>
                <a:ext cx="7028" cy="1676"/>
              </a:xfrm>
              <a:custGeom>
                <a:avLst/>
                <a:gdLst>
                  <a:gd name="T0" fmla="*/ 3 w 7028"/>
                  <a:gd name="T1" fmla="*/ 1517 h 1676"/>
                  <a:gd name="T2" fmla="*/ 5666 w 7028"/>
                  <a:gd name="T3" fmla="*/ 1432 h 1676"/>
                  <a:gd name="T4" fmla="*/ 3710 w 7028"/>
                  <a:gd name="T5" fmla="*/ 1222 h 1676"/>
                  <a:gd name="T6" fmla="*/ 5834 w 7028"/>
                  <a:gd name="T7" fmla="*/ 1207 h 1676"/>
                  <a:gd name="T8" fmla="*/ 5834 w 7028"/>
                  <a:gd name="T9" fmla="*/ 1309 h 1676"/>
                  <a:gd name="T10" fmla="*/ 1665 w 7028"/>
                  <a:gd name="T11" fmla="*/ 1158 h 1676"/>
                  <a:gd name="T12" fmla="*/ 1689 w 7028"/>
                  <a:gd name="T13" fmla="*/ 1132 h 1676"/>
                  <a:gd name="T14" fmla="*/ 5857 w 7028"/>
                  <a:gd name="T15" fmla="*/ 1127 h 1676"/>
                  <a:gd name="T16" fmla="*/ 5857 w 7028"/>
                  <a:gd name="T17" fmla="*/ 1193 h 1676"/>
                  <a:gd name="T18" fmla="*/ 6323 w 7028"/>
                  <a:gd name="T19" fmla="*/ 1129 h 1676"/>
                  <a:gd name="T20" fmla="*/ 1447 w 7028"/>
                  <a:gd name="T21" fmla="*/ 1124 h 1676"/>
                  <a:gd name="T22" fmla="*/ 1447 w 7028"/>
                  <a:gd name="T23" fmla="*/ 1124 h 1676"/>
                  <a:gd name="T24" fmla="*/ 1466 w 7028"/>
                  <a:gd name="T25" fmla="*/ 1110 h 1676"/>
                  <a:gd name="T26" fmla="*/ 2859 w 7028"/>
                  <a:gd name="T27" fmla="*/ 1063 h 1676"/>
                  <a:gd name="T28" fmla="*/ 5933 w 7028"/>
                  <a:gd name="T29" fmla="*/ 1039 h 1676"/>
                  <a:gd name="T30" fmla="*/ 5933 w 7028"/>
                  <a:gd name="T31" fmla="*/ 1039 h 1676"/>
                  <a:gd name="T32" fmla="*/ 2878 w 7028"/>
                  <a:gd name="T33" fmla="*/ 1046 h 1676"/>
                  <a:gd name="T34" fmla="*/ 3769 w 7028"/>
                  <a:gd name="T35" fmla="*/ 1207 h 1676"/>
                  <a:gd name="T36" fmla="*/ 5949 w 7028"/>
                  <a:gd name="T37" fmla="*/ 990 h 1676"/>
                  <a:gd name="T38" fmla="*/ 6342 w 7028"/>
                  <a:gd name="T39" fmla="*/ 935 h 1676"/>
                  <a:gd name="T40" fmla="*/ 6342 w 7028"/>
                  <a:gd name="T41" fmla="*/ 935 h 1676"/>
                  <a:gd name="T42" fmla="*/ 3847 w 7028"/>
                  <a:gd name="T43" fmla="*/ 978 h 1676"/>
                  <a:gd name="T44" fmla="*/ 6384 w 7028"/>
                  <a:gd name="T45" fmla="*/ 895 h 1676"/>
                  <a:gd name="T46" fmla="*/ 6389 w 7028"/>
                  <a:gd name="T47" fmla="*/ 878 h 1676"/>
                  <a:gd name="T48" fmla="*/ 6389 w 7028"/>
                  <a:gd name="T49" fmla="*/ 888 h 1676"/>
                  <a:gd name="T50" fmla="*/ 6396 w 7028"/>
                  <a:gd name="T51" fmla="*/ 850 h 1676"/>
                  <a:gd name="T52" fmla="*/ 6399 w 7028"/>
                  <a:gd name="T53" fmla="*/ 850 h 1676"/>
                  <a:gd name="T54" fmla="*/ 807 w 7028"/>
                  <a:gd name="T55" fmla="*/ 1053 h 1676"/>
                  <a:gd name="T56" fmla="*/ 3100 w 7028"/>
                  <a:gd name="T57" fmla="*/ 762 h 1676"/>
                  <a:gd name="T58" fmla="*/ 1008 w 7028"/>
                  <a:gd name="T59" fmla="*/ 753 h 1676"/>
                  <a:gd name="T60" fmla="*/ 5134 w 7028"/>
                  <a:gd name="T61" fmla="*/ 731 h 1676"/>
                  <a:gd name="T62" fmla="*/ 5134 w 7028"/>
                  <a:gd name="T63" fmla="*/ 731 h 1676"/>
                  <a:gd name="T64" fmla="*/ 3140 w 7028"/>
                  <a:gd name="T65" fmla="*/ 746 h 1676"/>
                  <a:gd name="T66" fmla="*/ 97 w 7028"/>
                  <a:gd name="T67" fmla="*/ 1437 h 1676"/>
                  <a:gd name="T68" fmla="*/ 5252 w 7028"/>
                  <a:gd name="T69" fmla="*/ 611 h 1676"/>
                  <a:gd name="T70" fmla="*/ 3282 w 7028"/>
                  <a:gd name="T71" fmla="*/ 580 h 1676"/>
                  <a:gd name="T72" fmla="*/ 3285 w 7028"/>
                  <a:gd name="T73" fmla="*/ 580 h 1676"/>
                  <a:gd name="T74" fmla="*/ 303 w 7028"/>
                  <a:gd name="T75" fmla="*/ 601 h 1676"/>
                  <a:gd name="T76" fmla="*/ 7025 w 7028"/>
                  <a:gd name="T77" fmla="*/ 1676 h 1676"/>
                  <a:gd name="T78" fmla="*/ 4193 w 7028"/>
                  <a:gd name="T79" fmla="*/ 504 h 1676"/>
                  <a:gd name="T80" fmla="*/ 3301 w 7028"/>
                  <a:gd name="T81" fmla="*/ 499 h 1676"/>
                  <a:gd name="T82" fmla="*/ 3301 w 7028"/>
                  <a:gd name="T83" fmla="*/ 499 h 1676"/>
                  <a:gd name="T84" fmla="*/ 4037 w 7028"/>
                  <a:gd name="T85" fmla="*/ 490 h 1676"/>
                  <a:gd name="T86" fmla="*/ 4039 w 7028"/>
                  <a:gd name="T87" fmla="*/ 488 h 1676"/>
                  <a:gd name="T88" fmla="*/ 3330 w 7028"/>
                  <a:gd name="T89" fmla="*/ 485 h 1676"/>
                  <a:gd name="T90" fmla="*/ 4041 w 7028"/>
                  <a:gd name="T91" fmla="*/ 391 h 1676"/>
                  <a:gd name="T92" fmla="*/ 4044 w 7028"/>
                  <a:gd name="T93" fmla="*/ 445 h 1676"/>
                  <a:gd name="T94" fmla="*/ 1809 w 7028"/>
                  <a:gd name="T95" fmla="*/ 1115 h 1676"/>
                  <a:gd name="T96" fmla="*/ 1939 w 7028"/>
                  <a:gd name="T97" fmla="*/ 334 h 1676"/>
                  <a:gd name="T98" fmla="*/ 4051 w 7028"/>
                  <a:gd name="T99" fmla="*/ 327 h 1676"/>
                  <a:gd name="T100" fmla="*/ 4051 w 7028"/>
                  <a:gd name="T101" fmla="*/ 381 h 1676"/>
                  <a:gd name="T102" fmla="*/ 2029 w 7028"/>
                  <a:gd name="T103" fmla="*/ 317 h 1676"/>
                  <a:gd name="T104" fmla="*/ 4703 w 7028"/>
                  <a:gd name="T105" fmla="*/ 232 h 1676"/>
                  <a:gd name="T106" fmla="*/ 4805 w 7028"/>
                  <a:gd name="T107" fmla="*/ 170 h 1676"/>
                  <a:gd name="T108" fmla="*/ 4805 w 7028"/>
                  <a:gd name="T109" fmla="*/ 170 h 1676"/>
                  <a:gd name="T110" fmla="*/ 4855 w 7028"/>
                  <a:gd name="T111" fmla="*/ 156 h 1676"/>
                  <a:gd name="T112" fmla="*/ 4909 w 7028"/>
                  <a:gd name="T113" fmla="*/ 156 h 1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8" h="1676">
                    <a:moveTo>
                      <a:pt x="3" y="1451"/>
                    </a:moveTo>
                    <a:lnTo>
                      <a:pt x="0" y="1451"/>
                    </a:lnTo>
                    <a:lnTo>
                      <a:pt x="0" y="1454"/>
                    </a:lnTo>
                    <a:lnTo>
                      <a:pt x="0" y="1517"/>
                    </a:lnTo>
                    <a:lnTo>
                      <a:pt x="3" y="1517"/>
                    </a:lnTo>
                    <a:lnTo>
                      <a:pt x="3" y="1451"/>
                    </a:lnTo>
                    <a:moveTo>
                      <a:pt x="5668" y="1326"/>
                    </a:moveTo>
                    <a:lnTo>
                      <a:pt x="5666" y="1326"/>
                    </a:lnTo>
                    <a:lnTo>
                      <a:pt x="5666" y="1326"/>
                    </a:lnTo>
                    <a:lnTo>
                      <a:pt x="5666" y="1432"/>
                    </a:lnTo>
                    <a:lnTo>
                      <a:pt x="5668" y="1432"/>
                    </a:lnTo>
                    <a:lnTo>
                      <a:pt x="5668" y="1326"/>
                    </a:lnTo>
                    <a:moveTo>
                      <a:pt x="3713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75"/>
                    </a:lnTo>
                    <a:lnTo>
                      <a:pt x="3713" y="1375"/>
                    </a:lnTo>
                    <a:lnTo>
                      <a:pt x="3713" y="1222"/>
                    </a:lnTo>
                    <a:moveTo>
                      <a:pt x="5834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09"/>
                    </a:lnTo>
                    <a:lnTo>
                      <a:pt x="5834" y="1309"/>
                    </a:lnTo>
                    <a:lnTo>
                      <a:pt x="5834" y="1207"/>
                    </a:lnTo>
                    <a:moveTo>
                      <a:pt x="1667" y="1155"/>
                    </a:moveTo>
                    <a:lnTo>
                      <a:pt x="1667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84"/>
                    </a:lnTo>
                    <a:lnTo>
                      <a:pt x="1667" y="1184"/>
                    </a:lnTo>
                    <a:lnTo>
                      <a:pt x="1667" y="1155"/>
                    </a:lnTo>
                    <a:moveTo>
                      <a:pt x="1691" y="1132"/>
                    </a:moveTo>
                    <a:lnTo>
                      <a:pt x="1689" y="1132"/>
                    </a:lnTo>
                    <a:lnTo>
                      <a:pt x="1689" y="1132"/>
                    </a:lnTo>
                    <a:lnTo>
                      <a:pt x="1689" y="1141"/>
                    </a:lnTo>
                    <a:lnTo>
                      <a:pt x="1691" y="1141"/>
                    </a:lnTo>
                    <a:lnTo>
                      <a:pt x="1691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3"/>
                    </a:lnTo>
                    <a:lnTo>
                      <a:pt x="5857" y="1193"/>
                    </a:lnTo>
                    <a:lnTo>
                      <a:pt x="5857" y="1127"/>
                    </a:lnTo>
                    <a:moveTo>
                      <a:pt x="6325" y="1127"/>
                    </a:moveTo>
                    <a:lnTo>
                      <a:pt x="6323" y="1127"/>
                    </a:lnTo>
                    <a:lnTo>
                      <a:pt x="6323" y="1127"/>
                    </a:lnTo>
                    <a:lnTo>
                      <a:pt x="6323" y="1129"/>
                    </a:lnTo>
                    <a:lnTo>
                      <a:pt x="6323" y="1347"/>
                    </a:lnTo>
                    <a:lnTo>
                      <a:pt x="6325" y="1347"/>
                    </a:lnTo>
                    <a:lnTo>
                      <a:pt x="6325" y="1127"/>
                    </a:lnTo>
                    <a:moveTo>
                      <a:pt x="1447" y="1124"/>
                    </a:moveTo>
                    <a:lnTo>
                      <a:pt x="1447" y="1124"/>
                    </a:lnTo>
                    <a:lnTo>
                      <a:pt x="1447" y="1124"/>
                    </a:lnTo>
                    <a:lnTo>
                      <a:pt x="1447" y="1127"/>
                    </a:lnTo>
                    <a:lnTo>
                      <a:pt x="1447" y="1184"/>
                    </a:lnTo>
                    <a:lnTo>
                      <a:pt x="1447" y="1184"/>
                    </a:lnTo>
                    <a:lnTo>
                      <a:pt x="1447" y="1124"/>
                    </a:lnTo>
                    <a:moveTo>
                      <a:pt x="1466" y="1082"/>
                    </a:moveTo>
                    <a:lnTo>
                      <a:pt x="1464" y="1082"/>
                    </a:lnTo>
                    <a:lnTo>
                      <a:pt x="1464" y="1084"/>
                    </a:lnTo>
                    <a:lnTo>
                      <a:pt x="1464" y="1110"/>
                    </a:lnTo>
                    <a:lnTo>
                      <a:pt x="1466" y="1110"/>
                    </a:lnTo>
                    <a:lnTo>
                      <a:pt x="1466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9" y="1061"/>
                    </a:lnTo>
                    <a:lnTo>
                      <a:pt x="2859" y="1063"/>
                    </a:lnTo>
                    <a:lnTo>
                      <a:pt x="2859" y="1224"/>
                    </a:lnTo>
                    <a:lnTo>
                      <a:pt x="2861" y="1224"/>
                    </a:lnTo>
                    <a:lnTo>
                      <a:pt x="2861" y="1061"/>
                    </a:lnTo>
                    <a:moveTo>
                      <a:pt x="5933" y="1039"/>
                    </a:moveTo>
                    <a:lnTo>
                      <a:pt x="5933" y="1039"/>
                    </a:lnTo>
                    <a:lnTo>
                      <a:pt x="5930" y="1039"/>
                    </a:lnTo>
                    <a:lnTo>
                      <a:pt x="5930" y="1042"/>
                    </a:lnTo>
                    <a:lnTo>
                      <a:pt x="5930" y="1113"/>
                    </a:lnTo>
                    <a:lnTo>
                      <a:pt x="5933" y="1113"/>
                    </a:lnTo>
                    <a:lnTo>
                      <a:pt x="5933" y="1039"/>
                    </a:lnTo>
                    <a:moveTo>
                      <a:pt x="2878" y="1011"/>
                    </a:moveTo>
                    <a:lnTo>
                      <a:pt x="2878" y="1011"/>
                    </a:lnTo>
                    <a:lnTo>
                      <a:pt x="2878" y="1013"/>
                    </a:lnTo>
                    <a:lnTo>
                      <a:pt x="2878" y="1046"/>
                    </a:lnTo>
                    <a:lnTo>
                      <a:pt x="2878" y="1046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07"/>
                    </a:lnTo>
                    <a:lnTo>
                      <a:pt x="3772" y="1207"/>
                    </a:lnTo>
                    <a:lnTo>
                      <a:pt x="3772" y="992"/>
                    </a:lnTo>
                    <a:moveTo>
                      <a:pt x="5952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25"/>
                    </a:lnTo>
                    <a:lnTo>
                      <a:pt x="5952" y="1025"/>
                    </a:lnTo>
                    <a:lnTo>
                      <a:pt x="5952" y="990"/>
                    </a:lnTo>
                    <a:moveTo>
                      <a:pt x="6342" y="935"/>
                    </a:moveTo>
                    <a:lnTo>
                      <a:pt x="6342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13"/>
                    </a:lnTo>
                    <a:lnTo>
                      <a:pt x="6342" y="1113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28"/>
                    </a:lnTo>
                    <a:lnTo>
                      <a:pt x="3845" y="978"/>
                    </a:lnTo>
                    <a:lnTo>
                      <a:pt x="3847" y="978"/>
                    </a:lnTo>
                    <a:lnTo>
                      <a:pt x="3847" y="928"/>
                    </a:lnTo>
                    <a:moveTo>
                      <a:pt x="6387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80" y="918"/>
                    </a:lnTo>
                    <a:lnTo>
                      <a:pt x="6380" y="918"/>
                    </a:lnTo>
                    <a:lnTo>
                      <a:pt x="6387" y="895"/>
                    </a:lnTo>
                    <a:moveTo>
                      <a:pt x="6392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88"/>
                    </a:lnTo>
                    <a:lnTo>
                      <a:pt x="6392" y="888"/>
                    </a:lnTo>
                    <a:lnTo>
                      <a:pt x="6392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3"/>
                    </a:lnTo>
                    <a:lnTo>
                      <a:pt x="807" y="1053"/>
                    </a:lnTo>
                    <a:lnTo>
                      <a:pt x="807" y="826"/>
                    </a:lnTo>
                    <a:moveTo>
                      <a:pt x="3103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963"/>
                    </a:lnTo>
                    <a:lnTo>
                      <a:pt x="3103" y="963"/>
                    </a:lnTo>
                    <a:lnTo>
                      <a:pt x="3103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3"/>
                    </a:lnTo>
                    <a:lnTo>
                      <a:pt x="1008" y="812"/>
                    </a:lnTo>
                    <a:lnTo>
                      <a:pt x="1010" y="812"/>
                    </a:lnTo>
                    <a:lnTo>
                      <a:pt x="1010" y="753"/>
                    </a:lnTo>
                    <a:moveTo>
                      <a:pt x="5134" y="731"/>
                    </a:moveTo>
                    <a:lnTo>
                      <a:pt x="5131" y="731"/>
                    </a:lnTo>
                    <a:lnTo>
                      <a:pt x="5131" y="731"/>
                    </a:lnTo>
                    <a:lnTo>
                      <a:pt x="5131" y="956"/>
                    </a:lnTo>
                    <a:lnTo>
                      <a:pt x="5134" y="956"/>
                    </a:lnTo>
                    <a:lnTo>
                      <a:pt x="5134" y="731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46"/>
                    </a:lnTo>
                    <a:lnTo>
                      <a:pt x="3140" y="746"/>
                    </a:lnTo>
                    <a:lnTo>
                      <a:pt x="3140" y="656"/>
                    </a:lnTo>
                    <a:moveTo>
                      <a:pt x="97" y="615"/>
                    </a:moveTo>
                    <a:lnTo>
                      <a:pt x="97" y="615"/>
                    </a:lnTo>
                    <a:lnTo>
                      <a:pt x="97" y="618"/>
                    </a:lnTo>
                    <a:lnTo>
                      <a:pt x="97" y="1437"/>
                    </a:lnTo>
                    <a:lnTo>
                      <a:pt x="97" y="1437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15"/>
                    </a:lnTo>
                    <a:lnTo>
                      <a:pt x="5254" y="715"/>
                    </a:lnTo>
                    <a:lnTo>
                      <a:pt x="5254" y="608"/>
                    </a:lnTo>
                    <a:moveTo>
                      <a:pt x="3285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2"/>
                    </a:lnTo>
                    <a:lnTo>
                      <a:pt x="3282" y="641"/>
                    </a:lnTo>
                    <a:lnTo>
                      <a:pt x="3285" y="641"/>
                    </a:lnTo>
                    <a:lnTo>
                      <a:pt x="3285" y="580"/>
                    </a:lnTo>
                    <a:moveTo>
                      <a:pt x="303" y="547"/>
                    </a:moveTo>
                    <a:lnTo>
                      <a:pt x="303" y="547"/>
                    </a:lnTo>
                    <a:lnTo>
                      <a:pt x="303" y="547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03" y="547"/>
                    </a:lnTo>
                    <a:moveTo>
                      <a:pt x="7028" y="507"/>
                    </a:moveTo>
                    <a:lnTo>
                      <a:pt x="7025" y="507"/>
                    </a:lnTo>
                    <a:lnTo>
                      <a:pt x="7025" y="509"/>
                    </a:lnTo>
                    <a:lnTo>
                      <a:pt x="7025" y="1676"/>
                    </a:lnTo>
                    <a:lnTo>
                      <a:pt x="7028" y="1676"/>
                    </a:lnTo>
                    <a:lnTo>
                      <a:pt x="7028" y="507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3" y="504"/>
                    </a:lnTo>
                    <a:lnTo>
                      <a:pt x="4136" y="585"/>
                    </a:lnTo>
                    <a:lnTo>
                      <a:pt x="4136" y="585"/>
                    </a:lnTo>
                    <a:lnTo>
                      <a:pt x="4195" y="502"/>
                    </a:lnTo>
                    <a:moveTo>
                      <a:pt x="3301" y="499"/>
                    </a:moveTo>
                    <a:lnTo>
                      <a:pt x="3301" y="499"/>
                    </a:lnTo>
                    <a:lnTo>
                      <a:pt x="3299" y="499"/>
                    </a:lnTo>
                    <a:lnTo>
                      <a:pt x="3299" y="502"/>
                    </a:lnTo>
                    <a:lnTo>
                      <a:pt x="3299" y="566"/>
                    </a:lnTo>
                    <a:lnTo>
                      <a:pt x="3301" y="566"/>
                    </a:lnTo>
                    <a:lnTo>
                      <a:pt x="3301" y="499"/>
                    </a:lnTo>
                    <a:moveTo>
                      <a:pt x="4039" y="452"/>
                    </a:moveTo>
                    <a:lnTo>
                      <a:pt x="4037" y="452"/>
                    </a:lnTo>
                    <a:lnTo>
                      <a:pt x="4037" y="452"/>
                    </a:lnTo>
                    <a:lnTo>
                      <a:pt x="4037" y="454"/>
                    </a:lnTo>
                    <a:lnTo>
                      <a:pt x="4037" y="490"/>
                    </a:lnTo>
                    <a:lnTo>
                      <a:pt x="3954" y="641"/>
                    </a:lnTo>
                    <a:lnTo>
                      <a:pt x="3954" y="911"/>
                    </a:lnTo>
                    <a:lnTo>
                      <a:pt x="3956" y="911"/>
                    </a:lnTo>
                    <a:lnTo>
                      <a:pt x="3956" y="641"/>
                    </a:lnTo>
                    <a:lnTo>
                      <a:pt x="4039" y="488"/>
                    </a:lnTo>
                    <a:lnTo>
                      <a:pt x="4039" y="452"/>
                    </a:lnTo>
                    <a:moveTo>
                      <a:pt x="3330" y="433"/>
                    </a:moveTo>
                    <a:lnTo>
                      <a:pt x="3330" y="433"/>
                    </a:lnTo>
                    <a:lnTo>
                      <a:pt x="3330" y="435"/>
                    </a:lnTo>
                    <a:lnTo>
                      <a:pt x="3330" y="485"/>
                    </a:lnTo>
                    <a:lnTo>
                      <a:pt x="3330" y="485"/>
                    </a:lnTo>
                    <a:lnTo>
                      <a:pt x="3330" y="433"/>
                    </a:lnTo>
                    <a:moveTo>
                      <a:pt x="4044" y="391"/>
                    </a:moveTo>
                    <a:lnTo>
                      <a:pt x="4044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7"/>
                    </a:lnTo>
                    <a:lnTo>
                      <a:pt x="4044" y="447"/>
                    </a:lnTo>
                    <a:lnTo>
                      <a:pt x="4044" y="445"/>
                    </a:lnTo>
                    <a:lnTo>
                      <a:pt x="4044" y="445"/>
                    </a:lnTo>
                    <a:lnTo>
                      <a:pt x="4044" y="391"/>
                    </a:lnTo>
                    <a:moveTo>
                      <a:pt x="1812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15"/>
                    </a:lnTo>
                    <a:lnTo>
                      <a:pt x="1812" y="1115"/>
                    </a:lnTo>
                    <a:lnTo>
                      <a:pt x="1812" y="367"/>
                    </a:lnTo>
                    <a:moveTo>
                      <a:pt x="1939" y="334"/>
                    </a:moveTo>
                    <a:lnTo>
                      <a:pt x="1939" y="334"/>
                    </a:lnTo>
                    <a:lnTo>
                      <a:pt x="1939" y="334"/>
                    </a:lnTo>
                    <a:lnTo>
                      <a:pt x="1939" y="353"/>
                    </a:lnTo>
                    <a:lnTo>
                      <a:pt x="1939" y="353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51" y="327"/>
                    </a:lnTo>
                    <a:lnTo>
                      <a:pt x="4051" y="329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7"/>
                    </a:lnTo>
                    <a:moveTo>
                      <a:pt x="2029" y="293"/>
                    </a:moveTo>
                    <a:lnTo>
                      <a:pt x="2029" y="293"/>
                    </a:lnTo>
                    <a:lnTo>
                      <a:pt x="2029" y="293"/>
                    </a:lnTo>
                    <a:lnTo>
                      <a:pt x="2029" y="317"/>
                    </a:lnTo>
                    <a:lnTo>
                      <a:pt x="2029" y="317"/>
                    </a:lnTo>
                    <a:lnTo>
                      <a:pt x="2029" y="293"/>
                    </a:lnTo>
                    <a:moveTo>
                      <a:pt x="4706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4"/>
                    </a:lnTo>
                    <a:lnTo>
                      <a:pt x="4642" y="464"/>
                    </a:lnTo>
                    <a:lnTo>
                      <a:pt x="4706" y="232"/>
                    </a:lnTo>
                    <a:moveTo>
                      <a:pt x="4805" y="170"/>
                    </a:moveTo>
                    <a:lnTo>
                      <a:pt x="4805" y="170"/>
                    </a:lnTo>
                    <a:lnTo>
                      <a:pt x="4803" y="170"/>
                    </a:lnTo>
                    <a:lnTo>
                      <a:pt x="4803" y="173"/>
                    </a:lnTo>
                    <a:lnTo>
                      <a:pt x="4803" y="215"/>
                    </a:lnTo>
                    <a:lnTo>
                      <a:pt x="4805" y="215"/>
                    </a:lnTo>
                    <a:lnTo>
                      <a:pt x="4805" y="170"/>
                    </a:lnTo>
                    <a:moveTo>
                      <a:pt x="4855" y="0"/>
                    </a:moveTo>
                    <a:lnTo>
                      <a:pt x="4852" y="0"/>
                    </a:lnTo>
                    <a:lnTo>
                      <a:pt x="4852" y="0"/>
                    </a:lnTo>
                    <a:lnTo>
                      <a:pt x="4852" y="156"/>
                    </a:lnTo>
                    <a:lnTo>
                      <a:pt x="4855" y="156"/>
                    </a:lnTo>
                    <a:lnTo>
                      <a:pt x="4855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0"/>
                    </a:lnTo>
                    <a:lnTo>
                      <a:pt x="4909" y="156"/>
                    </a:lnTo>
                    <a:lnTo>
                      <a:pt x="4911" y="15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7" name="Freeform 130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close/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close/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close/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close/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close/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close/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close/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close/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close/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close/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close/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1C1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8" name="Freeform 131"/>
              <p:cNvSpPr>
                <a:spLocks noEditPoints="1"/>
              </p:cNvSpPr>
              <p:nvPr/>
            </p:nvSpPr>
            <p:spPr bwMode="auto">
              <a:xfrm>
                <a:off x="33" y="1674"/>
                <a:ext cx="7027" cy="1679"/>
              </a:xfrm>
              <a:custGeom>
                <a:avLst/>
                <a:gdLst>
                  <a:gd name="T0" fmla="*/ 2 w 7027"/>
                  <a:gd name="T1" fmla="*/ 1520 h 1679"/>
                  <a:gd name="T2" fmla="*/ 5665 w 7027"/>
                  <a:gd name="T3" fmla="*/ 1435 h 1679"/>
                  <a:gd name="T4" fmla="*/ 3710 w 7027"/>
                  <a:gd name="T5" fmla="*/ 1222 h 1679"/>
                  <a:gd name="T6" fmla="*/ 5831 w 7027"/>
                  <a:gd name="T7" fmla="*/ 1208 h 1679"/>
                  <a:gd name="T8" fmla="*/ 5831 w 7027"/>
                  <a:gd name="T9" fmla="*/ 1312 h 1679"/>
                  <a:gd name="T10" fmla="*/ 1664 w 7027"/>
                  <a:gd name="T11" fmla="*/ 1158 h 1679"/>
                  <a:gd name="T12" fmla="*/ 1688 w 7027"/>
                  <a:gd name="T13" fmla="*/ 1132 h 1679"/>
                  <a:gd name="T14" fmla="*/ 5857 w 7027"/>
                  <a:gd name="T15" fmla="*/ 1127 h 1679"/>
                  <a:gd name="T16" fmla="*/ 5857 w 7027"/>
                  <a:gd name="T17" fmla="*/ 1196 h 1679"/>
                  <a:gd name="T18" fmla="*/ 6322 w 7027"/>
                  <a:gd name="T19" fmla="*/ 1130 h 1679"/>
                  <a:gd name="T20" fmla="*/ 1447 w 7027"/>
                  <a:gd name="T21" fmla="*/ 1125 h 1679"/>
                  <a:gd name="T22" fmla="*/ 1447 w 7027"/>
                  <a:gd name="T23" fmla="*/ 1125 h 1679"/>
                  <a:gd name="T24" fmla="*/ 1463 w 7027"/>
                  <a:gd name="T25" fmla="*/ 1113 h 1679"/>
                  <a:gd name="T26" fmla="*/ 2858 w 7027"/>
                  <a:gd name="T27" fmla="*/ 1064 h 1679"/>
                  <a:gd name="T28" fmla="*/ 5930 w 7027"/>
                  <a:gd name="T29" fmla="*/ 1042 h 1679"/>
                  <a:gd name="T30" fmla="*/ 5932 w 7027"/>
                  <a:gd name="T31" fmla="*/ 1042 h 1679"/>
                  <a:gd name="T32" fmla="*/ 2877 w 7027"/>
                  <a:gd name="T33" fmla="*/ 1049 h 1679"/>
                  <a:gd name="T34" fmla="*/ 3769 w 7027"/>
                  <a:gd name="T35" fmla="*/ 1210 h 1679"/>
                  <a:gd name="T36" fmla="*/ 5949 w 7027"/>
                  <a:gd name="T37" fmla="*/ 993 h 1679"/>
                  <a:gd name="T38" fmla="*/ 6339 w 7027"/>
                  <a:gd name="T39" fmla="*/ 936 h 1679"/>
                  <a:gd name="T40" fmla="*/ 6341 w 7027"/>
                  <a:gd name="T41" fmla="*/ 936 h 1679"/>
                  <a:gd name="T42" fmla="*/ 3847 w 7027"/>
                  <a:gd name="T43" fmla="*/ 981 h 1679"/>
                  <a:gd name="T44" fmla="*/ 6384 w 7027"/>
                  <a:gd name="T45" fmla="*/ 898 h 1679"/>
                  <a:gd name="T46" fmla="*/ 6389 w 7027"/>
                  <a:gd name="T47" fmla="*/ 879 h 1679"/>
                  <a:gd name="T48" fmla="*/ 6389 w 7027"/>
                  <a:gd name="T49" fmla="*/ 888 h 1679"/>
                  <a:gd name="T50" fmla="*/ 6396 w 7027"/>
                  <a:gd name="T51" fmla="*/ 853 h 1679"/>
                  <a:gd name="T52" fmla="*/ 6398 w 7027"/>
                  <a:gd name="T53" fmla="*/ 850 h 1679"/>
                  <a:gd name="T54" fmla="*/ 806 w 7027"/>
                  <a:gd name="T55" fmla="*/ 1056 h 1679"/>
                  <a:gd name="T56" fmla="*/ 3100 w 7027"/>
                  <a:gd name="T57" fmla="*/ 765 h 1679"/>
                  <a:gd name="T58" fmla="*/ 1007 w 7027"/>
                  <a:gd name="T59" fmla="*/ 753 h 1679"/>
                  <a:gd name="T60" fmla="*/ 5133 w 7027"/>
                  <a:gd name="T61" fmla="*/ 732 h 1679"/>
                  <a:gd name="T62" fmla="*/ 5133 w 7027"/>
                  <a:gd name="T63" fmla="*/ 732 h 1679"/>
                  <a:gd name="T64" fmla="*/ 3140 w 7027"/>
                  <a:gd name="T65" fmla="*/ 749 h 1679"/>
                  <a:gd name="T66" fmla="*/ 94 w 7027"/>
                  <a:gd name="T67" fmla="*/ 1440 h 1679"/>
                  <a:gd name="T68" fmla="*/ 5251 w 7027"/>
                  <a:gd name="T69" fmla="*/ 611 h 1679"/>
                  <a:gd name="T70" fmla="*/ 3282 w 7027"/>
                  <a:gd name="T71" fmla="*/ 583 h 1679"/>
                  <a:gd name="T72" fmla="*/ 3284 w 7027"/>
                  <a:gd name="T73" fmla="*/ 583 h 1679"/>
                  <a:gd name="T74" fmla="*/ 302 w 7027"/>
                  <a:gd name="T75" fmla="*/ 604 h 1679"/>
                  <a:gd name="T76" fmla="*/ 7025 w 7027"/>
                  <a:gd name="T77" fmla="*/ 1679 h 1679"/>
                  <a:gd name="T78" fmla="*/ 4192 w 7027"/>
                  <a:gd name="T79" fmla="*/ 505 h 1679"/>
                  <a:gd name="T80" fmla="*/ 3301 w 7027"/>
                  <a:gd name="T81" fmla="*/ 500 h 1679"/>
                  <a:gd name="T82" fmla="*/ 3301 w 7027"/>
                  <a:gd name="T83" fmla="*/ 500 h 1679"/>
                  <a:gd name="T84" fmla="*/ 4036 w 7027"/>
                  <a:gd name="T85" fmla="*/ 491 h 1679"/>
                  <a:gd name="T86" fmla="*/ 4038 w 7027"/>
                  <a:gd name="T87" fmla="*/ 488 h 1679"/>
                  <a:gd name="T88" fmla="*/ 3327 w 7027"/>
                  <a:gd name="T89" fmla="*/ 488 h 1679"/>
                  <a:gd name="T90" fmla="*/ 4041 w 7027"/>
                  <a:gd name="T91" fmla="*/ 391 h 1679"/>
                  <a:gd name="T92" fmla="*/ 4043 w 7027"/>
                  <a:gd name="T93" fmla="*/ 448 h 1679"/>
                  <a:gd name="T94" fmla="*/ 1809 w 7027"/>
                  <a:gd name="T95" fmla="*/ 1118 h 1679"/>
                  <a:gd name="T96" fmla="*/ 1936 w 7027"/>
                  <a:gd name="T97" fmla="*/ 337 h 1679"/>
                  <a:gd name="T98" fmla="*/ 4048 w 7027"/>
                  <a:gd name="T99" fmla="*/ 327 h 1679"/>
                  <a:gd name="T100" fmla="*/ 4050 w 7027"/>
                  <a:gd name="T101" fmla="*/ 382 h 1679"/>
                  <a:gd name="T102" fmla="*/ 2026 w 7027"/>
                  <a:gd name="T103" fmla="*/ 320 h 1679"/>
                  <a:gd name="T104" fmla="*/ 4703 w 7027"/>
                  <a:gd name="T105" fmla="*/ 235 h 1679"/>
                  <a:gd name="T106" fmla="*/ 4802 w 7027"/>
                  <a:gd name="T107" fmla="*/ 173 h 1679"/>
                  <a:gd name="T108" fmla="*/ 4804 w 7027"/>
                  <a:gd name="T109" fmla="*/ 173 h 1679"/>
                  <a:gd name="T110" fmla="*/ 4854 w 7027"/>
                  <a:gd name="T111" fmla="*/ 159 h 1679"/>
                  <a:gd name="T112" fmla="*/ 4908 w 7027"/>
                  <a:gd name="T113" fmla="*/ 159 h 16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7" h="1679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0"/>
                    </a:lnTo>
                    <a:lnTo>
                      <a:pt x="2" y="1520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35"/>
                    </a:lnTo>
                    <a:lnTo>
                      <a:pt x="5667" y="1435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5"/>
                    </a:lnTo>
                    <a:lnTo>
                      <a:pt x="3710" y="1378"/>
                    </a:lnTo>
                    <a:lnTo>
                      <a:pt x="3712" y="1378"/>
                    </a:lnTo>
                    <a:lnTo>
                      <a:pt x="3712" y="1222"/>
                    </a:lnTo>
                    <a:moveTo>
                      <a:pt x="5831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2"/>
                    </a:lnTo>
                    <a:lnTo>
                      <a:pt x="5831" y="1312"/>
                    </a:lnTo>
                    <a:lnTo>
                      <a:pt x="5831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87"/>
                    </a:lnTo>
                    <a:lnTo>
                      <a:pt x="1667" y="1187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5"/>
                    </a:lnTo>
                    <a:lnTo>
                      <a:pt x="1688" y="1144"/>
                    </a:lnTo>
                    <a:lnTo>
                      <a:pt x="1690" y="1144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196"/>
                    </a:lnTo>
                    <a:lnTo>
                      <a:pt x="5857" y="1196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0"/>
                    </a:lnTo>
                    <a:lnTo>
                      <a:pt x="6322" y="1350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4" y="1125"/>
                    </a:lnTo>
                    <a:lnTo>
                      <a:pt x="1444" y="1127"/>
                    </a:lnTo>
                    <a:lnTo>
                      <a:pt x="1444" y="1187"/>
                    </a:lnTo>
                    <a:lnTo>
                      <a:pt x="1447" y="1187"/>
                    </a:lnTo>
                    <a:lnTo>
                      <a:pt x="1447" y="1125"/>
                    </a:lnTo>
                    <a:moveTo>
                      <a:pt x="1463" y="1085"/>
                    </a:moveTo>
                    <a:lnTo>
                      <a:pt x="1463" y="1085"/>
                    </a:lnTo>
                    <a:lnTo>
                      <a:pt x="1463" y="1085"/>
                    </a:lnTo>
                    <a:lnTo>
                      <a:pt x="1463" y="1113"/>
                    </a:lnTo>
                    <a:lnTo>
                      <a:pt x="1463" y="1113"/>
                    </a:lnTo>
                    <a:lnTo>
                      <a:pt x="1463" y="1085"/>
                    </a:lnTo>
                    <a:moveTo>
                      <a:pt x="2861" y="1064"/>
                    </a:move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064"/>
                    </a:lnTo>
                    <a:lnTo>
                      <a:pt x="2858" y="1227"/>
                    </a:lnTo>
                    <a:lnTo>
                      <a:pt x="2861" y="1227"/>
                    </a:lnTo>
                    <a:lnTo>
                      <a:pt x="2861" y="1064"/>
                    </a:lnTo>
                    <a:moveTo>
                      <a:pt x="5932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16"/>
                    </a:lnTo>
                    <a:lnTo>
                      <a:pt x="5932" y="1116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4"/>
                    </a:lnTo>
                    <a:lnTo>
                      <a:pt x="2875" y="1049"/>
                    </a:lnTo>
                    <a:lnTo>
                      <a:pt x="2877" y="1049"/>
                    </a:lnTo>
                    <a:lnTo>
                      <a:pt x="2877" y="1011"/>
                    </a:lnTo>
                    <a:moveTo>
                      <a:pt x="3771" y="993"/>
                    </a:moveTo>
                    <a:lnTo>
                      <a:pt x="3769" y="993"/>
                    </a:lnTo>
                    <a:lnTo>
                      <a:pt x="3769" y="995"/>
                    </a:lnTo>
                    <a:lnTo>
                      <a:pt x="3769" y="1210"/>
                    </a:lnTo>
                    <a:lnTo>
                      <a:pt x="3771" y="1210"/>
                    </a:lnTo>
                    <a:lnTo>
                      <a:pt x="3771" y="993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3"/>
                    </a:lnTo>
                    <a:lnTo>
                      <a:pt x="5949" y="1028"/>
                    </a:lnTo>
                    <a:lnTo>
                      <a:pt x="5949" y="1028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39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16"/>
                    </a:lnTo>
                    <a:lnTo>
                      <a:pt x="6341" y="1116"/>
                    </a:lnTo>
                    <a:lnTo>
                      <a:pt x="6341" y="936"/>
                    </a:lnTo>
                    <a:moveTo>
                      <a:pt x="3847" y="929"/>
                    </a:moveTo>
                    <a:lnTo>
                      <a:pt x="3844" y="929"/>
                    </a:lnTo>
                    <a:lnTo>
                      <a:pt x="3844" y="931"/>
                    </a:lnTo>
                    <a:lnTo>
                      <a:pt x="3844" y="981"/>
                    </a:lnTo>
                    <a:lnTo>
                      <a:pt x="3847" y="981"/>
                    </a:lnTo>
                    <a:lnTo>
                      <a:pt x="3847" y="929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8"/>
                    </a:lnTo>
                    <a:lnTo>
                      <a:pt x="6377" y="921"/>
                    </a:lnTo>
                    <a:lnTo>
                      <a:pt x="6379" y="921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3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56"/>
                    </a:lnTo>
                    <a:lnTo>
                      <a:pt x="806" y="1056"/>
                    </a:lnTo>
                    <a:lnTo>
                      <a:pt x="806" y="827"/>
                    </a:lnTo>
                    <a:moveTo>
                      <a:pt x="3100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66"/>
                    </a:lnTo>
                    <a:lnTo>
                      <a:pt x="3100" y="966"/>
                    </a:lnTo>
                    <a:lnTo>
                      <a:pt x="3100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6"/>
                    </a:lnTo>
                    <a:lnTo>
                      <a:pt x="1007" y="815"/>
                    </a:lnTo>
                    <a:lnTo>
                      <a:pt x="1009" y="815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59"/>
                    </a:lnTo>
                    <a:lnTo>
                      <a:pt x="5133" y="959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49"/>
                    </a:lnTo>
                    <a:lnTo>
                      <a:pt x="3140" y="749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4" y="616"/>
                    </a:lnTo>
                    <a:lnTo>
                      <a:pt x="94" y="618"/>
                    </a:lnTo>
                    <a:lnTo>
                      <a:pt x="94" y="1440"/>
                    </a:lnTo>
                    <a:lnTo>
                      <a:pt x="97" y="1440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18"/>
                    </a:lnTo>
                    <a:lnTo>
                      <a:pt x="5254" y="718"/>
                    </a:lnTo>
                    <a:lnTo>
                      <a:pt x="5254" y="609"/>
                    </a:lnTo>
                    <a:moveTo>
                      <a:pt x="3284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644"/>
                    </a:lnTo>
                    <a:lnTo>
                      <a:pt x="3284" y="644"/>
                    </a:lnTo>
                    <a:lnTo>
                      <a:pt x="3284" y="583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04"/>
                    </a:lnTo>
                    <a:lnTo>
                      <a:pt x="302" y="604"/>
                    </a:lnTo>
                    <a:lnTo>
                      <a:pt x="302" y="547"/>
                    </a:lnTo>
                    <a:moveTo>
                      <a:pt x="7027" y="510"/>
                    </a:moveTo>
                    <a:lnTo>
                      <a:pt x="7025" y="510"/>
                    </a:lnTo>
                    <a:lnTo>
                      <a:pt x="7025" y="510"/>
                    </a:lnTo>
                    <a:lnTo>
                      <a:pt x="7025" y="1679"/>
                    </a:lnTo>
                    <a:lnTo>
                      <a:pt x="7027" y="1679"/>
                    </a:lnTo>
                    <a:lnTo>
                      <a:pt x="7027" y="510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33" y="588"/>
                    </a:lnTo>
                    <a:lnTo>
                      <a:pt x="4133" y="588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69"/>
                    </a:lnTo>
                    <a:lnTo>
                      <a:pt x="3301" y="569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1"/>
                    </a:lnTo>
                    <a:lnTo>
                      <a:pt x="3953" y="644"/>
                    </a:lnTo>
                    <a:lnTo>
                      <a:pt x="3953" y="914"/>
                    </a:lnTo>
                    <a:lnTo>
                      <a:pt x="3955" y="914"/>
                    </a:lnTo>
                    <a:lnTo>
                      <a:pt x="3955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88"/>
                    </a:lnTo>
                    <a:lnTo>
                      <a:pt x="3329" y="488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4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18"/>
                    </a:lnTo>
                    <a:lnTo>
                      <a:pt x="1811" y="1118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7"/>
                    </a:lnTo>
                    <a:lnTo>
                      <a:pt x="1936" y="356"/>
                    </a:lnTo>
                    <a:lnTo>
                      <a:pt x="1939" y="356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30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2"/>
                    </a:lnTo>
                    <a:lnTo>
                      <a:pt x="4050" y="382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0"/>
                    </a:lnTo>
                    <a:lnTo>
                      <a:pt x="2028" y="320"/>
                    </a:lnTo>
                    <a:lnTo>
                      <a:pt x="2028" y="294"/>
                    </a:lnTo>
                    <a:moveTo>
                      <a:pt x="4703" y="233"/>
                    </a:moveTo>
                    <a:lnTo>
                      <a:pt x="4703" y="233"/>
                    </a:lnTo>
                    <a:lnTo>
                      <a:pt x="4703" y="235"/>
                    </a:lnTo>
                    <a:lnTo>
                      <a:pt x="4639" y="467"/>
                    </a:lnTo>
                    <a:lnTo>
                      <a:pt x="4641" y="465"/>
                    </a:lnTo>
                    <a:lnTo>
                      <a:pt x="4703" y="233"/>
                    </a:lnTo>
                    <a:moveTo>
                      <a:pt x="4804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18"/>
                    </a:lnTo>
                    <a:lnTo>
                      <a:pt x="4804" y="218"/>
                    </a:lnTo>
                    <a:lnTo>
                      <a:pt x="4804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59"/>
                    </a:lnTo>
                    <a:lnTo>
                      <a:pt x="4854" y="159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59"/>
                    </a:lnTo>
                    <a:lnTo>
                      <a:pt x="4911" y="159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9" name="Freeform 132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close/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close/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close/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close/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close/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close/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C0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0" name="Freeform 133"/>
              <p:cNvSpPr>
                <a:spLocks noEditPoints="1"/>
              </p:cNvSpPr>
              <p:nvPr/>
            </p:nvSpPr>
            <p:spPr bwMode="auto">
              <a:xfrm>
                <a:off x="35" y="1672"/>
                <a:ext cx="7025" cy="1681"/>
              </a:xfrm>
              <a:custGeom>
                <a:avLst/>
                <a:gdLst>
                  <a:gd name="T0" fmla="*/ 2 w 7025"/>
                  <a:gd name="T1" fmla="*/ 1522 h 1681"/>
                  <a:gd name="T2" fmla="*/ 5665 w 7025"/>
                  <a:gd name="T3" fmla="*/ 1437 h 1681"/>
                  <a:gd name="T4" fmla="*/ 3710 w 7025"/>
                  <a:gd name="T5" fmla="*/ 1222 h 1681"/>
                  <a:gd name="T6" fmla="*/ 5831 w 7025"/>
                  <a:gd name="T7" fmla="*/ 1210 h 1681"/>
                  <a:gd name="T8" fmla="*/ 5831 w 7025"/>
                  <a:gd name="T9" fmla="*/ 1314 h 1681"/>
                  <a:gd name="T10" fmla="*/ 1665 w 7025"/>
                  <a:gd name="T11" fmla="*/ 1158 h 1681"/>
                  <a:gd name="T12" fmla="*/ 1688 w 7025"/>
                  <a:gd name="T13" fmla="*/ 1132 h 1681"/>
                  <a:gd name="T14" fmla="*/ 5857 w 7025"/>
                  <a:gd name="T15" fmla="*/ 1127 h 1681"/>
                  <a:gd name="T16" fmla="*/ 5857 w 7025"/>
                  <a:gd name="T17" fmla="*/ 1198 h 1681"/>
                  <a:gd name="T18" fmla="*/ 6320 w 7025"/>
                  <a:gd name="T19" fmla="*/ 1129 h 1681"/>
                  <a:gd name="T20" fmla="*/ 1445 w 7025"/>
                  <a:gd name="T21" fmla="*/ 1125 h 1681"/>
                  <a:gd name="T22" fmla="*/ 1447 w 7025"/>
                  <a:gd name="T23" fmla="*/ 1125 h 1681"/>
                  <a:gd name="T24" fmla="*/ 1464 w 7025"/>
                  <a:gd name="T25" fmla="*/ 1115 h 1681"/>
                  <a:gd name="T26" fmla="*/ 2859 w 7025"/>
                  <a:gd name="T27" fmla="*/ 1066 h 1681"/>
                  <a:gd name="T28" fmla="*/ 5930 w 7025"/>
                  <a:gd name="T29" fmla="*/ 1042 h 1681"/>
                  <a:gd name="T30" fmla="*/ 5930 w 7025"/>
                  <a:gd name="T31" fmla="*/ 1042 h 1681"/>
                  <a:gd name="T32" fmla="*/ 2878 w 7025"/>
                  <a:gd name="T33" fmla="*/ 1051 h 1681"/>
                  <a:gd name="T34" fmla="*/ 3769 w 7025"/>
                  <a:gd name="T35" fmla="*/ 1212 h 1681"/>
                  <a:gd name="T36" fmla="*/ 5947 w 7025"/>
                  <a:gd name="T37" fmla="*/ 992 h 1681"/>
                  <a:gd name="T38" fmla="*/ 6339 w 7025"/>
                  <a:gd name="T39" fmla="*/ 935 h 1681"/>
                  <a:gd name="T40" fmla="*/ 6339 w 7025"/>
                  <a:gd name="T41" fmla="*/ 935 h 1681"/>
                  <a:gd name="T42" fmla="*/ 3845 w 7025"/>
                  <a:gd name="T43" fmla="*/ 983 h 1681"/>
                  <a:gd name="T44" fmla="*/ 6384 w 7025"/>
                  <a:gd name="T45" fmla="*/ 897 h 1681"/>
                  <a:gd name="T46" fmla="*/ 6389 w 7025"/>
                  <a:gd name="T47" fmla="*/ 879 h 1681"/>
                  <a:gd name="T48" fmla="*/ 6389 w 7025"/>
                  <a:gd name="T49" fmla="*/ 890 h 1681"/>
                  <a:gd name="T50" fmla="*/ 6396 w 7025"/>
                  <a:gd name="T51" fmla="*/ 852 h 1681"/>
                  <a:gd name="T52" fmla="*/ 6398 w 7025"/>
                  <a:gd name="T53" fmla="*/ 850 h 1681"/>
                  <a:gd name="T54" fmla="*/ 806 w 7025"/>
                  <a:gd name="T55" fmla="*/ 1058 h 1681"/>
                  <a:gd name="T56" fmla="*/ 3098 w 7025"/>
                  <a:gd name="T57" fmla="*/ 765 h 1681"/>
                  <a:gd name="T58" fmla="*/ 1007 w 7025"/>
                  <a:gd name="T59" fmla="*/ 753 h 1681"/>
                  <a:gd name="T60" fmla="*/ 5133 w 7025"/>
                  <a:gd name="T61" fmla="*/ 732 h 1681"/>
                  <a:gd name="T62" fmla="*/ 5133 w 7025"/>
                  <a:gd name="T63" fmla="*/ 732 h 1681"/>
                  <a:gd name="T64" fmla="*/ 3138 w 7025"/>
                  <a:gd name="T65" fmla="*/ 751 h 1681"/>
                  <a:gd name="T66" fmla="*/ 95 w 7025"/>
                  <a:gd name="T67" fmla="*/ 1442 h 1681"/>
                  <a:gd name="T68" fmla="*/ 5252 w 7025"/>
                  <a:gd name="T69" fmla="*/ 611 h 1681"/>
                  <a:gd name="T70" fmla="*/ 3282 w 7025"/>
                  <a:gd name="T71" fmla="*/ 583 h 1681"/>
                  <a:gd name="T72" fmla="*/ 3282 w 7025"/>
                  <a:gd name="T73" fmla="*/ 583 h 1681"/>
                  <a:gd name="T74" fmla="*/ 303 w 7025"/>
                  <a:gd name="T75" fmla="*/ 606 h 1681"/>
                  <a:gd name="T76" fmla="*/ 7025 w 7025"/>
                  <a:gd name="T77" fmla="*/ 1681 h 1681"/>
                  <a:gd name="T78" fmla="*/ 4192 w 7025"/>
                  <a:gd name="T79" fmla="*/ 504 h 1681"/>
                  <a:gd name="T80" fmla="*/ 3299 w 7025"/>
                  <a:gd name="T81" fmla="*/ 502 h 1681"/>
                  <a:gd name="T82" fmla="*/ 3301 w 7025"/>
                  <a:gd name="T83" fmla="*/ 502 h 1681"/>
                  <a:gd name="T84" fmla="*/ 4036 w 7025"/>
                  <a:gd name="T85" fmla="*/ 490 h 1681"/>
                  <a:gd name="T86" fmla="*/ 4036 w 7025"/>
                  <a:gd name="T87" fmla="*/ 490 h 1681"/>
                  <a:gd name="T88" fmla="*/ 3327 w 7025"/>
                  <a:gd name="T89" fmla="*/ 490 h 1681"/>
                  <a:gd name="T90" fmla="*/ 4041 w 7025"/>
                  <a:gd name="T91" fmla="*/ 391 h 1681"/>
                  <a:gd name="T92" fmla="*/ 4043 w 7025"/>
                  <a:gd name="T93" fmla="*/ 448 h 1681"/>
                  <a:gd name="T94" fmla="*/ 1809 w 7025"/>
                  <a:gd name="T95" fmla="*/ 1120 h 1681"/>
                  <a:gd name="T96" fmla="*/ 1937 w 7025"/>
                  <a:gd name="T97" fmla="*/ 336 h 1681"/>
                  <a:gd name="T98" fmla="*/ 4048 w 7025"/>
                  <a:gd name="T99" fmla="*/ 327 h 1681"/>
                  <a:gd name="T100" fmla="*/ 4050 w 7025"/>
                  <a:gd name="T101" fmla="*/ 381 h 1681"/>
                  <a:gd name="T102" fmla="*/ 2026 w 7025"/>
                  <a:gd name="T103" fmla="*/ 322 h 1681"/>
                  <a:gd name="T104" fmla="*/ 4701 w 7025"/>
                  <a:gd name="T105" fmla="*/ 235 h 1681"/>
                  <a:gd name="T106" fmla="*/ 4802 w 7025"/>
                  <a:gd name="T107" fmla="*/ 173 h 1681"/>
                  <a:gd name="T108" fmla="*/ 4805 w 7025"/>
                  <a:gd name="T109" fmla="*/ 173 h 1681"/>
                  <a:gd name="T110" fmla="*/ 4852 w 7025"/>
                  <a:gd name="T111" fmla="*/ 161 h 1681"/>
                  <a:gd name="T112" fmla="*/ 4909 w 7025"/>
                  <a:gd name="T113" fmla="*/ 161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1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2"/>
                    </a:lnTo>
                    <a:lnTo>
                      <a:pt x="2" y="1522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37"/>
                    </a:lnTo>
                    <a:lnTo>
                      <a:pt x="5665" y="1437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0"/>
                    </a:lnTo>
                    <a:lnTo>
                      <a:pt x="3712" y="1380"/>
                    </a:lnTo>
                    <a:lnTo>
                      <a:pt x="3712" y="1222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0"/>
                    </a:lnTo>
                    <a:lnTo>
                      <a:pt x="5829" y="1314"/>
                    </a:lnTo>
                    <a:lnTo>
                      <a:pt x="5831" y="1314"/>
                    </a:lnTo>
                    <a:lnTo>
                      <a:pt x="5831" y="1210"/>
                    </a:lnTo>
                    <a:moveTo>
                      <a:pt x="1667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89"/>
                    </a:lnTo>
                    <a:lnTo>
                      <a:pt x="1667" y="1189"/>
                    </a:lnTo>
                    <a:lnTo>
                      <a:pt x="1667" y="1158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46"/>
                    </a:lnTo>
                    <a:lnTo>
                      <a:pt x="1688" y="1146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198"/>
                    </a:lnTo>
                    <a:lnTo>
                      <a:pt x="5857" y="1198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2"/>
                    </a:lnTo>
                    <a:lnTo>
                      <a:pt x="6323" y="1352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89"/>
                    </a:lnTo>
                    <a:lnTo>
                      <a:pt x="1447" y="1189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7"/>
                    </a:lnTo>
                    <a:lnTo>
                      <a:pt x="1461" y="1115"/>
                    </a:lnTo>
                    <a:lnTo>
                      <a:pt x="1464" y="1115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6"/>
                    </a:lnTo>
                    <a:lnTo>
                      <a:pt x="2859" y="1229"/>
                    </a:lnTo>
                    <a:lnTo>
                      <a:pt x="2861" y="1229"/>
                    </a:lnTo>
                    <a:lnTo>
                      <a:pt x="2861" y="1063"/>
                    </a:lnTo>
                    <a:moveTo>
                      <a:pt x="5930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18"/>
                    </a:lnTo>
                    <a:lnTo>
                      <a:pt x="5930" y="1118"/>
                    </a:lnTo>
                    <a:lnTo>
                      <a:pt x="5930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1"/>
                    </a:lnTo>
                    <a:lnTo>
                      <a:pt x="2878" y="1051"/>
                    </a:lnTo>
                    <a:lnTo>
                      <a:pt x="2878" y="1011"/>
                    </a:lnTo>
                    <a:moveTo>
                      <a:pt x="3771" y="995"/>
                    </a:moveTo>
                    <a:lnTo>
                      <a:pt x="3769" y="995"/>
                    </a:lnTo>
                    <a:lnTo>
                      <a:pt x="3769" y="995"/>
                    </a:lnTo>
                    <a:lnTo>
                      <a:pt x="3769" y="1212"/>
                    </a:lnTo>
                    <a:lnTo>
                      <a:pt x="3771" y="1212"/>
                    </a:lnTo>
                    <a:lnTo>
                      <a:pt x="3771" y="995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0"/>
                    </a:lnTo>
                    <a:lnTo>
                      <a:pt x="5949" y="1030"/>
                    </a:lnTo>
                    <a:lnTo>
                      <a:pt x="5949" y="990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18"/>
                    </a:lnTo>
                    <a:lnTo>
                      <a:pt x="6339" y="1118"/>
                    </a:lnTo>
                    <a:lnTo>
                      <a:pt x="6339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1"/>
                    </a:lnTo>
                    <a:lnTo>
                      <a:pt x="3845" y="983"/>
                    </a:lnTo>
                    <a:lnTo>
                      <a:pt x="3845" y="983"/>
                    </a:lnTo>
                    <a:lnTo>
                      <a:pt x="3845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7" y="923"/>
                    </a:lnTo>
                    <a:lnTo>
                      <a:pt x="6379" y="923"/>
                    </a:lnTo>
                    <a:lnTo>
                      <a:pt x="6384" y="895"/>
                    </a:lnTo>
                    <a:moveTo>
                      <a:pt x="6389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8" y="871"/>
                    </a:lnTo>
                    <a:lnTo>
                      <a:pt x="6398" y="869"/>
                    </a:lnTo>
                    <a:lnTo>
                      <a:pt x="6398" y="869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58"/>
                    </a:lnTo>
                    <a:lnTo>
                      <a:pt x="806" y="1058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5"/>
                    </a:lnTo>
                    <a:lnTo>
                      <a:pt x="3098" y="968"/>
                    </a:lnTo>
                    <a:lnTo>
                      <a:pt x="3100" y="968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17"/>
                    </a:lnTo>
                    <a:lnTo>
                      <a:pt x="1010" y="817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1"/>
                    </a:lnTo>
                    <a:lnTo>
                      <a:pt x="5133" y="961"/>
                    </a:lnTo>
                    <a:lnTo>
                      <a:pt x="5133" y="732"/>
                    </a:lnTo>
                    <a:moveTo>
                      <a:pt x="3138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1"/>
                    </a:lnTo>
                    <a:lnTo>
                      <a:pt x="3138" y="751"/>
                    </a:lnTo>
                    <a:lnTo>
                      <a:pt x="3138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2"/>
                    </a:lnTo>
                    <a:lnTo>
                      <a:pt x="97" y="1442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2" y="609"/>
                    </a:lnTo>
                    <a:lnTo>
                      <a:pt x="5252" y="611"/>
                    </a:lnTo>
                    <a:lnTo>
                      <a:pt x="5252" y="720"/>
                    </a:lnTo>
                    <a:lnTo>
                      <a:pt x="5254" y="720"/>
                    </a:lnTo>
                    <a:lnTo>
                      <a:pt x="5254" y="609"/>
                    </a:lnTo>
                    <a:moveTo>
                      <a:pt x="3282" y="583"/>
                    </a:moveTo>
                    <a:lnTo>
                      <a:pt x="3282" y="583"/>
                    </a:lnTo>
                    <a:lnTo>
                      <a:pt x="3282" y="583"/>
                    </a:lnTo>
                    <a:lnTo>
                      <a:pt x="3282" y="585"/>
                    </a:lnTo>
                    <a:lnTo>
                      <a:pt x="3282" y="646"/>
                    </a:lnTo>
                    <a:lnTo>
                      <a:pt x="3282" y="646"/>
                    </a:lnTo>
                    <a:lnTo>
                      <a:pt x="3282" y="583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06"/>
                    </a:lnTo>
                    <a:lnTo>
                      <a:pt x="303" y="606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2"/>
                    </a:lnTo>
                    <a:lnTo>
                      <a:pt x="7025" y="1681"/>
                    </a:lnTo>
                    <a:lnTo>
                      <a:pt x="7025" y="1681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2" y="502"/>
                    </a:lnTo>
                    <a:lnTo>
                      <a:pt x="4192" y="504"/>
                    </a:lnTo>
                    <a:lnTo>
                      <a:pt x="4131" y="590"/>
                    </a:lnTo>
                    <a:lnTo>
                      <a:pt x="4131" y="590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1"/>
                    </a:lnTo>
                    <a:lnTo>
                      <a:pt x="3301" y="571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3" y="644"/>
                    </a:lnTo>
                    <a:lnTo>
                      <a:pt x="3953" y="916"/>
                    </a:lnTo>
                    <a:lnTo>
                      <a:pt x="3956" y="916"/>
                    </a:lnTo>
                    <a:lnTo>
                      <a:pt x="3956" y="642"/>
                    </a:lnTo>
                    <a:lnTo>
                      <a:pt x="4036" y="490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0"/>
                    </a:lnTo>
                    <a:lnTo>
                      <a:pt x="3329" y="490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0"/>
                    </a:lnTo>
                    <a:lnTo>
                      <a:pt x="1809" y="1120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58"/>
                    </a:lnTo>
                    <a:lnTo>
                      <a:pt x="1939" y="358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4"/>
                    </a:lnTo>
                    <a:lnTo>
                      <a:pt x="4050" y="384"/>
                    </a:lnTo>
                    <a:lnTo>
                      <a:pt x="4050" y="381"/>
                    </a:lnTo>
                    <a:lnTo>
                      <a:pt x="4050" y="381"/>
                    </a:lnTo>
                    <a:lnTo>
                      <a:pt x="4050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2"/>
                    </a:lnTo>
                    <a:lnTo>
                      <a:pt x="2029" y="322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5"/>
                    </a:lnTo>
                    <a:lnTo>
                      <a:pt x="4639" y="467"/>
                    </a:lnTo>
                    <a:lnTo>
                      <a:pt x="4639" y="467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5"/>
                    </a:lnTo>
                    <a:lnTo>
                      <a:pt x="4802" y="220"/>
                    </a:lnTo>
                    <a:lnTo>
                      <a:pt x="4805" y="220"/>
                    </a:lnTo>
                    <a:lnTo>
                      <a:pt x="4805" y="173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1"/>
                    </a:lnTo>
                    <a:lnTo>
                      <a:pt x="4852" y="161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1"/>
                    </a:lnTo>
                    <a:lnTo>
                      <a:pt x="4911" y="161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1" name="Freeform 134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close/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close/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close/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close/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close/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close/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close/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close/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close/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close/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close/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close/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close/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close/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E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2" name="Freeform 135"/>
              <p:cNvSpPr>
                <a:spLocks noEditPoints="1"/>
              </p:cNvSpPr>
              <p:nvPr/>
            </p:nvSpPr>
            <p:spPr bwMode="auto">
              <a:xfrm>
                <a:off x="37" y="1670"/>
                <a:ext cx="7025" cy="1683"/>
              </a:xfrm>
              <a:custGeom>
                <a:avLst/>
                <a:gdLst>
                  <a:gd name="T0" fmla="*/ 3 w 7025"/>
                  <a:gd name="T1" fmla="*/ 1524 h 1683"/>
                  <a:gd name="T2" fmla="*/ 5663 w 7025"/>
                  <a:gd name="T3" fmla="*/ 1439 h 1683"/>
                  <a:gd name="T4" fmla="*/ 3710 w 7025"/>
                  <a:gd name="T5" fmla="*/ 1221 h 1683"/>
                  <a:gd name="T6" fmla="*/ 5831 w 7025"/>
                  <a:gd name="T7" fmla="*/ 1210 h 1683"/>
                  <a:gd name="T8" fmla="*/ 5831 w 7025"/>
                  <a:gd name="T9" fmla="*/ 1316 h 1683"/>
                  <a:gd name="T10" fmla="*/ 1665 w 7025"/>
                  <a:gd name="T11" fmla="*/ 1160 h 1683"/>
                  <a:gd name="T12" fmla="*/ 1686 w 7025"/>
                  <a:gd name="T13" fmla="*/ 1131 h 1683"/>
                  <a:gd name="T14" fmla="*/ 5857 w 7025"/>
                  <a:gd name="T15" fmla="*/ 1129 h 1683"/>
                  <a:gd name="T16" fmla="*/ 5857 w 7025"/>
                  <a:gd name="T17" fmla="*/ 1200 h 1683"/>
                  <a:gd name="T18" fmla="*/ 6321 w 7025"/>
                  <a:gd name="T19" fmla="*/ 1129 h 1683"/>
                  <a:gd name="T20" fmla="*/ 1445 w 7025"/>
                  <a:gd name="T21" fmla="*/ 1127 h 1683"/>
                  <a:gd name="T22" fmla="*/ 1447 w 7025"/>
                  <a:gd name="T23" fmla="*/ 1127 h 1683"/>
                  <a:gd name="T24" fmla="*/ 1464 w 7025"/>
                  <a:gd name="T25" fmla="*/ 1117 h 1683"/>
                  <a:gd name="T26" fmla="*/ 2859 w 7025"/>
                  <a:gd name="T27" fmla="*/ 1065 h 1683"/>
                  <a:gd name="T28" fmla="*/ 5931 w 7025"/>
                  <a:gd name="T29" fmla="*/ 1041 h 1683"/>
                  <a:gd name="T30" fmla="*/ 5931 w 7025"/>
                  <a:gd name="T31" fmla="*/ 1041 h 1683"/>
                  <a:gd name="T32" fmla="*/ 2878 w 7025"/>
                  <a:gd name="T33" fmla="*/ 1053 h 1683"/>
                  <a:gd name="T34" fmla="*/ 3769 w 7025"/>
                  <a:gd name="T35" fmla="*/ 1214 h 1683"/>
                  <a:gd name="T36" fmla="*/ 5947 w 7025"/>
                  <a:gd name="T37" fmla="*/ 992 h 1683"/>
                  <a:gd name="T38" fmla="*/ 6340 w 7025"/>
                  <a:gd name="T39" fmla="*/ 935 h 1683"/>
                  <a:gd name="T40" fmla="*/ 6340 w 7025"/>
                  <a:gd name="T41" fmla="*/ 935 h 1683"/>
                  <a:gd name="T42" fmla="*/ 3845 w 7025"/>
                  <a:gd name="T43" fmla="*/ 985 h 1683"/>
                  <a:gd name="T44" fmla="*/ 6382 w 7025"/>
                  <a:gd name="T45" fmla="*/ 897 h 1683"/>
                  <a:gd name="T46" fmla="*/ 6389 w 7025"/>
                  <a:gd name="T47" fmla="*/ 878 h 1683"/>
                  <a:gd name="T48" fmla="*/ 6389 w 7025"/>
                  <a:gd name="T49" fmla="*/ 890 h 1683"/>
                  <a:gd name="T50" fmla="*/ 6396 w 7025"/>
                  <a:gd name="T51" fmla="*/ 852 h 1683"/>
                  <a:gd name="T52" fmla="*/ 6399 w 7025"/>
                  <a:gd name="T53" fmla="*/ 850 h 1683"/>
                  <a:gd name="T54" fmla="*/ 804 w 7025"/>
                  <a:gd name="T55" fmla="*/ 1060 h 1683"/>
                  <a:gd name="T56" fmla="*/ 3098 w 7025"/>
                  <a:gd name="T57" fmla="*/ 764 h 1683"/>
                  <a:gd name="T58" fmla="*/ 1008 w 7025"/>
                  <a:gd name="T59" fmla="*/ 753 h 1683"/>
                  <a:gd name="T60" fmla="*/ 5131 w 7025"/>
                  <a:gd name="T61" fmla="*/ 731 h 1683"/>
                  <a:gd name="T62" fmla="*/ 5131 w 7025"/>
                  <a:gd name="T63" fmla="*/ 731 h 1683"/>
                  <a:gd name="T64" fmla="*/ 3138 w 7025"/>
                  <a:gd name="T65" fmla="*/ 753 h 1683"/>
                  <a:gd name="T66" fmla="*/ 95 w 7025"/>
                  <a:gd name="T67" fmla="*/ 1444 h 1683"/>
                  <a:gd name="T68" fmla="*/ 5252 w 7025"/>
                  <a:gd name="T69" fmla="*/ 611 h 1683"/>
                  <a:gd name="T70" fmla="*/ 3282 w 7025"/>
                  <a:gd name="T71" fmla="*/ 582 h 1683"/>
                  <a:gd name="T72" fmla="*/ 3282 w 7025"/>
                  <a:gd name="T73" fmla="*/ 582 h 1683"/>
                  <a:gd name="T74" fmla="*/ 303 w 7025"/>
                  <a:gd name="T75" fmla="*/ 608 h 1683"/>
                  <a:gd name="T76" fmla="*/ 7023 w 7025"/>
                  <a:gd name="T77" fmla="*/ 1683 h 1683"/>
                  <a:gd name="T78" fmla="*/ 4193 w 7025"/>
                  <a:gd name="T79" fmla="*/ 504 h 1683"/>
                  <a:gd name="T80" fmla="*/ 3299 w 7025"/>
                  <a:gd name="T81" fmla="*/ 502 h 1683"/>
                  <a:gd name="T82" fmla="*/ 3301 w 7025"/>
                  <a:gd name="T83" fmla="*/ 502 h 1683"/>
                  <a:gd name="T84" fmla="*/ 4034 w 7025"/>
                  <a:gd name="T85" fmla="*/ 492 h 1683"/>
                  <a:gd name="T86" fmla="*/ 4037 w 7025"/>
                  <a:gd name="T87" fmla="*/ 490 h 1683"/>
                  <a:gd name="T88" fmla="*/ 3327 w 7025"/>
                  <a:gd name="T89" fmla="*/ 492 h 1683"/>
                  <a:gd name="T90" fmla="*/ 4041 w 7025"/>
                  <a:gd name="T91" fmla="*/ 390 h 1683"/>
                  <a:gd name="T92" fmla="*/ 4041 w 7025"/>
                  <a:gd name="T93" fmla="*/ 447 h 1683"/>
                  <a:gd name="T94" fmla="*/ 1807 w 7025"/>
                  <a:gd name="T95" fmla="*/ 1122 h 1683"/>
                  <a:gd name="T96" fmla="*/ 1937 w 7025"/>
                  <a:gd name="T97" fmla="*/ 336 h 1683"/>
                  <a:gd name="T98" fmla="*/ 4048 w 7025"/>
                  <a:gd name="T99" fmla="*/ 326 h 1683"/>
                  <a:gd name="T100" fmla="*/ 4051 w 7025"/>
                  <a:gd name="T101" fmla="*/ 381 h 1683"/>
                  <a:gd name="T102" fmla="*/ 2027 w 7025"/>
                  <a:gd name="T103" fmla="*/ 324 h 1683"/>
                  <a:gd name="T104" fmla="*/ 4701 w 7025"/>
                  <a:gd name="T105" fmla="*/ 234 h 1683"/>
                  <a:gd name="T106" fmla="*/ 4803 w 7025"/>
                  <a:gd name="T107" fmla="*/ 173 h 1683"/>
                  <a:gd name="T108" fmla="*/ 4803 w 7025"/>
                  <a:gd name="T109" fmla="*/ 173 h 1683"/>
                  <a:gd name="T110" fmla="*/ 4852 w 7025"/>
                  <a:gd name="T111" fmla="*/ 163 h 1683"/>
                  <a:gd name="T112" fmla="*/ 4909 w 7025"/>
                  <a:gd name="T113" fmla="*/ 163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025" h="1683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24"/>
                    </a:lnTo>
                    <a:lnTo>
                      <a:pt x="3" y="1524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39"/>
                    </a:lnTo>
                    <a:lnTo>
                      <a:pt x="5666" y="1439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10"/>
                    </a:moveTo>
                    <a:lnTo>
                      <a:pt x="5831" y="1210"/>
                    </a:lnTo>
                    <a:lnTo>
                      <a:pt x="5829" y="1210"/>
                    </a:lnTo>
                    <a:lnTo>
                      <a:pt x="5829" y="1212"/>
                    </a:lnTo>
                    <a:lnTo>
                      <a:pt x="5829" y="1316"/>
                    </a:lnTo>
                    <a:lnTo>
                      <a:pt x="5831" y="1316"/>
                    </a:lnTo>
                    <a:lnTo>
                      <a:pt x="5831" y="1210"/>
                    </a:lnTo>
                    <a:moveTo>
                      <a:pt x="1665" y="1158"/>
                    </a:moveTo>
                    <a:lnTo>
                      <a:pt x="1665" y="1158"/>
                    </a:lnTo>
                    <a:lnTo>
                      <a:pt x="1665" y="1158"/>
                    </a:lnTo>
                    <a:lnTo>
                      <a:pt x="1665" y="1160"/>
                    </a:lnTo>
                    <a:lnTo>
                      <a:pt x="1665" y="1191"/>
                    </a:lnTo>
                    <a:lnTo>
                      <a:pt x="1665" y="1191"/>
                    </a:lnTo>
                    <a:lnTo>
                      <a:pt x="1665" y="1158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48"/>
                    </a:lnTo>
                    <a:lnTo>
                      <a:pt x="1689" y="1148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0"/>
                    </a:lnTo>
                    <a:lnTo>
                      <a:pt x="5857" y="1200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54"/>
                    </a:lnTo>
                    <a:lnTo>
                      <a:pt x="6323" y="1354"/>
                    </a:lnTo>
                    <a:lnTo>
                      <a:pt x="6323" y="1129"/>
                    </a:lnTo>
                    <a:moveTo>
                      <a:pt x="1447" y="1127"/>
                    </a:move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27"/>
                    </a:lnTo>
                    <a:lnTo>
                      <a:pt x="1445" y="1191"/>
                    </a:lnTo>
                    <a:lnTo>
                      <a:pt x="1447" y="1191"/>
                    </a:lnTo>
                    <a:lnTo>
                      <a:pt x="1447" y="1127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17"/>
                    </a:lnTo>
                    <a:lnTo>
                      <a:pt x="1464" y="1117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1"/>
                    </a:lnTo>
                    <a:lnTo>
                      <a:pt x="2861" y="1231"/>
                    </a:lnTo>
                    <a:lnTo>
                      <a:pt x="2861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28" y="1041"/>
                    </a:lnTo>
                    <a:lnTo>
                      <a:pt x="5928" y="1044"/>
                    </a:lnTo>
                    <a:lnTo>
                      <a:pt x="5928" y="1120"/>
                    </a:lnTo>
                    <a:lnTo>
                      <a:pt x="5931" y="1120"/>
                    </a:lnTo>
                    <a:lnTo>
                      <a:pt x="5931" y="1041"/>
                    </a:lnTo>
                    <a:moveTo>
                      <a:pt x="2878" y="1013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53"/>
                    </a:lnTo>
                    <a:lnTo>
                      <a:pt x="2878" y="1053"/>
                    </a:lnTo>
                    <a:lnTo>
                      <a:pt x="2878" y="1013"/>
                    </a:lnTo>
                    <a:moveTo>
                      <a:pt x="3769" y="994"/>
                    </a:moveTo>
                    <a:lnTo>
                      <a:pt x="3769" y="994"/>
                    </a:lnTo>
                    <a:lnTo>
                      <a:pt x="3769" y="997"/>
                    </a:lnTo>
                    <a:lnTo>
                      <a:pt x="3769" y="1214"/>
                    </a:lnTo>
                    <a:lnTo>
                      <a:pt x="3769" y="1214"/>
                    </a:lnTo>
                    <a:lnTo>
                      <a:pt x="3769" y="994"/>
                    </a:lnTo>
                    <a:moveTo>
                      <a:pt x="5949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2"/>
                    </a:lnTo>
                    <a:lnTo>
                      <a:pt x="5949" y="1032"/>
                    </a:lnTo>
                    <a:lnTo>
                      <a:pt x="5949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37" y="935"/>
                    </a:lnTo>
                    <a:lnTo>
                      <a:pt x="6337" y="937"/>
                    </a:lnTo>
                    <a:lnTo>
                      <a:pt x="6337" y="1120"/>
                    </a:lnTo>
                    <a:lnTo>
                      <a:pt x="6340" y="1120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3" y="928"/>
                    </a:lnTo>
                    <a:lnTo>
                      <a:pt x="3843" y="930"/>
                    </a:lnTo>
                    <a:lnTo>
                      <a:pt x="3843" y="985"/>
                    </a:lnTo>
                    <a:lnTo>
                      <a:pt x="3845" y="985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2" y="895"/>
                    </a:lnTo>
                    <a:lnTo>
                      <a:pt x="6382" y="897"/>
                    </a:lnTo>
                    <a:lnTo>
                      <a:pt x="6377" y="925"/>
                    </a:lnTo>
                    <a:lnTo>
                      <a:pt x="6377" y="925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7" y="878"/>
                    </a:lnTo>
                    <a:lnTo>
                      <a:pt x="6387" y="881"/>
                    </a:lnTo>
                    <a:lnTo>
                      <a:pt x="6387" y="892"/>
                    </a:lnTo>
                    <a:lnTo>
                      <a:pt x="6389" y="892"/>
                    </a:lnTo>
                    <a:lnTo>
                      <a:pt x="6389" y="890"/>
                    </a:lnTo>
                    <a:lnTo>
                      <a:pt x="6389" y="890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1"/>
                    </a:lnTo>
                    <a:lnTo>
                      <a:pt x="6396" y="871"/>
                    </a:lnTo>
                    <a:lnTo>
                      <a:pt x="6396" y="869"/>
                    </a:lnTo>
                    <a:lnTo>
                      <a:pt x="6399" y="869"/>
                    </a:lnTo>
                    <a:lnTo>
                      <a:pt x="6399" y="850"/>
                    </a:lnTo>
                    <a:moveTo>
                      <a:pt x="804" y="828"/>
                    </a:moveTo>
                    <a:lnTo>
                      <a:pt x="804" y="828"/>
                    </a:lnTo>
                    <a:lnTo>
                      <a:pt x="804" y="828"/>
                    </a:lnTo>
                    <a:lnTo>
                      <a:pt x="804" y="1060"/>
                    </a:lnTo>
                    <a:lnTo>
                      <a:pt x="804" y="1060"/>
                    </a:lnTo>
                    <a:lnTo>
                      <a:pt x="804" y="828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19"/>
                    </a:lnTo>
                    <a:lnTo>
                      <a:pt x="1010" y="819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6" y="658"/>
                    </a:lnTo>
                    <a:lnTo>
                      <a:pt x="3136" y="658"/>
                    </a:lnTo>
                    <a:lnTo>
                      <a:pt x="3136" y="753"/>
                    </a:lnTo>
                    <a:lnTo>
                      <a:pt x="3138" y="753"/>
                    </a:lnTo>
                    <a:lnTo>
                      <a:pt x="3138" y="658"/>
                    </a:lnTo>
                    <a:moveTo>
                      <a:pt x="97" y="618"/>
                    </a:moveTo>
                    <a:lnTo>
                      <a:pt x="95" y="618"/>
                    </a:lnTo>
                    <a:lnTo>
                      <a:pt x="95" y="618"/>
                    </a:lnTo>
                    <a:lnTo>
                      <a:pt x="95" y="1444"/>
                    </a:lnTo>
                    <a:lnTo>
                      <a:pt x="97" y="1444"/>
                    </a:lnTo>
                    <a:lnTo>
                      <a:pt x="97" y="618"/>
                    </a:lnTo>
                    <a:moveTo>
                      <a:pt x="5252" y="611"/>
                    </a:moveTo>
                    <a:lnTo>
                      <a:pt x="5252" y="611"/>
                    </a:lnTo>
                    <a:lnTo>
                      <a:pt x="5252" y="611"/>
                    </a:lnTo>
                    <a:lnTo>
                      <a:pt x="5252" y="722"/>
                    </a:lnTo>
                    <a:lnTo>
                      <a:pt x="5252" y="722"/>
                    </a:lnTo>
                    <a:lnTo>
                      <a:pt x="5252" y="611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0" y="582"/>
                    </a:lnTo>
                    <a:lnTo>
                      <a:pt x="3280" y="585"/>
                    </a:lnTo>
                    <a:lnTo>
                      <a:pt x="3280" y="648"/>
                    </a:lnTo>
                    <a:lnTo>
                      <a:pt x="3282" y="648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08"/>
                    </a:lnTo>
                    <a:lnTo>
                      <a:pt x="303" y="608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83"/>
                    </a:lnTo>
                    <a:lnTo>
                      <a:pt x="7025" y="1683"/>
                    </a:lnTo>
                    <a:lnTo>
                      <a:pt x="7025" y="509"/>
                    </a:lnTo>
                    <a:moveTo>
                      <a:pt x="4193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9" y="592"/>
                    </a:lnTo>
                    <a:lnTo>
                      <a:pt x="4129" y="592"/>
                    </a:lnTo>
                    <a:lnTo>
                      <a:pt x="4193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73"/>
                    </a:lnTo>
                    <a:lnTo>
                      <a:pt x="3301" y="573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2"/>
                    </a:lnTo>
                    <a:lnTo>
                      <a:pt x="3954" y="644"/>
                    </a:lnTo>
                    <a:lnTo>
                      <a:pt x="3954" y="918"/>
                    </a:lnTo>
                    <a:lnTo>
                      <a:pt x="3954" y="918"/>
                    </a:lnTo>
                    <a:lnTo>
                      <a:pt x="3954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2"/>
                    </a:lnTo>
                    <a:lnTo>
                      <a:pt x="3330" y="492"/>
                    </a:lnTo>
                    <a:lnTo>
                      <a:pt x="3330" y="433"/>
                    </a:lnTo>
                    <a:moveTo>
                      <a:pt x="4041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1" y="450"/>
                    </a:lnTo>
                    <a:lnTo>
                      <a:pt x="4041" y="447"/>
                    </a:lnTo>
                    <a:lnTo>
                      <a:pt x="4041" y="447"/>
                    </a:lnTo>
                    <a:lnTo>
                      <a:pt x="4041" y="390"/>
                    </a:lnTo>
                    <a:moveTo>
                      <a:pt x="1809" y="369"/>
                    </a:moveTo>
                    <a:lnTo>
                      <a:pt x="1807" y="369"/>
                    </a:lnTo>
                    <a:lnTo>
                      <a:pt x="1807" y="371"/>
                    </a:lnTo>
                    <a:lnTo>
                      <a:pt x="1807" y="1122"/>
                    </a:lnTo>
                    <a:lnTo>
                      <a:pt x="1809" y="1122"/>
                    </a:lnTo>
                    <a:lnTo>
                      <a:pt x="1809" y="369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0"/>
                    </a:lnTo>
                    <a:lnTo>
                      <a:pt x="1939" y="360"/>
                    </a:lnTo>
                    <a:lnTo>
                      <a:pt x="1939" y="334"/>
                    </a:lnTo>
                    <a:moveTo>
                      <a:pt x="4051" y="326"/>
                    </a:moveTo>
                    <a:lnTo>
                      <a:pt x="4048" y="326"/>
                    </a:lnTo>
                    <a:lnTo>
                      <a:pt x="4048" y="329"/>
                    </a:lnTo>
                    <a:lnTo>
                      <a:pt x="4048" y="383"/>
                    </a:lnTo>
                    <a:lnTo>
                      <a:pt x="4051" y="383"/>
                    </a:lnTo>
                    <a:lnTo>
                      <a:pt x="4051" y="381"/>
                    </a:lnTo>
                    <a:lnTo>
                      <a:pt x="4051" y="381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24"/>
                    </a:lnTo>
                    <a:lnTo>
                      <a:pt x="2029" y="324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1" y="232"/>
                    </a:lnTo>
                    <a:lnTo>
                      <a:pt x="4701" y="234"/>
                    </a:lnTo>
                    <a:lnTo>
                      <a:pt x="4637" y="469"/>
                    </a:lnTo>
                    <a:lnTo>
                      <a:pt x="4640" y="469"/>
                    </a:lnTo>
                    <a:lnTo>
                      <a:pt x="4703" y="232"/>
                    </a:lnTo>
                    <a:moveTo>
                      <a:pt x="4803" y="173"/>
                    </a:moveTo>
                    <a:lnTo>
                      <a:pt x="4803" y="173"/>
                    </a:lnTo>
                    <a:lnTo>
                      <a:pt x="4803" y="173"/>
                    </a:lnTo>
                    <a:lnTo>
                      <a:pt x="4803" y="175"/>
                    </a:lnTo>
                    <a:lnTo>
                      <a:pt x="4803" y="222"/>
                    </a:lnTo>
                    <a:lnTo>
                      <a:pt x="4803" y="222"/>
                    </a:lnTo>
                    <a:lnTo>
                      <a:pt x="4803" y="173"/>
                    </a:lnTo>
                    <a:moveTo>
                      <a:pt x="4852" y="0"/>
                    </a:moveTo>
                    <a:lnTo>
                      <a:pt x="4850" y="0"/>
                    </a:lnTo>
                    <a:lnTo>
                      <a:pt x="4850" y="2"/>
                    </a:lnTo>
                    <a:lnTo>
                      <a:pt x="4850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3"/>
                    </a:lnTo>
                    <a:lnTo>
                      <a:pt x="4911" y="163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3" name="Freeform 136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close/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close/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close/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close/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close/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close/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close/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close/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close/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close/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close/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close/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close/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close/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close/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close/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close/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close/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close/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close/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close/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close/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close/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close/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close/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close/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close/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close/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close/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close/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close/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close/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close/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close/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close/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close/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close/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close/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close/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close/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close/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  <a:close/>
                  </a:path>
                </a:pathLst>
              </a:custGeom>
              <a:solidFill>
                <a:srgbClr val="BD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4" name="Freeform 137"/>
              <p:cNvSpPr>
                <a:spLocks noEditPoints="1"/>
              </p:cNvSpPr>
              <p:nvPr/>
            </p:nvSpPr>
            <p:spPr bwMode="auto">
              <a:xfrm>
                <a:off x="40" y="1670"/>
                <a:ext cx="7025" cy="1683"/>
              </a:xfrm>
              <a:custGeom>
                <a:avLst/>
                <a:gdLst>
                  <a:gd name="T0" fmla="*/ 0 w 7025"/>
                  <a:gd name="T1" fmla="*/ 1524 h 1683"/>
                  <a:gd name="T2" fmla="*/ 5663 w 7025"/>
                  <a:gd name="T3" fmla="*/ 1439 h 1683"/>
                  <a:gd name="T4" fmla="*/ 3707 w 7025"/>
                  <a:gd name="T5" fmla="*/ 1221 h 1683"/>
                  <a:gd name="T6" fmla="*/ 5831 w 7025"/>
                  <a:gd name="T7" fmla="*/ 1207 h 1683"/>
                  <a:gd name="T8" fmla="*/ 5831 w 7025"/>
                  <a:gd name="T9" fmla="*/ 1316 h 1683"/>
                  <a:gd name="T10" fmla="*/ 1662 w 7025"/>
                  <a:gd name="T11" fmla="*/ 1158 h 1683"/>
                  <a:gd name="T12" fmla="*/ 1686 w 7025"/>
                  <a:gd name="T13" fmla="*/ 1129 h 1683"/>
                  <a:gd name="T14" fmla="*/ 5854 w 7025"/>
                  <a:gd name="T15" fmla="*/ 1127 h 1683"/>
                  <a:gd name="T16" fmla="*/ 5854 w 7025"/>
                  <a:gd name="T17" fmla="*/ 1200 h 1683"/>
                  <a:gd name="T18" fmla="*/ 6320 w 7025"/>
                  <a:gd name="T19" fmla="*/ 1129 h 1683"/>
                  <a:gd name="T20" fmla="*/ 1444 w 7025"/>
                  <a:gd name="T21" fmla="*/ 1124 h 1683"/>
                  <a:gd name="T22" fmla="*/ 1447 w 7025"/>
                  <a:gd name="T23" fmla="*/ 1124 h 1683"/>
                  <a:gd name="T24" fmla="*/ 1463 w 7025"/>
                  <a:gd name="T25" fmla="*/ 1117 h 1683"/>
                  <a:gd name="T26" fmla="*/ 2858 w 7025"/>
                  <a:gd name="T27" fmla="*/ 1063 h 1683"/>
                  <a:gd name="T28" fmla="*/ 5930 w 7025"/>
                  <a:gd name="T29" fmla="*/ 1039 h 1683"/>
                  <a:gd name="T30" fmla="*/ 5930 w 7025"/>
                  <a:gd name="T31" fmla="*/ 1039 h 1683"/>
                  <a:gd name="T32" fmla="*/ 2877 w 7025"/>
                  <a:gd name="T33" fmla="*/ 1053 h 1683"/>
                  <a:gd name="T34" fmla="*/ 3766 w 7025"/>
                  <a:gd name="T35" fmla="*/ 1214 h 1683"/>
                  <a:gd name="T36" fmla="*/ 5946 w 7025"/>
                  <a:gd name="T37" fmla="*/ 989 h 1683"/>
                  <a:gd name="T38" fmla="*/ 6339 w 7025"/>
                  <a:gd name="T39" fmla="*/ 935 h 1683"/>
                  <a:gd name="T40" fmla="*/ 6339 w 7025"/>
                  <a:gd name="T41" fmla="*/ 935 h 1683"/>
                  <a:gd name="T42" fmla="*/ 3844 w 7025"/>
                  <a:gd name="T43" fmla="*/ 985 h 1683"/>
                  <a:gd name="T44" fmla="*/ 6382 w 7025"/>
                  <a:gd name="T45" fmla="*/ 895 h 1683"/>
                  <a:gd name="T46" fmla="*/ 6386 w 7025"/>
                  <a:gd name="T47" fmla="*/ 876 h 1683"/>
                  <a:gd name="T48" fmla="*/ 6389 w 7025"/>
                  <a:gd name="T49" fmla="*/ 888 h 1683"/>
                  <a:gd name="T50" fmla="*/ 6396 w 7025"/>
                  <a:gd name="T51" fmla="*/ 850 h 1683"/>
                  <a:gd name="T52" fmla="*/ 801 w 7025"/>
                  <a:gd name="T53" fmla="*/ 826 h 1683"/>
                  <a:gd name="T54" fmla="*/ 3100 w 7025"/>
                  <a:gd name="T55" fmla="*/ 762 h 1683"/>
                  <a:gd name="T56" fmla="*/ 3100 w 7025"/>
                  <a:gd name="T57" fmla="*/ 970 h 1683"/>
                  <a:gd name="T58" fmla="*/ 1007 w 7025"/>
                  <a:gd name="T59" fmla="*/ 819 h 1683"/>
                  <a:gd name="T60" fmla="*/ 5128 w 7025"/>
                  <a:gd name="T61" fmla="*/ 731 h 1683"/>
                  <a:gd name="T62" fmla="*/ 3135 w 7025"/>
                  <a:gd name="T63" fmla="*/ 656 h 1683"/>
                  <a:gd name="T64" fmla="*/ 97 w 7025"/>
                  <a:gd name="T65" fmla="*/ 615 h 1683"/>
                  <a:gd name="T66" fmla="*/ 97 w 7025"/>
                  <a:gd name="T67" fmla="*/ 615 h 1683"/>
                  <a:gd name="T68" fmla="*/ 5251 w 7025"/>
                  <a:gd name="T69" fmla="*/ 722 h 1683"/>
                  <a:gd name="T70" fmla="*/ 3279 w 7025"/>
                  <a:gd name="T71" fmla="*/ 582 h 1683"/>
                  <a:gd name="T72" fmla="*/ 300 w 7025"/>
                  <a:gd name="T73" fmla="*/ 547 h 1683"/>
                  <a:gd name="T74" fmla="*/ 7025 w 7025"/>
                  <a:gd name="T75" fmla="*/ 506 h 1683"/>
                  <a:gd name="T76" fmla="*/ 7025 w 7025"/>
                  <a:gd name="T77" fmla="*/ 506 h 1683"/>
                  <a:gd name="T78" fmla="*/ 4126 w 7025"/>
                  <a:gd name="T79" fmla="*/ 592 h 1683"/>
                  <a:gd name="T80" fmla="*/ 3298 w 7025"/>
                  <a:gd name="T81" fmla="*/ 502 h 1683"/>
                  <a:gd name="T82" fmla="*/ 4034 w 7025"/>
                  <a:gd name="T83" fmla="*/ 452 h 1683"/>
                  <a:gd name="T84" fmla="*/ 3951 w 7025"/>
                  <a:gd name="T85" fmla="*/ 918 h 1683"/>
                  <a:gd name="T86" fmla="*/ 3327 w 7025"/>
                  <a:gd name="T87" fmla="*/ 433 h 1683"/>
                  <a:gd name="T88" fmla="*/ 3327 w 7025"/>
                  <a:gd name="T89" fmla="*/ 433 h 1683"/>
                  <a:gd name="T90" fmla="*/ 4038 w 7025"/>
                  <a:gd name="T91" fmla="*/ 447 h 1683"/>
                  <a:gd name="T92" fmla="*/ 1809 w 7025"/>
                  <a:gd name="T93" fmla="*/ 367 h 1683"/>
                  <a:gd name="T94" fmla="*/ 1809 w 7025"/>
                  <a:gd name="T95" fmla="*/ 367 h 1683"/>
                  <a:gd name="T96" fmla="*/ 1936 w 7025"/>
                  <a:gd name="T97" fmla="*/ 360 h 1683"/>
                  <a:gd name="T98" fmla="*/ 4048 w 7025"/>
                  <a:gd name="T99" fmla="*/ 381 h 1683"/>
                  <a:gd name="T100" fmla="*/ 2026 w 7025"/>
                  <a:gd name="T101" fmla="*/ 293 h 1683"/>
                  <a:gd name="T102" fmla="*/ 4700 w 7025"/>
                  <a:gd name="T103" fmla="*/ 229 h 1683"/>
                  <a:gd name="T104" fmla="*/ 4802 w 7025"/>
                  <a:gd name="T105" fmla="*/ 170 h 1683"/>
                  <a:gd name="T106" fmla="*/ 4802 w 7025"/>
                  <a:gd name="T107" fmla="*/ 222 h 1683"/>
                  <a:gd name="T108" fmla="*/ 4849 w 7025"/>
                  <a:gd name="T109" fmla="*/ 163 h 1683"/>
                  <a:gd name="T110" fmla="*/ 4908 w 7025"/>
                  <a:gd name="T111" fmla="*/ 0 h 16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5" h="1683">
                    <a:moveTo>
                      <a:pt x="0" y="1451"/>
                    </a:moveTo>
                    <a:lnTo>
                      <a:pt x="0" y="1451"/>
                    </a:lnTo>
                    <a:lnTo>
                      <a:pt x="0" y="1453"/>
                    </a:lnTo>
                    <a:lnTo>
                      <a:pt x="0" y="1524"/>
                    </a:lnTo>
                    <a:lnTo>
                      <a:pt x="0" y="1524"/>
                    </a:lnTo>
                    <a:lnTo>
                      <a:pt x="0" y="1451"/>
                    </a:lnTo>
                    <a:moveTo>
                      <a:pt x="5665" y="1326"/>
                    </a:moveTo>
                    <a:lnTo>
                      <a:pt x="5663" y="1326"/>
                    </a:lnTo>
                    <a:lnTo>
                      <a:pt x="5663" y="1326"/>
                    </a:lnTo>
                    <a:lnTo>
                      <a:pt x="5663" y="1439"/>
                    </a:lnTo>
                    <a:lnTo>
                      <a:pt x="5665" y="1439"/>
                    </a:lnTo>
                    <a:lnTo>
                      <a:pt x="5665" y="1326"/>
                    </a:lnTo>
                    <a:moveTo>
                      <a:pt x="3710" y="1221"/>
                    </a:move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221"/>
                    </a:lnTo>
                    <a:lnTo>
                      <a:pt x="3707" y="1382"/>
                    </a:lnTo>
                    <a:lnTo>
                      <a:pt x="3710" y="1382"/>
                    </a:lnTo>
                    <a:lnTo>
                      <a:pt x="3710" y="1221"/>
                    </a:lnTo>
                    <a:moveTo>
                      <a:pt x="5831" y="1207"/>
                    </a:moveTo>
                    <a:lnTo>
                      <a:pt x="5828" y="1207"/>
                    </a:lnTo>
                    <a:lnTo>
                      <a:pt x="5828" y="1207"/>
                    </a:lnTo>
                    <a:lnTo>
                      <a:pt x="5828" y="1210"/>
                    </a:lnTo>
                    <a:lnTo>
                      <a:pt x="5828" y="1316"/>
                    </a:lnTo>
                    <a:lnTo>
                      <a:pt x="5831" y="1316"/>
                    </a:lnTo>
                    <a:lnTo>
                      <a:pt x="5831" y="1207"/>
                    </a:lnTo>
                    <a:moveTo>
                      <a:pt x="1664" y="1155"/>
                    </a:moveTo>
                    <a:lnTo>
                      <a:pt x="1664" y="1155"/>
                    </a:lnTo>
                    <a:lnTo>
                      <a:pt x="1662" y="1155"/>
                    </a:lnTo>
                    <a:lnTo>
                      <a:pt x="1662" y="1158"/>
                    </a:lnTo>
                    <a:lnTo>
                      <a:pt x="1662" y="1191"/>
                    </a:lnTo>
                    <a:lnTo>
                      <a:pt x="1664" y="1191"/>
                    </a:lnTo>
                    <a:lnTo>
                      <a:pt x="1664" y="1155"/>
                    </a:lnTo>
                    <a:moveTo>
                      <a:pt x="1688" y="1129"/>
                    </a:moveTo>
                    <a:lnTo>
                      <a:pt x="1686" y="1129"/>
                    </a:lnTo>
                    <a:lnTo>
                      <a:pt x="1686" y="1131"/>
                    </a:lnTo>
                    <a:lnTo>
                      <a:pt x="1686" y="1148"/>
                    </a:lnTo>
                    <a:lnTo>
                      <a:pt x="1688" y="1148"/>
                    </a:lnTo>
                    <a:lnTo>
                      <a:pt x="1688" y="1129"/>
                    </a:lnTo>
                    <a:moveTo>
                      <a:pt x="5854" y="1127"/>
                    </a:moveTo>
                    <a:lnTo>
                      <a:pt x="5854" y="1127"/>
                    </a:lnTo>
                    <a:lnTo>
                      <a:pt x="5854" y="1127"/>
                    </a:lnTo>
                    <a:lnTo>
                      <a:pt x="5854" y="1129"/>
                    </a:lnTo>
                    <a:lnTo>
                      <a:pt x="5854" y="1200"/>
                    </a:lnTo>
                    <a:lnTo>
                      <a:pt x="5854" y="1200"/>
                    </a:lnTo>
                    <a:lnTo>
                      <a:pt x="5854" y="1127"/>
                    </a:lnTo>
                    <a:moveTo>
                      <a:pt x="6322" y="1127"/>
                    </a:moveTo>
                    <a:lnTo>
                      <a:pt x="6320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4"/>
                    </a:lnTo>
                    <a:lnTo>
                      <a:pt x="6322" y="1354"/>
                    </a:lnTo>
                    <a:lnTo>
                      <a:pt x="6322" y="1127"/>
                    </a:lnTo>
                    <a:moveTo>
                      <a:pt x="1447" y="1124"/>
                    </a:moveTo>
                    <a:lnTo>
                      <a:pt x="1444" y="1124"/>
                    </a:lnTo>
                    <a:lnTo>
                      <a:pt x="1444" y="1124"/>
                    </a:lnTo>
                    <a:lnTo>
                      <a:pt x="1444" y="1127"/>
                    </a:lnTo>
                    <a:lnTo>
                      <a:pt x="1444" y="1191"/>
                    </a:lnTo>
                    <a:lnTo>
                      <a:pt x="1447" y="1191"/>
                    </a:lnTo>
                    <a:lnTo>
                      <a:pt x="1447" y="1124"/>
                    </a:lnTo>
                    <a:moveTo>
                      <a:pt x="1463" y="1082"/>
                    </a:moveTo>
                    <a:lnTo>
                      <a:pt x="1461" y="1082"/>
                    </a:lnTo>
                    <a:lnTo>
                      <a:pt x="1461" y="1084"/>
                    </a:lnTo>
                    <a:lnTo>
                      <a:pt x="1461" y="1117"/>
                    </a:lnTo>
                    <a:lnTo>
                      <a:pt x="1463" y="1117"/>
                    </a:lnTo>
                    <a:lnTo>
                      <a:pt x="1463" y="1082"/>
                    </a:lnTo>
                    <a:moveTo>
                      <a:pt x="2858" y="1060"/>
                    </a:moveTo>
                    <a:lnTo>
                      <a:pt x="2858" y="1060"/>
                    </a:lnTo>
                    <a:lnTo>
                      <a:pt x="2858" y="1060"/>
                    </a:lnTo>
                    <a:lnTo>
                      <a:pt x="2858" y="1063"/>
                    </a:lnTo>
                    <a:lnTo>
                      <a:pt x="2858" y="1231"/>
                    </a:lnTo>
                    <a:lnTo>
                      <a:pt x="2858" y="1231"/>
                    </a:lnTo>
                    <a:lnTo>
                      <a:pt x="2858" y="1060"/>
                    </a:lnTo>
                    <a:moveTo>
                      <a:pt x="5930" y="1039"/>
                    </a:moveTo>
                    <a:lnTo>
                      <a:pt x="5930" y="1039"/>
                    </a:lnTo>
                    <a:lnTo>
                      <a:pt x="5928" y="1039"/>
                    </a:lnTo>
                    <a:lnTo>
                      <a:pt x="5928" y="1041"/>
                    </a:lnTo>
                    <a:lnTo>
                      <a:pt x="5928" y="1120"/>
                    </a:lnTo>
                    <a:lnTo>
                      <a:pt x="5930" y="1120"/>
                    </a:lnTo>
                    <a:lnTo>
                      <a:pt x="5930" y="1039"/>
                    </a:lnTo>
                    <a:moveTo>
                      <a:pt x="2877" y="1011"/>
                    </a:moveTo>
                    <a:lnTo>
                      <a:pt x="2875" y="1011"/>
                    </a:lnTo>
                    <a:lnTo>
                      <a:pt x="2875" y="1013"/>
                    </a:lnTo>
                    <a:lnTo>
                      <a:pt x="2875" y="1053"/>
                    </a:lnTo>
                    <a:lnTo>
                      <a:pt x="2877" y="1053"/>
                    </a:lnTo>
                    <a:lnTo>
                      <a:pt x="2877" y="1011"/>
                    </a:lnTo>
                    <a:moveTo>
                      <a:pt x="3769" y="992"/>
                    </a:moveTo>
                    <a:lnTo>
                      <a:pt x="3766" y="992"/>
                    </a:lnTo>
                    <a:lnTo>
                      <a:pt x="3766" y="994"/>
                    </a:lnTo>
                    <a:lnTo>
                      <a:pt x="3766" y="1214"/>
                    </a:lnTo>
                    <a:lnTo>
                      <a:pt x="3769" y="1214"/>
                    </a:lnTo>
                    <a:lnTo>
                      <a:pt x="3769" y="992"/>
                    </a:lnTo>
                    <a:moveTo>
                      <a:pt x="5949" y="987"/>
                    </a:moveTo>
                    <a:lnTo>
                      <a:pt x="5946" y="987"/>
                    </a:lnTo>
                    <a:lnTo>
                      <a:pt x="5946" y="989"/>
                    </a:lnTo>
                    <a:lnTo>
                      <a:pt x="5946" y="1032"/>
                    </a:lnTo>
                    <a:lnTo>
                      <a:pt x="5949" y="1032"/>
                    </a:lnTo>
                    <a:lnTo>
                      <a:pt x="5949" y="987"/>
                    </a:lnTo>
                    <a:moveTo>
                      <a:pt x="6339" y="935"/>
                    </a:moveTo>
                    <a:lnTo>
                      <a:pt x="6339" y="935"/>
                    </a:lnTo>
                    <a:lnTo>
                      <a:pt x="6337" y="935"/>
                    </a:lnTo>
                    <a:lnTo>
                      <a:pt x="6337" y="935"/>
                    </a:lnTo>
                    <a:lnTo>
                      <a:pt x="6337" y="1120"/>
                    </a:lnTo>
                    <a:lnTo>
                      <a:pt x="6339" y="1120"/>
                    </a:lnTo>
                    <a:lnTo>
                      <a:pt x="6339" y="935"/>
                    </a:lnTo>
                    <a:moveTo>
                      <a:pt x="3844" y="925"/>
                    </a:moveTo>
                    <a:lnTo>
                      <a:pt x="3842" y="925"/>
                    </a:lnTo>
                    <a:lnTo>
                      <a:pt x="3842" y="928"/>
                    </a:lnTo>
                    <a:lnTo>
                      <a:pt x="3842" y="985"/>
                    </a:lnTo>
                    <a:lnTo>
                      <a:pt x="3844" y="985"/>
                    </a:lnTo>
                    <a:lnTo>
                      <a:pt x="3844" y="925"/>
                    </a:lnTo>
                    <a:moveTo>
                      <a:pt x="6384" y="892"/>
                    </a:moveTo>
                    <a:lnTo>
                      <a:pt x="6384" y="892"/>
                    </a:lnTo>
                    <a:lnTo>
                      <a:pt x="6382" y="892"/>
                    </a:lnTo>
                    <a:lnTo>
                      <a:pt x="6382" y="895"/>
                    </a:lnTo>
                    <a:lnTo>
                      <a:pt x="6374" y="925"/>
                    </a:lnTo>
                    <a:lnTo>
                      <a:pt x="6377" y="925"/>
                    </a:lnTo>
                    <a:lnTo>
                      <a:pt x="6384" y="892"/>
                    </a:lnTo>
                    <a:moveTo>
                      <a:pt x="6389" y="876"/>
                    </a:moveTo>
                    <a:lnTo>
                      <a:pt x="6386" y="876"/>
                    </a:lnTo>
                    <a:lnTo>
                      <a:pt x="6386" y="876"/>
                    </a:lnTo>
                    <a:lnTo>
                      <a:pt x="6386" y="878"/>
                    </a:lnTo>
                    <a:lnTo>
                      <a:pt x="6386" y="890"/>
                    </a:lnTo>
                    <a:lnTo>
                      <a:pt x="6386" y="890"/>
                    </a:lnTo>
                    <a:lnTo>
                      <a:pt x="6389" y="888"/>
                    </a:lnTo>
                    <a:lnTo>
                      <a:pt x="6389" y="888"/>
                    </a:lnTo>
                    <a:lnTo>
                      <a:pt x="6389" y="876"/>
                    </a:lnTo>
                    <a:moveTo>
                      <a:pt x="6396" y="847"/>
                    </a:moveTo>
                    <a:lnTo>
                      <a:pt x="6396" y="847"/>
                    </a:lnTo>
                    <a:lnTo>
                      <a:pt x="6396" y="850"/>
                    </a:lnTo>
                    <a:lnTo>
                      <a:pt x="6396" y="869"/>
                    </a:lnTo>
                    <a:lnTo>
                      <a:pt x="6396" y="869"/>
                    </a:lnTo>
                    <a:lnTo>
                      <a:pt x="6396" y="847"/>
                    </a:lnTo>
                    <a:moveTo>
                      <a:pt x="804" y="826"/>
                    </a:moveTo>
                    <a:lnTo>
                      <a:pt x="801" y="826"/>
                    </a:lnTo>
                    <a:lnTo>
                      <a:pt x="801" y="828"/>
                    </a:lnTo>
                    <a:lnTo>
                      <a:pt x="801" y="1060"/>
                    </a:lnTo>
                    <a:lnTo>
                      <a:pt x="804" y="1060"/>
                    </a:lnTo>
                    <a:lnTo>
                      <a:pt x="804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7" y="762"/>
                    </a:lnTo>
                    <a:lnTo>
                      <a:pt x="3097" y="762"/>
                    </a:lnTo>
                    <a:lnTo>
                      <a:pt x="3097" y="970"/>
                    </a:lnTo>
                    <a:lnTo>
                      <a:pt x="3100" y="970"/>
                    </a:lnTo>
                    <a:lnTo>
                      <a:pt x="3100" y="762"/>
                    </a:lnTo>
                    <a:moveTo>
                      <a:pt x="1007" y="750"/>
                    </a:moveTo>
                    <a:lnTo>
                      <a:pt x="1007" y="750"/>
                    </a:lnTo>
                    <a:lnTo>
                      <a:pt x="1007" y="753"/>
                    </a:lnTo>
                    <a:lnTo>
                      <a:pt x="1007" y="819"/>
                    </a:lnTo>
                    <a:lnTo>
                      <a:pt x="1007" y="819"/>
                    </a:lnTo>
                    <a:lnTo>
                      <a:pt x="1007" y="750"/>
                    </a:lnTo>
                    <a:moveTo>
                      <a:pt x="5131" y="731"/>
                    </a:moveTo>
                    <a:lnTo>
                      <a:pt x="5128" y="731"/>
                    </a:lnTo>
                    <a:lnTo>
                      <a:pt x="5128" y="731"/>
                    </a:lnTo>
                    <a:lnTo>
                      <a:pt x="5128" y="963"/>
                    </a:lnTo>
                    <a:lnTo>
                      <a:pt x="5131" y="963"/>
                    </a:lnTo>
                    <a:lnTo>
                      <a:pt x="5131" y="731"/>
                    </a:lnTo>
                    <a:moveTo>
                      <a:pt x="3137" y="656"/>
                    </a:moveTo>
                    <a:lnTo>
                      <a:pt x="3135" y="656"/>
                    </a:lnTo>
                    <a:lnTo>
                      <a:pt x="3135" y="658"/>
                    </a:lnTo>
                    <a:lnTo>
                      <a:pt x="3135" y="753"/>
                    </a:lnTo>
                    <a:lnTo>
                      <a:pt x="3137" y="753"/>
                    </a:lnTo>
                    <a:lnTo>
                      <a:pt x="3137" y="656"/>
                    </a:lnTo>
                    <a:moveTo>
                      <a:pt x="97" y="615"/>
                    </a:moveTo>
                    <a:lnTo>
                      <a:pt x="94" y="615"/>
                    </a:lnTo>
                    <a:lnTo>
                      <a:pt x="94" y="618"/>
                    </a:lnTo>
                    <a:lnTo>
                      <a:pt x="94" y="1444"/>
                    </a:lnTo>
                    <a:lnTo>
                      <a:pt x="97" y="1444"/>
                    </a:lnTo>
                    <a:lnTo>
                      <a:pt x="97" y="615"/>
                    </a:lnTo>
                    <a:moveTo>
                      <a:pt x="5251" y="608"/>
                    </a:moveTo>
                    <a:lnTo>
                      <a:pt x="5249" y="608"/>
                    </a:lnTo>
                    <a:lnTo>
                      <a:pt x="5249" y="611"/>
                    </a:lnTo>
                    <a:lnTo>
                      <a:pt x="5249" y="722"/>
                    </a:lnTo>
                    <a:lnTo>
                      <a:pt x="5251" y="722"/>
                    </a:lnTo>
                    <a:lnTo>
                      <a:pt x="5251" y="608"/>
                    </a:lnTo>
                    <a:moveTo>
                      <a:pt x="3282" y="580"/>
                    </a:moveTo>
                    <a:lnTo>
                      <a:pt x="3279" y="580"/>
                    </a:lnTo>
                    <a:lnTo>
                      <a:pt x="3279" y="580"/>
                    </a:lnTo>
                    <a:lnTo>
                      <a:pt x="3279" y="582"/>
                    </a:lnTo>
                    <a:lnTo>
                      <a:pt x="3279" y="648"/>
                    </a:lnTo>
                    <a:lnTo>
                      <a:pt x="3282" y="648"/>
                    </a:lnTo>
                    <a:lnTo>
                      <a:pt x="3282" y="580"/>
                    </a:lnTo>
                    <a:moveTo>
                      <a:pt x="300" y="547"/>
                    </a:moveTo>
                    <a:lnTo>
                      <a:pt x="300" y="547"/>
                    </a:lnTo>
                    <a:lnTo>
                      <a:pt x="300" y="547"/>
                    </a:lnTo>
                    <a:lnTo>
                      <a:pt x="300" y="608"/>
                    </a:lnTo>
                    <a:lnTo>
                      <a:pt x="300" y="608"/>
                    </a:lnTo>
                    <a:lnTo>
                      <a:pt x="300" y="547"/>
                    </a:lnTo>
                    <a:moveTo>
                      <a:pt x="7025" y="506"/>
                    </a:moveTo>
                    <a:lnTo>
                      <a:pt x="7022" y="506"/>
                    </a:lnTo>
                    <a:lnTo>
                      <a:pt x="7022" y="509"/>
                    </a:lnTo>
                    <a:lnTo>
                      <a:pt x="7022" y="1683"/>
                    </a:lnTo>
                    <a:lnTo>
                      <a:pt x="7025" y="1683"/>
                    </a:lnTo>
                    <a:lnTo>
                      <a:pt x="7025" y="506"/>
                    </a:lnTo>
                    <a:moveTo>
                      <a:pt x="4192" y="502"/>
                    </a:moveTo>
                    <a:lnTo>
                      <a:pt x="4192" y="502"/>
                    </a:lnTo>
                    <a:lnTo>
                      <a:pt x="4190" y="504"/>
                    </a:lnTo>
                    <a:lnTo>
                      <a:pt x="4126" y="592"/>
                    </a:lnTo>
                    <a:lnTo>
                      <a:pt x="4126" y="592"/>
                    </a:lnTo>
                    <a:lnTo>
                      <a:pt x="4192" y="502"/>
                    </a:lnTo>
                    <a:moveTo>
                      <a:pt x="3298" y="499"/>
                    </a:moveTo>
                    <a:lnTo>
                      <a:pt x="3298" y="499"/>
                    </a:lnTo>
                    <a:lnTo>
                      <a:pt x="3298" y="499"/>
                    </a:lnTo>
                    <a:lnTo>
                      <a:pt x="3298" y="502"/>
                    </a:lnTo>
                    <a:lnTo>
                      <a:pt x="3298" y="573"/>
                    </a:lnTo>
                    <a:lnTo>
                      <a:pt x="3298" y="573"/>
                    </a:lnTo>
                    <a:lnTo>
                      <a:pt x="3298" y="499"/>
                    </a:lnTo>
                    <a:moveTo>
                      <a:pt x="4036" y="452"/>
                    </a:moveTo>
                    <a:lnTo>
                      <a:pt x="4034" y="452"/>
                    </a:lnTo>
                    <a:lnTo>
                      <a:pt x="4034" y="452"/>
                    </a:lnTo>
                    <a:lnTo>
                      <a:pt x="4034" y="454"/>
                    </a:lnTo>
                    <a:lnTo>
                      <a:pt x="4034" y="490"/>
                    </a:lnTo>
                    <a:lnTo>
                      <a:pt x="3951" y="641"/>
                    </a:lnTo>
                    <a:lnTo>
                      <a:pt x="3951" y="918"/>
                    </a:lnTo>
                    <a:lnTo>
                      <a:pt x="3953" y="918"/>
                    </a:lnTo>
                    <a:lnTo>
                      <a:pt x="3953" y="639"/>
                    </a:lnTo>
                    <a:lnTo>
                      <a:pt x="4036" y="487"/>
                    </a:lnTo>
                    <a:lnTo>
                      <a:pt x="4036" y="452"/>
                    </a:lnTo>
                    <a:moveTo>
                      <a:pt x="3327" y="433"/>
                    </a:moveTo>
                    <a:lnTo>
                      <a:pt x="3327" y="433"/>
                    </a:lnTo>
                    <a:lnTo>
                      <a:pt x="3327" y="433"/>
                    </a:lnTo>
                    <a:lnTo>
                      <a:pt x="3327" y="492"/>
                    </a:lnTo>
                    <a:lnTo>
                      <a:pt x="3327" y="492"/>
                    </a:lnTo>
                    <a:lnTo>
                      <a:pt x="3327" y="433"/>
                    </a:lnTo>
                    <a:moveTo>
                      <a:pt x="4041" y="388"/>
                    </a:moveTo>
                    <a:lnTo>
                      <a:pt x="4041" y="388"/>
                    </a:lnTo>
                    <a:lnTo>
                      <a:pt x="4038" y="388"/>
                    </a:lnTo>
                    <a:lnTo>
                      <a:pt x="4038" y="390"/>
                    </a:lnTo>
                    <a:lnTo>
                      <a:pt x="4038" y="447"/>
                    </a:lnTo>
                    <a:lnTo>
                      <a:pt x="4041" y="447"/>
                    </a:lnTo>
                    <a:lnTo>
                      <a:pt x="4041" y="445"/>
                    </a:lnTo>
                    <a:lnTo>
                      <a:pt x="4041" y="445"/>
                    </a:lnTo>
                    <a:lnTo>
                      <a:pt x="4041" y="388"/>
                    </a:lnTo>
                    <a:moveTo>
                      <a:pt x="1809" y="367"/>
                    </a:moveTo>
                    <a:lnTo>
                      <a:pt x="1806" y="367"/>
                    </a:lnTo>
                    <a:lnTo>
                      <a:pt x="1806" y="369"/>
                    </a:lnTo>
                    <a:lnTo>
                      <a:pt x="1806" y="1122"/>
                    </a:lnTo>
                    <a:lnTo>
                      <a:pt x="1809" y="1122"/>
                    </a:lnTo>
                    <a:lnTo>
                      <a:pt x="1809" y="367"/>
                    </a:lnTo>
                    <a:moveTo>
                      <a:pt x="1936" y="331"/>
                    </a:moveTo>
                    <a:lnTo>
                      <a:pt x="1936" y="331"/>
                    </a:lnTo>
                    <a:lnTo>
                      <a:pt x="1936" y="334"/>
                    </a:lnTo>
                    <a:lnTo>
                      <a:pt x="1936" y="360"/>
                    </a:lnTo>
                    <a:lnTo>
                      <a:pt x="1936" y="360"/>
                    </a:lnTo>
                    <a:lnTo>
                      <a:pt x="1936" y="331"/>
                    </a:lnTo>
                    <a:moveTo>
                      <a:pt x="4050" y="326"/>
                    </a:moveTo>
                    <a:lnTo>
                      <a:pt x="4048" y="326"/>
                    </a:lnTo>
                    <a:lnTo>
                      <a:pt x="4048" y="326"/>
                    </a:lnTo>
                    <a:lnTo>
                      <a:pt x="4048" y="381"/>
                    </a:lnTo>
                    <a:lnTo>
                      <a:pt x="4050" y="381"/>
                    </a:lnTo>
                    <a:lnTo>
                      <a:pt x="4050" y="326"/>
                    </a:lnTo>
                    <a:moveTo>
                      <a:pt x="2028" y="291"/>
                    </a:moveTo>
                    <a:lnTo>
                      <a:pt x="2026" y="291"/>
                    </a:lnTo>
                    <a:lnTo>
                      <a:pt x="2026" y="293"/>
                    </a:lnTo>
                    <a:lnTo>
                      <a:pt x="2026" y="324"/>
                    </a:lnTo>
                    <a:lnTo>
                      <a:pt x="2028" y="324"/>
                    </a:lnTo>
                    <a:lnTo>
                      <a:pt x="2028" y="291"/>
                    </a:lnTo>
                    <a:moveTo>
                      <a:pt x="4703" y="229"/>
                    </a:moveTo>
                    <a:lnTo>
                      <a:pt x="4700" y="229"/>
                    </a:lnTo>
                    <a:lnTo>
                      <a:pt x="4700" y="232"/>
                    </a:lnTo>
                    <a:lnTo>
                      <a:pt x="4637" y="469"/>
                    </a:lnTo>
                    <a:lnTo>
                      <a:pt x="4639" y="466"/>
                    </a:lnTo>
                    <a:lnTo>
                      <a:pt x="4703" y="229"/>
                    </a:lnTo>
                    <a:moveTo>
                      <a:pt x="4802" y="170"/>
                    </a:moveTo>
                    <a:lnTo>
                      <a:pt x="4802" y="170"/>
                    </a:lnTo>
                    <a:lnTo>
                      <a:pt x="4800" y="170"/>
                    </a:lnTo>
                    <a:lnTo>
                      <a:pt x="4800" y="173"/>
                    </a:lnTo>
                    <a:lnTo>
                      <a:pt x="4800" y="222"/>
                    </a:lnTo>
                    <a:lnTo>
                      <a:pt x="4802" y="222"/>
                    </a:lnTo>
                    <a:lnTo>
                      <a:pt x="4802" y="170"/>
                    </a:lnTo>
                    <a:moveTo>
                      <a:pt x="4852" y="0"/>
                    </a:moveTo>
                    <a:lnTo>
                      <a:pt x="4849" y="0"/>
                    </a:lnTo>
                    <a:lnTo>
                      <a:pt x="4849" y="0"/>
                    </a:lnTo>
                    <a:lnTo>
                      <a:pt x="4849" y="163"/>
                    </a:lnTo>
                    <a:lnTo>
                      <a:pt x="4852" y="163"/>
                    </a:lnTo>
                    <a:lnTo>
                      <a:pt x="4852" y="0"/>
                    </a:lnTo>
                    <a:moveTo>
                      <a:pt x="4908" y="0"/>
                    </a:moveTo>
                    <a:lnTo>
                      <a:pt x="4908" y="0"/>
                    </a:lnTo>
                    <a:lnTo>
                      <a:pt x="4908" y="0"/>
                    </a:lnTo>
                    <a:lnTo>
                      <a:pt x="4908" y="163"/>
                    </a:lnTo>
                    <a:lnTo>
                      <a:pt x="4908" y="163"/>
                    </a:lnTo>
                    <a:lnTo>
                      <a:pt x="4908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5" name="Freeform 138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close/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close/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close/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close/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close/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close/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close/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close/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close/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close/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close/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close/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close/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close/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close/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close/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close/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close/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close/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close/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close/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close/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close/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close/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close/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close/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close/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close/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close/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close/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close/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close/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B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6" name="Freeform 139"/>
              <p:cNvSpPr>
                <a:spLocks noEditPoints="1"/>
              </p:cNvSpPr>
              <p:nvPr/>
            </p:nvSpPr>
            <p:spPr bwMode="auto">
              <a:xfrm>
                <a:off x="40" y="1667"/>
                <a:ext cx="7027" cy="1686"/>
              </a:xfrm>
              <a:custGeom>
                <a:avLst/>
                <a:gdLst>
                  <a:gd name="T0" fmla="*/ 2 w 7027"/>
                  <a:gd name="T1" fmla="*/ 1527 h 1686"/>
                  <a:gd name="T2" fmla="*/ 5665 w 7027"/>
                  <a:gd name="T3" fmla="*/ 1442 h 1686"/>
                  <a:gd name="T4" fmla="*/ 3710 w 7027"/>
                  <a:gd name="T5" fmla="*/ 1222 h 1686"/>
                  <a:gd name="T6" fmla="*/ 5833 w 7027"/>
                  <a:gd name="T7" fmla="*/ 1208 h 1686"/>
                  <a:gd name="T8" fmla="*/ 5833 w 7027"/>
                  <a:gd name="T9" fmla="*/ 1319 h 1686"/>
                  <a:gd name="T10" fmla="*/ 1664 w 7027"/>
                  <a:gd name="T11" fmla="*/ 1158 h 1686"/>
                  <a:gd name="T12" fmla="*/ 1688 w 7027"/>
                  <a:gd name="T13" fmla="*/ 1132 h 1686"/>
                  <a:gd name="T14" fmla="*/ 5857 w 7027"/>
                  <a:gd name="T15" fmla="*/ 1127 h 1686"/>
                  <a:gd name="T16" fmla="*/ 5857 w 7027"/>
                  <a:gd name="T17" fmla="*/ 1203 h 1686"/>
                  <a:gd name="T18" fmla="*/ 6322 w 7027"/>
                  <a:gd name="T19" fmla="*/ 1130 h 1686"/>
                  <a:gd name="T20" fmla="*/ 1447 w 7027"/>
                  <a:gd name="T21" fmla="*/ 1125 h 1686"/>
                  <a:gd name="T22" fmla="*/ 1447 w 7027"/>
                  <a:gd name="T23" fmla="*/ 1125 h 1686"/>
                  <a:gd name="T24" fmla="*/ 1463 w 7027"/>
                  <a:gd name="T25" fmla="*/ 1120 h 1686"/>
                  <a:gd name="T26" fmla="*/ 2858 w 7027"/>
                  <a:gd name="T27" fmla="*/ 1063 h 1686"/>
                  <a:gd name="T28" fmla="*/ 5932 w 7027"/>
                  <a:gd name="T29" fmla="*/ 1042 h 1686"/>
                  <a:gd name="T30" fmla="*/ 5932 w 7027"/>
                  <a:gd name="T31" fmla="*/ 1042 h 1686"/>
                  <a:gd name="T32" fmla="*/ 2877 w 7027"/>
                  <a:gd name="T33" fmla="*/ 1056 h 1686"/>
                  <a:gd name="T34" fmla="*/ 3769 w 7027"/>
                  <a:gd name="T35" fmla="*/ 1217 h 1686"/>
                  <a:gd name="T36" fmla="*/ 5949 w 7027"/>
                  <a:gd name="T37" fmla="*/ 990 h 1686"/>
                  <a:gd name="T38" fmla="*/ 6341 w 7027"/>
                  <a:gd name="T39" fmla="*/ 936 h 1686"/>
                  <a:gd name="T40" fmla="*/ 6341 w 7027"/>
                  <a:gd name="T41" fmla="*/ 936 h 1686"/>
                  <a:gd name="T42" fmla="*/ 3847 w 7027"/>
                  <a:gd name="T43" fmla="*/ 988 h 1686"/>
                  <a:gd name="T44" fmla="*/ 6384 w 7027"/>
                  <a:gd name="T45" fmla="*/ 895 h 1686"/>
                  <a:gd name="T46" fmla="*/ 6389 w 7027"/>
                  <a:gd name="T47" fmla="*/ 879 h 1686"/>
                  <a:gd name="T48" fmla="*/ 6389 w 7027"/>
                  <a:gd name="T49" fmla="*/ 888 h 1686"/>
                  <a:gd name="T50" fmla="*/ 6396 w 7027"/>
                  <a:gd name="T51" fmla="*/ 850 h 1686"/>
                  <a:gd name="T52" fmla="*/ 804 w 7027"/>
                  <a:gd name="T53" fmla="*/ 827 h 1686"/>
                  <a:gd name="T54" fmla="*/ 3102 w 7027"/>
                  <a:gd name="T55" fmla="*/ 763 h 1686"/>
                  <a:gd name="T56" fmla="*/ 3102 w 7027"/>
                  <a:gd name="T57" fmla="*/ 973 h 1686"/>
                  <a:gd name="T58" fmla="*/ 1007 w 7027"/>
                  <a:gd name="T59" fmla="*/ 822 h 1686"/>
                  <a:gd name="T60" fmla="*/ 5131 w 7027"/>
                  <a:gd name="T61" fmla="*/ 734 h 1686"/>
                  <a:gd name="T62" fmla="*/ 3137 w 7027"/>
                  <a:gd name="T63" fmla="*/ 656 h 1686"/>
                  <a:gd name="T64" fmla="*/ 97 w 7027"/>
                  <a:gd name="T65" fmla="*/ 616 h 1686"/>
                  <a:gd name="T66" fmla="*/ 97 w 7027"/>
                  <a:gd name="T67" fmla="*/ 616 h 1686"/>
                  <a:gd name="T68" fmla="*/ 5254 w 7027"/>
                  <a:gd name="T69" fmla="*/ 725 h 1686"/>
                  <a:gd name="T70" fmla="*/ 3282 w 7027"/>
                  <a:gd name="T71" fmla="*/ 583 h 1686"/>
                  <a:gd name="T72" fmla="*/ 300 w 7027"/>
                  <a:gd name="T73" fmla="*/ 547 h 1686"/>
                  <a:gd name="T74" fmla="*/ 7027 w 7027"/>
                  <a:gd name="T75" fmla="*/ 509 h 1686"/>
                  <a:gd name="T76" fmla="*/ 7027 w 7027"/>
                  <a:gd name="T77" fmla="*/ 509 h 1686"/>
                  <a:gd name="T78" fmla="*/ 4126 w 7027"/>
                  <a:gd name="T79" fmla="*/ 597 h 1686"/>
                  <a:gd name="T80" fmla="*/ 3298 w 7027"/>
                  <a:gd name="T81" fmla="*/ 502 h 1686"/>
                  <a:gd name="T82" fmla="*/ 4036 w 7027"/>
                  <a:gd name="T83" fmla="*/ 455 h 1686"/>
                  <a:gd name="T84" fmla="*/ 3953 w 7027"/>
                  <a:gd name="T85" fmla="*/ 921 h 1686"/>
                  <a:gd name="T86" fmla="*/ 3329 w 7027"/>
                  <a:gd name="T87" fmla="*/ 434 h 1686"/>
                  <a:gd name="T88" fmla="*/ 3329 w 7027"/>
                  <a:gd name="T89" fmla="*/ 434 h 1686"/>
                  <a:gd name="T90" fmla="*/ 4041 w 7027"/>
                  <a:gd name="T91" fmla="*/ 448 h 1686"/>
                  <a:gd name="T92" fmla="*/ 1809 w 7027"/>
                  <a:gd name="T93" fmla="*/ 370 h 1686"/>
                  <a:gd name="T94" fmla="*/ 1936 w 7027"/>
                  <a:gd name="T95" fmla="*/ 334 h 1686"/>
                  <a:gd name="T96" fmla="*/ 4050 w 7027"/>
                  <a:gd name="T97" fmla="*/ 327 h 1686"/>
                  <a:gd name="T98" fmla="*/ 4050 w 7027"/>
                  <a:gd name="T99" fmla="*/ 327 h 1686"/>
                  <a:gd name="T100" fmla="*/ 2028 w 7027"/>
                  <a:gd name="T101" fmla="*/ 327 h 1686"/>
                  <a:gd name="T102" fmla="*/ 4639 w 7027"/>
                  <a:gd name="T103" fmla="*/ 469 h 1686"/>
                  <a:gd name="T104" fmla="*/ 4802 w 7027"/>
                  <a:gd name="T105" fmla="*/ 171 h 1686"/>
                  <a:gd name="T106" fmla="*/ 4854 w 7027"/>
                  <a:gd name="T107" fmla="*/ 0 h 1686"/>
                  <a:gd name="T108" fmla="*/ 4854 w 7027"/>
                  <a:gd name="T109" fmla="*/ 0 h 1686"/>
                  <a:gd name="T110" fmla="*/ 4911 w 7027"/>
                  <a:gd name="T111" fmla="*/ 166 h 1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27" h="1686">
                    <a:moveTo>
                      <a:pt x="2" y="1452"/>
                    </a:moveTo>
                    <a:lnTo>
                      <a:pt x="0" y="1452"/>
                    </a:lnTo>
                    <a:lnTo>
                      <a:pt x="0" y="1454"/>
                    </a:lnTo>
                    <a:lnTo>
                      <a:pt x="0" y="1527"/>
                    </a:lnTo>
                    <a:lnTo>
                      <a:pt x="2" y="1527"/>
                    </a:lnTo>
                    <a:lnTo>
                      <a:pt x="2" y="1452"/>
                    </a:lnTo>
                    <a:moveTo>
                      <a:pt x="5667" y="1326"/>
                    </a:moveTo>
                    <a:lnTo>
                      <a:pt x="5665" y="1326"/>
                    </a:lnTo>
                    <a:lnTo>
                      <a:pt x="5665" y="1329"/>
                    </a:lnTo>
                    <a:lnTo>
                      <a:pt x="5665" y="1442"/>
                    </a:lnTo>
                    <a:lnTo>
                      <a:pt x="5667" y="1442"/>
                    </a:lnTo>
                    <a:lnTo>
                      <a:pt x="5667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5"/>
                    </a:lnTo>
                    <a:lnTo>
                      <a:pt x="3712" y="1385"/>
                    </a:lnTo>
                    <a:lnTo>
                      <a:pt x="3712" y="1222"/>
                    </a:lnTo>
                    <a:moveTo>
                      <a:pt x="5833" y="1208"/>
                    </a:moveTo>
                    <a:lnTo>
                      <a:pt x="5831" y="1208"/>
                    </a:lnTo>
                    <a:lnTo>
                      <a:pt x="5831" y="1208"/>
                    </a:lnTo>
                    <a:lnTo>
                      <a:pt x="5831" y="1210"/>
                    </a:lnTo>
                    <a:lnTo>
                      <a:pt x="5831" y="1319"/>
                    </a:lnTo>
                    <a:lnTo>
                      <a:pt x="5833" y="1319"/>
                    </a:lnTo>
                    <a:lnTo>
                      <a:pt x="5833" y="1208"/>
                    </a:lnTo>
                    <a:moveTo>
                      <a:pt x="1667" y="1156"/>
                    </a:moveTo>
                    <a:lnTo>
                      <a:pt x="1664" y="1156"/>
                    </a:lnTo>
                    <a:lnTo>
                      <a:pt x="1664" y="1156"/>
                    </a:lnTo>
                    <a:lnTo>
                      <a:pt x="1664" y="1158"/>
                    </a:lnTo>
                    <a:lnTo>
                      <a:pt x="1664" y="1194"/>
                    </a:lnTo>
                    <a:lnTo>
                      <a:pt x="1667" y="1194"/>
                    </a:lnTo>
                    <a:lnTo>
                      <a:pt x="1667" y="1156"/>
                    </a:lnTo>
                    <a:moveTo>
                      <a:pt x="1690" y="1132"/>
                    </a:moveTo>
                    <a:lnTo>
                      <a:pt x="1688" y="1132"/>
                    </a:lnTo>
                    <a:lnTo>
                      <a:pt x="1688" y="1132"/>
                    </a:lnTo>
                    <a:lnTo>
                      <a:pt x="1688" y="1151"/>
                    </a:lnTo>
                    <a:lnTo>
                      <a:pt x="1690" y="1151"/>
                    </a:lnTo>
                    <a:lnTo>
                      <a:pt x="1690" y="1132"/>
                    </a:lnTo>
                    <a:moveTo>
                      <a:pt x="5857" y="1127"/>
                    </a:moveTo>
                    <a:lnTo>
                      <a:pt x="5857" y="1127"/>
                    </a:lnTo>
                    <a:lnTo>
                      <a:pt x="5854" y="1127"/>
                    </a:lnTo>
                    <a:lnTo>
                      <a:pt x="5854" y="1130"/>
                    </a:lnTo>
                    <a:lnTo>
                      <a:pt x="5854" y="1203"/>
                    </a:lnTo>
                    <a:lnTo>
                      <a:pt x="5857" y="1203"/>
                    </a:lnTo>
                    <a:lnTo>
                      <a:pt x="5857" y="1127"/>
                    </a:lnTo>
                    <a:moveTo>
                      <a:pt x="6322" y="1127"/>
                    </a:moveTo>
                    <a:lnTo>
                      <a:pt x="6322" y="1127"/>
                    </a:lnTo>
                    <a:lnTo>
                      <a:pt x="6322" y="1127"/>
                    </a:lnTo>
                    <a:lnTo>
                      <a:pt x="6322" y="1130"/>
                    </a:lnTo>
                    <a:lnTo>
                      <a:pt x="6322" y="1357"/>
                    </a:lnTo>
                    <a:lnTo>
                      <a:pt x="6322" y="1357"/>
                    </a:lnTo>
                    <a:lnTo>
                      <a:pt x="6322" y="1127"/>
                    </a:lnTo>
                    <a:moveTo>
                      <a:pt x="1447" y="1125"/>
                    </a:moveTo>
                    <a:lnTo>
                      <a:pt x="1447" y="1125"/>
                    </a:lnTo>
                    <a:lnTo>
                      <a:pt x="1447" y="1125"/>
                    </a:lnTo>
                    <a:lnTo>
                      <a:pt x="1447" y="1127"/>
                    </a:lnTo>
                    <a:lnTo>
                      <a:pt x="1447" y="1194"/>
                    </a:lnTo>
                    <a:lnTo>
                      <a:pt x="1447" y="1194"/>
                    </a:lnTo>
                    <a:lnTo>
                      <a:pt x="1447" y="1125"/>
                    </a:lnTo>
                    <a:moveTo>
                      <a:pt x="1463" y="1082"/>
                    </a:moveTo>
                    <a:lnTo>
                      <a:pt x="1463" y="1082"/>
                    </a:lnTo>
                    <a:lnTo>
                      <a:pt x="1463" y="1085"/>
                    </a:lnTo>
                    <a:lnTo>
                      <a:pt x="1463" y="1120"/>
                    </a:lnTo>
                    <a:lnTo>
                      <a:pt x="1463" y="1120"/>
                    </a:lnTo>
                    <a:lnTo>
                      <a:pt x="1463" y="1082"/>
                    </a:lnTo>
                    <a:moveTo>
                      <a:pt x="2861" y="1061"/>
                    </a:moveTo>
                    <a:lnTo>
                      <a:pt x="2861" y="1061"/>
                    </a:lnTo>
                    <a:lnTo>
                      <a:pt x="2858" y="1061"/>
                    </a:lnTo>
                    <a:lnTo>
                      <a:pt x="2858" y="1063"/>
                    </a:lnTo>
                    <a:lnTo>
                      <a:pt x="2858" y="1234"/>
                    </a:lnTo>
                    <a:lnTo>
                      <a:pt x="2861" y="1234"/>
                    </a:lnTo>
                    <a:lnTo>
                      <a:pt x="2861" y="1061"/>
                    </a:lnTo>
                    <a:moveTo>
                      <a:pt x="5932" y="1042"/>
                    </a:moveTo>
                    <a:lnTo>
                      <a:pt x="5932" y="1042"/>
                    </a:ln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123"/>
                    </a:lnTo>
                    <a:lnTo>
                      <a:pt x="5932" y="1123"/>
                    </a:lnTo>
                    <a:lnTo>
                      <a:pt x="5932" y="1042"/>
                    </a:lnTo>
                    <a:moveTo>
                      <a:pt x="2877" y="1011"/>
                    </a:moveTo>
                    <a:lnTo>
                      <a:pt x="2877" y="1011"/>
                    </a:lnTo>
                    <a:lnTo>
                      <a:pt x="2877" y="1014"/>
                    </a:lnTo>
                    <a:lnTo>
                      <a:pt x="2877" y="1056"/>
                    </a:lnTo>
                    <a:lnTo>
                      <a:pt x="2877" y="1056"/>
                    </a:lnTo>
                    <a:lnTo>
                      <a:pt x="2877" y="1011"/>
                    </a:lnTo>
                    <a:moveTo>
                      <a:pt x="3771" y="992"/>
                    </a:moveTo>
                    <a:lnTo>
                      <a:pt x="3769" y="992"/>
                    </a:lnTo>
                    <a:lnTo>
                      <a:pt x="3769" y="995"/>
                    </a:lnTo>
                    <a:lnTo>
                      <a:pt x="3769" y="1217"/>
                    </a:lnTo>
                    <a:lnTo>
                      <a:pt x="3771" y="1217"/>
                    </a:lnTo>
                    <a:lnTo>
                      <a:pt x="3771" y="992"/>
                    </a:lnTo>
                    <a:moveTo>
                      <a:pt x="5949" y="990"/>
                    </a:moveTo>
                    <a:lnTo>
                      <a:pt x="5949" y="990"/>
                    </a:lnTo>
                    <a:lnTo>
                      <a:pt x="5949" y="990"/>
                    </a:lnTo>
                    <a:lnTo>
                      <a:pt x="5949" y="1035"/>
                    </a:lnTo>
                    <a:lnTo>
                      <a:pt x="5949" y="1035"/>
                    </a:lnTo>
                    <a:lnTo>
                      <a:pt x="5949" y="990"/>
                    </a:lnTo>
                    <a:moveTo>
                      <a:pt x="6341" y="936"/>
                    </a:moveTo>
                    <a:lnTo>
                      <a:pt x="6341" y="936"/>
                    </a:lnTo>
                    <a:lnTo>
                      <a:pt x="6339" y="936"/>
                    </a:lnTo>
                    <a:lnTo>
                      <a:pt x="6339" y="938"/>
                    </a:lnTo>
                    <a:lnTo>
                      <a:pt x="6339" y="1123"/>
                    </a:lnTo>
                    <a:lnTo>
                      <a:pt x="6341" y="1123"/>
                    </a:lnTo>
                    <a:lnTo>
                      <a:pt x="6341" y="936"/>
                    </a:lnTo>
                    <a:moveTo>
                      <a:pt x="3847" y="928"/>
                    </a:moveTo>
                    <a:lnTo>
                      <a:pt x="3844" y="928"/>
                    </a:lnTo>
                    <a:lnTo>
                      <a:pt x="3844" y="928"/>
                    </a:lnTo>
                    <a:lnTo>
                      <a:pt x="3844" y="988"/>
                    </a:lnTo>
                    <a:lnTo>
                      <a:pt x="3847" y="988"/>
                    </a:lnTo>
                    <a:lnTo>
                      <a:pt x="3847" y="928"/>
                    </a:lnTo>
                    <a:moveTo>
                      <a:pt x="6386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5"/>
                    </a:lnTo>
                    <a:lnTo>
                      <a:pt x="6377" y="928"/>
                    </a:lnTo>
                    <a:lnTo>
                      <a:pt x="6377" y="928"/>
                    </a:lnTo>
                    <a:lnTo>
                      <a:pt x="6386" y="895"/>
                    </a:lnTo>
                    <a:moveTo>
                      <a:pt x="6391" y="879"/>
                    </a:move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79"/>
                    </a:lnTo>
                    <a:lnTo>
                      <a:pt x="6389" y="891"/>
                    </a:lnTo>
                    <a:lnTo>
                      <a:pt x="6389" y="891"/>
                    </a:lnTo>
                    <a:lnTo>
                      <a:pt x="6389" y="888"/>
                    </a:lnTo>
                    <a:lnTo>
                      <a:pt x="6391" y="888"/>
                    </a:lnTo>
                    <a:lnTo>
                      <a:pt x="6391" y="879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0"/>
                    </a:lnTo>
                    <a:lnTo>
                      <a:pt x="6396" y="872"/>
                    </a:lnTo>
                    <a:lnTo>
                      <a:pt x="6398" y="872"/>
                    </a:lnTo>
                    <a:lnTo>
                      <a:pt x="6398" y="850"/>
                    </a:lnTo>
                    <a:moveTo>
                      <a:pt x="806" y="827"/>
                    </a:moveTo>
                    <a:lnTo>
                      <a:pt x="804" y="827"/>
                    </a:lnTo>
                    <a:lnTo>
                      <a:pt x="804" y="829"/>
                    </a:lnTo>
                    <a:lnTo>
                      <a:pt x="804" y="1063"/>
                    </a:lnTo>
                    <a:lnTo>
                      <a:pt x="806" y="1063"/>
                    </a:lnTo>
                    <a:lnTo>
                      <a:pt x="806" y="827"/>
                    </a:lnTo>
                    <a:moveTo>
                      <a:pt x="3102" y="763"/>
                    </a:moveTo>
                    <a:lnTo>
                      <a:pt x="3100" y="763"/>
                    </a:lnTo>
                    <a:lnTo>
                      <a:pt x="3100" y="763"/>
                    </a:lnTo>
                    <a:lnTo>
                      <a:pt x="3100" y="765"/>
                    </a:lnTo>
                    <a:lnTo>
                      <a:pt x="3100" y="973"/>
                    </a:lnTo>
                    <a:lnTo>
                      <a:pt x="3102" y="973"/>
                    </a:lnTo>
                    <a:lnTo>
                      <a:pt x="3102" y="763"/>
                    </a:lnTo>
                    <a:moveTo>
                      <a:pt x="1009" y="753"/>
                    </a:moveTo>
                    <a:lnTo>
                      <a:pt x="1007" y="753"/>
                    </a:lnTo>
                    <a:lnTo>
                      <a:pt x="1007" y="753"/>
                    </a:lnTo>
                    <a:lnTo>
                      <a:pt x="1007" y="822"/>
                    </a:lnTo>
                    <a:lnTo>
                      <a:pt x="1009" y="822"/>
                    </a:lnTo>
                    <a:lnTo>
                      <a:pt x="1009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6"/>
                    </a:lnTo>
                    <a:lnTo>
                      <a:pt x="5133" y="966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7" y="656"/>
                    </a:lnTo>
                    <a:lnTo>
                      <a:pt x="3137" y="659"/>
                    </a:lnTo>
                    <a:lnTo>
                      <a:pt x="3137" y="756"/>
                    </a:lnTo>
                    <a:lnTo>
                      <a:pt x="3140" y="756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7" y="616"/>
                    </a:lnTo>
                    <a:lnTo>
                      <a:pt x="97" y="618"/>
                    </a:lnTo>
                    <a:lnTo>
                      <a:pt x="97" y="1447"/>
                    </a:lnTo>
                    <a:lnTo>
                      <a:pt x="97" y="1447"/>
                    </a:lnTo>
                    <a:lnTo>
                      <a:pt x="97" y="616"/>
                    </a:lnTo>
                    <a:moveTo>
                      <a:pt x="5254" y="609"/>
                    </a:moveTo>
                    <a:lnTo>
                      <a:pt x="5251" y="609"/>
                    </a:lnTo>
                    <a:lnTo>
                      <a:pt x="5251" y="611"/>
                    </a:lnTo>
                    <a:lnTo>
                      <a:pt x="5251" y="725"/>
                    </a:lnTo>
                    <a:lnTo>
                      <a:pt x="5254" y="725"/>
                    </a:lnTo>
                    <a:lnTo>
                      <a:pt x="5254" y="609"/>
                    </a:lnTo>
                    <a:moveTo>
                      <a:pt x="3284" y="580"/>
                    </a:moveTo>
                    <a:lnTo>
                      <a:pt x="3282" y="580"/>
                    </a:lnTo>
                    <a:lnTo>
                      <a:pt x="3282" y="580"/>
                    </a:lnTo>
                    <a:lnTo>
                      <a:pt x="3282" y="583"/>
                    </a:lnTo>
                    <a:lnTo>
                      <a:pt x="3282" y="651"/>
                    </a:lnTo>
                    <a:lnTo>
                      <a:pt x="3284" y="651"/>
                    </a:lnTo>
                    <a:lnTo>
                      <a:pt x="3284" y="580"/>
                    </a:lnTo>
                    <a:moveTo>
                      <a:pt x="302" y="547"/>
                    </a:moveTo>
                    <a:lnTo>
                      <a:pt x="300" y="547"/>
                    </a:lnTo>
                    <a:lnTo>
                      <a:pt x="300" y="550"/>
                    </a:lnTo>
                    <a:lnTo>
                      <a:pt x="300" y="611"/>
                    </a:lnTo>
                    <a:lnTo>
                      <a:pt x="302" y="611"/>
                    </a:lnTo>
                    <a:lnTo>
                      <a:pt x="302" y="547"/>
                    </a:lnTo>
                    <a:moveTo>
                      <a:pt x="7027" y="509"/>
                    </a:moveTo>
                    <a:lnTo>
                      <a:pt x="7025" y="509"/>
                    </a:lnTo>
                    <a:lnTo>
                      <a:pt x="7025" y="509"/>
                    </a:lnTo>
                    <a:lnTo>
                      <a:pt x="7025" y="1686"/>
                    </a:lnTo>
                    <a:lnTo>
                      <a:pt x="7027" y="1686"/>
                    </a:lnTo>
                    <a:lnTo>
                      <a:pt x="7027" y="509"/>
                    </a:lnTo>
                    <a:moveTo>
                      <a:pt x="4194" y="502"/>
                    </a:moveTo>
                    <a:lnTo>
                      <a:pt x="4194" y="502"/>
                    </a:lnTo>
                    <a:lnTo>
                      <a:pt x="4192" y="505"/>
                    </a:lnTo>
                    <a:lnTo>
                      <a:pt x="4126" y="595"/>
                    </a:lnTo>
                    <a:lnTo>
                      <a:pt x="4126" y="597"/>
                    </a:lnTo>
                    <a:lnTo>
                      <a:pt x="4194" y="502"/>
                    </a:lnTo>
                    <a:moveTo>
                      <a:pt x="3301" y="500"/>
                    </a:moveTo>
                    <a:lnTo>
                      <a:pt x="3301" y="500"/>
                    </a:lnTo>
                    <a:lnTo>
                      <a:pt x="3298" y="500"/>
                    </a:lnTo>
                    <a:lnTo>
                      <a:pt x="3298" y="502"/>
                    </a:lnTo>
                    <a:lnTo>
                      <a:pt x="3298" y="576"/>
                    </a:lnTo>
                    <a:lnTo>
                      <a:pt x="3301" y="576"/>
                    </a:lnTo>
                    <a:lnTo>
                      <a:pt x="3301" y="500"/>
                    </a:lnTo>
                    <a:moveTo>
                      <a:pt x="4038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90"/>
                    </a:lnTo>
                    <a:lnTo>
                      <a:pt x="3953" y="642"/>
                    </a:lnTo>
                    <a:lnTo>
                      <a:pt x="3953" y="921"/>
                    </a:lnTo>
                    <a:lnTo>
                      <a:pt x="3956" y="921"/>
                    </a:lnTo>
                    <a:lnTo>
                      <a:pt x="3956" y="642"/>
                    </a:lnTo>
                    <a:lnTo>
                      <a:pt x="4038" y="488"/>
                    </a:lnTo>
                    <a:lnTo>
                      <a:pt x="4038" y="455"/>
                    </a:lnTo>
                    <a:moveTo>
                      <a:pt x="3329" y="434"/>
                    </a:moveTo>
                    <a:lnTo>
                      <a:pt x="3327" y="434"/>
                    </a:lnTo>
                    <a:lnTo>
                      <a:pt x="3327" y="436"/>
                    </a:lnTo>
                    <a:lnTo>
                      <a:pt x="3327" y="495"/>
                    </a:lnTo>
                    <a:lnTo>
                      <a:pt x="3329" y="495"/>
                    </a:lnTo>
                    <a:lnTo>
                      <a:pt x="3329" y="434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448"/>
                    </a:lnTo>
                    <a:lnTo>
                      <a:pt x="4043" y="448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70"/>
                    </a:lnTo>
                    <a:lnTo>
                      <a:pt x="1809" y="1125"/>
                    </a:lnTo>
                    <a:lnTo>
                      <a:pt x="1811" y="1125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6" y="334"/>
                    </a:lnTo>
                    <a:lnTo>
                      <a:pt x="1936" y="334"/>
                    </a:lnTo>
                    <a:lnTo>
                      <a:pt x="1936" y="363"/>
                    </a:lnTo>
                    <a:lnTo>
                      <a:pt x="1939" y="363"/>
                    </a:lnTo>
                    <a:lnTo>
                      <a:pt x="1939" y="334"/>
                    </a:lnTo>
                    <a:moveTo>
                      <a:pt x="4050" y="327"/>
                    </a:moveTo>
                    <a:lnTo>
                      <a:pt x="4050" y="327"/>
                    </a:lnTo>
                    <a:lnTo>
                      <a:pt x="4050" y="329"/>
                    </a:lnTo>
                    <a:lnTo>
                      <a:pt x="4050" y="384"/>
                    </a:lnTo>
                    <a:lnTo>
                      <a:pt x="4050" y="384"/>
                    </a:lnTo>
                    <a:lnTo>
                      <a:pt x="4050" y="327"/>
                    </a:lnTo>
                    <a:moveTo>
                      <a:pt x="2028" y="294"/>
                    </a:moveTo>
                    <a:lnTo>
                      <a:pt x="2028" y="294"/>
                    </a:lnTo>
                    <a:lnTo>
                      <a:pt x="2028" y="294"/>
                    </a:lnTo>
                    <a:lnTo>
                      <a:pt x="2028" y="327"/>
                    </a:lnTo>
                    <a:lnTo>
                      <a:pt x="2028" y="327"/>
                    </a:lnTo>
                    <a:lnTo>
                      <a:pt x="2028" y="294"/>
                    </a:lnTo>
                    <a:moveTo>
                      <a:pt x="4705" y="232"/>
                    </a:moveTo>
                    <a:lnTo>
                      <a:pt x="4703" y="232"/>
                    </a:lnTo>
                    <a:lnTo>
                      <a:pt x="4703" y="232"/>
                    </a:lnTo>
                    <a:lnTo>
                      <a:pt x="4639" y="469"/>
                    </a:lnTo>
                    <a:lnTo>
                      <a:pt x="4639" y="469"/>
                    </a:lnTo>
                    <a:lnTo>
                      <a:pt x="4705" y="232"/>
                    </a:lnTo>
                    <a:moveTo>
                      <a:pt x="4804" y="171"/>
                    </a:moveTo>
                    <a:lnTo>
                      <a:pt x="4804" y="171"/>
                    </a:lnTo>
                    <a:lnTo>
                      <a:pt x="4802" y="171"/>
                    </a:lnTo>
                    <a:lnTo>
                      <a:pt x="4802" y="173"/>
                    </a:lnTo>
                    <a:lnTo>
                      <a:pt x="4802" y="225"/>
                    </a:lnTo>
                    <a:lnTo>
                      <a:pt x="4804" y="225"/>
                    </a:lnTo>
                    <a:lnTo>
                      <a:pt x="4804" y="171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3"/>
                    </a:lnTo>
                    <a:lnTo>
                      <a:pt x="4852" y="166"/>
                    </a:lnTo>
                    <a:lnTo>
                      <a:pt x="4854" y="166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8" y="0"/>
                    </a:lnTo>
                    <a:lnTo>
                      <a:pt x="4908" y="3"/>
                    </a:lnTo>
                    <a:lnTo>
                      <a:pt x="4908" y="166"/>
                    </a:lnTo>
                    <a:lnTo>
                      <a:pt x="4911" y="166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7" name="Freeform 140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close/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close/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close/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close/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close/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close/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close/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close/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close/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close/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close/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close/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close/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close/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close/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close/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close/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close/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close/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close/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close/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close/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close/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close/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close/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close/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close/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close/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close/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close/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close/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close/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close/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close/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close/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close/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8" name="Freeform 141"/>
              <p:cNvSpPr>
                <a:spLocks noEditPoints="1"/>
              </p:cNvSpPr>
              <p:nvPr/>
            </p:nvSpPr>
            <p:spPr bwMode="auto">
              <a:xfrm>
                <a:off x="42" y="1665"/>
                <a:ext cx="7025" cy="1688"/>
              </a:xfrm>
              <a:custGeom>
                <a:avLst/>
                <a:gdLst>
                  <a:gd name="T0" fmla="*/ 2 w 7025"/>
                  <a:gd name="T1" fmla="*/ 1529 h 1688"/>
                  <a:gd name="T2" fmla="*/ 5665 w 7025"/>
                  <a:gd name="T3" fmla="*/ 1444 h 1688"/>
                  <a:gd name="T4" fmla="*/ 3710 w 7025"/>
                  <a:gd name="T5" fmla="*/ 1222 h 1688"/>
                  <a:gd name="T6" fmla="*/ 5831 w 7025"/>
                  <a:gd name="T7" fmla="*/ 1207 h 1688"/>
                  <a:gd name="T8" fmla="*/ 5831 w 7025"/>
                  <a:gd name="T9" fmla="*/ 1321 h 1688"/>
                  <a:gd name="T10" fmla="*/ 1665 w 7025"/>
                  <a:gd name="T11" fmla="*/ 1158 h 1688"/>
                  <a:gd name="T12" fmla="*/ 1688 w 7025"/>
                  <a:gd name="T13" fmla="*/ 1132 h 1688"/>
                  <a:gd name="T14" fmla="*/ 5857 w 7025"/>
                  <a:gd name="T15" fmla="*/ 1127 h 1688"/>
                  <a:gd name="T16" fmla="*/ 5857 w 7025"/>
                  <a:gd name="T17" fmla="*/ 1205 h 1688"/>
                  <a:gd name="T18" fmla="*/ 6320 w 7025"/>
                  <a:gd name="T19" fmla="*/ 1129 h 1688"/>
                  <a:gd name="T20" fmla="*/ 1445 w 7025"/>
                  <a:gd name="T21" fmla="*/ 1125 h 1688"/>
                  <a:gd name="T22" fmla="*/ 1447 w 7025"/>
                  <a:gd name="T23" fmla="*/ 1125 h 1688"/>
                  <a:gd name="T24" fmla="*/ 1464 w 7025"/>
                  <a:gd name="T25" fmla="*/ 1122 h 1688"/>
                  <a:gd name="T26" fmla="*/ 2859 w 7025"/>
                  <a:gd name="T27" fmla="*/ 1063 h 1688"/>
                  <a:gd name="T28" fmla="*/ 5930 w 7025"/>
                  <a:gd name="T29" fmla="*/ 1042 h 1688"/>
                  <a:gd name="T30" fmla="*/ 5933 w 7025"/>
                  <a:gd name="T31" fmla="*/ 1042 h 1688"/>
                  <a:gd name="T32" fmla="*/ 2878 w 7025"/>
                  <a:gd name="T33" fmla="*/ 1058 h 1688"/>
                  <a:gd name="T34" fmla="*/ 3769 w 7025"/>
                  <a:gd name="T35" fmla="*/ 1219 h 1688"/>
                  <a:gd name="T36" fmla="*/ 5947 w 7025"/>
                  <a:gd name="T37" fmla="*/ 992 h 1688"/>
                  <a:gd name="T38" fmla="*/ 6339 w 7025"/>
                  <a:gd name="T39" fmla="*/ 935 h 1688"/>
                  <a:gd name="T40" fmla="*/ 6342 w 7025"/>
                  <a:gd name="T41" fmla="*/ 935 h 1688"/>
                  <a:gd name="T42" fmla="*/ 3847 w 7025"/>
                  <a:gd name="T43" fmla="*/ 990 h 1688"/>
                  <a:gd name="T44" fmla="*/ 6384 w 7025"/>
                  <a:gd name="T45" fmla="*/ 897 h 1688"/>
                  <a:gd name="T46" fmla="*/ 6389 w 7025"/>
                  <a:gd name="T47" fmla="*/ 878 h 1688"/>
                  <a:gd name="T48" fmla="*/ 6391 w 7025"/>
                  <a:gd name="T49" fmla="*/ 878 h 1688"/>
                  <a:gd name="T50" fmla="*/ 6398 w 7025"/>
                  <a:gd name="T51" fmla="*/ 874 h 1688"/>
                  <a:gd name="T52" fmla="*/ 804 w 7025"/>
                  <a:gd name="T53" fmla="*/ 1065 h 1688"/>
                  <a:gd name="T54" fmla="*/ 3100 w 7025"/>
                  <a:gd name="T55" fmla="*/ 762 h 1688"/>
                  <a:gd name="T56" fmla="*/ 1010 w 7025"/>
                  <a:gd name="T57" fmla="*/ 753 h 1688"/>
                  <a:gd name="T58" fmla="*/ 1010 w 7025"/>
                  <a:gd name="T59" fmla="*/ 753 h 1688"/>
                  <a:gd name="T60" fmla="*/ 5133 w 7025"/>
                  <a:gd name="T61" fmla="*/ 968 h 1688"/>
                  <a:gd name="T62" fmla="*/ 3138 w 7025"/>
                  <a:gd name="T63" fmla="*/ 758 h 1688"/>
                  <a:gd name="T64" fmla="*/ 95 w 7025"/>
                  <a:gd name="T65" fmla="*/ 618 h 1688"/>
                  <a:gd name="T66" fmla="*/ 5252 w 7025"/>
                  <a:gd name="T67" fmla="*/ 608 h 1688"/>
                  <a:gd name="T68" fmla="*/ 3284 w 7025"/>
                  <a:gd name="T69" fmla="*/ 582 h 1688"/>
                  <a:gd name="T70" fmla="*/ 3284 w 7025"/>
                  <a:gd name="T71" fmla="*/ 653 h 1688"/>
                  <a:gd name="T72" fmla="*/ 300 w 7025"/>
                  <a:gd name="T73" fmla="*/ 613 h 1688"/>
                  <a:gd name="T74" fmla="*/ 7025 w 7025"/>
                  <a:gd name="T75" fmla="*/ 511 h 1688"/>
                  <a:gd name="T76" fmla="*/ 4195 w 7025"/>
                  <a:gd name="T77" fmla="*/ 502 h 1688"/>
                  <a:gd name="T78" fmla="*/ 3301 w 7025"/>
                  <a:gd name="T79" fmla="*/ 502 h 1688"/>
                  <a:gd name="T80" fmla="*/ 3301 w 7025"/>
                  <a:gd name="T81" fmla="*/ 578 h 1688"/>
                  <a:gd name="T82" fmla="*/ 4036 w 7025"/>
                  <a:gd name="T83" fmla="*/ 457 h 1688"/>
                  <a:gd name="T84" fmla="*/ 3956 w 7025"/>
                  <a:gd name="T85" fmla="*/ 642 h 1688"/>
                  <a:gd name="T86" fmla="*/ 3327 w 7025"/>
                  <a:gd name="T87" fmla="*/ 436 h 1688"/>
                  <a:gd name="T88" fmla="*/ 4041 w 7025"/>
                  <a:gd name="T89" fmla="*/ 391 h 1688"/>
                  <a:gd name="T90" fmla="*/ 4043 w 7025"/>
                  <a:gd name="T91" fmla="*/ 391 h 1688"/>
                  <a:gd name="T92" fmla="*/ 1811 w 7025"/>
                  <a:gd name="T93" fmla="*/ 1127 h 1688"/>
                  <a:gd name="T94" fmla="*/ 1937 w 7025"/>
                  <a:gd name="T95" fmla="*/ 365 h 1688"/>
                  <a:gd name="T96" fmla="*/ 4048 w 7025"/>
                  <a:gd name="T97" fmla="*/ 329 h 1688"/>
                  <a:gd name="T98" fmla="*/ 2026 w 7025"/>
                  <a:gd name="T99" fmla="*/ 294 h 1688"/>
                  <a:gd name="T100" fmla="*/ 4703 w 7025"/>
                  <a:gd name="T101" fmla="*/ 232 h 1688"/>
                  <a:gd name="T102" fmla="*/ 4703 w 7025"/>
                  <a:gd name="T103" fmla="*/ 232 h 1688"/>
                  <a:gd name="T104" fmla="*/ 4802 w 7025"/>
                  <a:gd name="T105" fmla="*/ 227 h 1688"/>
                  <a:gd name="T106" fmla="*/ 4852 w 7025"/>
                  <a:gd name="T107" fmla="*/ 2 h 1688"/>
                  <a:gd name="T108" fmla="*/ 4909 w 7025"/>
                  <a:gd name="T109" fmla="*/ 0 h 1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88">
                    <a:moveTo>
                      <a:pt x="2" y="1454"/>
                    </a:moveTo>
                    <a:lnTo>
                      <a:pt x="0" y="1454"/>
                    </a:lnTo>
                    <a:lnTo>
                      <a:pt x="0" y="1454"/>
                    </a:lnTo>
                    <a:lnTo>
                      <a:pt x="0" y="1529"/>
                    </a:lnTo>
                    <a:lnTo>
                      <a:pt x="2" y="1529"/>
                    </a:lnTo>
                    <a:lnTo>
                      <a:pt x="2" y="1454"/>
                    </a:lnTo>
                    <a:moveTo>
                      <a:pt x="5665" y="1326"/>
                    </a:moveTo>
                    <a:lnTo>
                      <a:pt x="5665" y="1326"/>
                    </a:lnTo>
                    <a:lnTo>
                      <a:pt x="5665" y="1328"/>
                    </a:lnTo>
                    <a:lnTo>
                      <a:pt x="5665" y="1444"/>
                    </a:lnTo>
                    <a:lnTo>
                      <a:pt x="5665" y="1444"/>
                    </a:lnTo>
                    <a:lnTo>
                      <a:pt x="5665" y="1326"/>
                    </a:lnTo>
                    <a:moveTo>
                      <a:pt x="3712" y="1222"/>
                    </a:moveTo>
                    <a:lnTo>
                      <a:pt x="3710" y="1222"/>
                    </a:lnTo>
                    <a:lnTo>
                      <a:pt x="3710" y="1222"/>
                    </a:lnTo>
                    <a:lnTo>
                      <a:pt x="3710" y="1224"/>
                    </a:lnTo>
                    <a:lnTo>
                      <a:pt x="3710" y="1387"/>
                    </a:lnTo>
                    <a:lnTo>
                      <a:pt x="3712" y="1387"/>
                    </a:lnTo>
                    <a:lnTo>
                      <a:pt x="3712" y="1222"/>
                    </a:lnTo>
                    <a:moveTo>
                      <a:pt x="5831" y="1207"/>
                    </a:moveTo>
                    <a:lnTo>
                      <a:pt x="5831" y="1207"/>
                    </a:lnTo>
                    <a:lnTo>
                      <a:pt x="5831" y="1207"/>
                    </a:lnTo>
                    <a:lnTo>
                      <a:pt x="5831" y="1210"/>
                    </a:lnTo>
                    <a:lnTo>
                      <a:pt x="5831" y="1321"/>
                    </a:lnTo>
                    <a:lnTo>
                      <a:pt x="5831" y="1321"/>
                    </a:lnTo>
                    <a:lnTo>
                      <a:pt x="5831" y="1207"/>
                    </a:lnTo>
                    <a:moveTo>
                      <a:pt x="1667" y="1155"/>
                    </a:moveTo>
                    <a:lnTo>
                      <a:pt x="1665" y="1155"/>
                    </a:lnTo>
                    <a:lnTo>
                      <a:pt x="1665" y="1155"/>
                    </a:lnTo>
                    <a:lnTo>
                      <a:pt x="1665" y="1158"/>
                    </a:lnTo>
                    <a:lnTo>
                      <a:pt x="1665" y="1196"/>
                    </a:lnTo>
                    <a:lnTo>
                      <a:pt x="1667" y="1196"/>
                    </a:lnTo>
                    <a:lnTo>
                      <a:pt x="1667" y="1155"/>
                    </a:lnTo>
                    <a:moveTo>
                      <a:pt x="1688" y="1132"/>
                    </a:moveTo>
                    <a:lnTo>
                      <a:pt x="1688" y="1132"/>
                    </a:lnTo>
                    <a:lnTo>
                      <a:pt x="1688" y="1134"/>
                    </a:lnTo>
                    <a:lnTo>
                      <a:pt x="1688" y="1153"/>
                    </a:lnTo>
                    <a:lnTo>
                      <a:pt x="1688" y="1153"/>
                    </a:lnTo>
                    <a:lnTo>
                      <a:pt x="1688" y="1132"/>
                    </a:lnTo>
                    <a:moveTo>
                      <a:pt x="5857" y="1127"/>
                    </a:moveTo>
                    <a:lnTo>
                      <a:pt x="5855" y="1127"/>
                    </a:lnTo>
                    <a:lnTo>
                      <a:pt x="5855" y="1127"/>
                    </a:lnTo>
                    <a:lnTo>
                      <a:pt x="5855" y="1129"/>
                    </a:lnTo>
                    <a:lnTo>
                      <a:pt x="5855" y="1205"/>
                    </a:lnTo>
                    <a:lnTo>
                      <a:pt x="5857" y="1205"/>
                    </a:lnTo>
                    <a:lnTo>
                      <a:pt x="5857" y="1127"/>
                    </a:lnTo>
                    <a:moveTo>
                      <a:pt x="6323" y="1127"/>
                    </a:moveTo>
                    <a:lnTo>
                      <a:pt x="6323" y="1127"/>
                    </a:lnTo>
                    <a:lnTo>
                      <a:pt x="6320" y="1127"/>
                    </a:lnTo>
                    <a:lnTo>
                      <a:pt x="6320" y="1129"/>
                    </a:lnTo>
                    <a:lnTo>
                      <a:pt x="6320" y="1359"/>
                    </a:lnTo>
                    <a:lnTo>
                      <a:pt x="6323" y="1359"/>
                    </a:lnTo>
                    <a:lnTo>
                      <a:pt x="6323" y="1127"/>
                    </a:lnTo>
                    <a:moveTo>
                      <a:pt x="1447" y="1125"/>
                    </a:moveTo>
                    <a:lnTo>
                      <a:pt x="1445" y="1125"/>
                    </a:lnTo>
                    <a:lnTo>
                      <a:pt x="1445" y="1125"/>
                    </a:lnTo>
                    <a:lnTo>
                      <a:pt x="1445" y="1127"/>
                    </a:lnTo>
                    <a:lnTo>
                      <a:pt x="1445" y="1196"/>
                    </a:lnTo>
                    <a:lnTo>
                      <a:pt x="1447" y="1196"/>
                    </a:lnTo>
                    <a:lnTo>
                      <a:pt x="1447" y="1125"/>
                    </a:lnTo>
                    <a:moveTo>
                      <a:pt x="1464" y="1084"/>
                    </a:moveTo>
                    <a:lnTo>
                      <a:pt x="1461" y="1084"/>
                    </a:lnTo>
                    <a:lnTo>
                      <a:pt x="1461" y="1084"/>
                    </a:lnTo>
                    <a:lnTo>
                      <a:pt x="1461" y="1122"/>
                    </a:lnTo>
                    <a:lnTo>
                      <a:pt x="1464" y="1122"/>
                    </a:lnTo>
                    <a:lnTo>
                      <a:pt x="1464" y="1084"/>
                    </a:lnTo>
                    <a:moveTo>
                      <a:pt x="2861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236"/>
                    </a:lnTo>
                    <a:lnTo>
                      <a:pt x="2861" y="1236"/>
                    </a:lnTo>
                    <a:lnTo>
                      <a:pt x="2861" y="1063"/>
                    </a:lnTo>
                    <a:moveTo>
                      <a:pt x="5933" y="1042"/>
                    </a:moveTo>
                    <a:lnTo>
                      <a:pt x="5930" y="1042"/>
                    </a:lnTo>
                    <a:lnTo>
                      <a:pt x="5930" y="1042"/>
                    </a:lnTo>
                    <a:lnTo>
                      <a:pt x="5930" y="1044"/>
                    </a:lnTo>
                    <a:lnTo>
                      <a:pt x="5930" y="1125"/>
                    </a:lnTo>
                    <a:lnTo>
                      <a:pt x="5933" y="1125"/>
                    </a:lnTo>
                    <a:lnTo>
                      <a:pt x="5933" y="1042"/>
                    </a:lnTo>
                    <a:moveTo>
                      <a:pt x="2878" y="1011"/>
                    </a:moveTo>
                    <a:lnTo>
                      <a:pt x="2875" y="1013"/>
                    </a:lnTo>
                    <a:lnTo>
                      <a:pt x="2875" y="1013"/>
                    </a:lnTo>
                    <a:lnTo>
                      <a:pt x="2875" y="1058"/>
                    </a:lnTo>
                    <a:lnTo>
                      <a:pt x="2878" y="1058"/>
                    </a:lnTo>
                    <a:lnTo>
                      <a:pt x="2878" y="1011"/>
                    </a:lnTo>
                    <a:moveTo>
                      <a:pt x="3772" y="992"/>
                    </a:moveTo>
                    <a:lnTo>
                      <a:pt x="3769" y="992"/>
                    </a:lnTo>
                    <a:lnTo>
                      <a:pt x="3769" y="994"/>
                    </a:lnTo>
                    <a:lnTo>
                      <a:pt x="3769" y="1219"/>
                    </a:lnTo>
                    <a:lnTo>
                      <a:pt x="3772" y="1219"/>
                    </a:lnTo>
                    <a:lnTo>
                      <a:pt x="3772" y="992"/>
                    </a:lnTo>
                    <a:moveTo>
                      <a:pt x="5949" y="990"/>
                    </a:moveTo>
                    <a:lnTo>
                      <a:pt x="5947" y="990"/>
                    </a:lnTo>
                    <a:lnTo>
                      <a:pt x="5947" y="992"/>
                    </a:lnTo>
                    <a:lnTo>
                      <a:pt x="5947" y="1037"/>
                    </a:lnTo>
                    <a:lnTo>
                      <a:pt x="5949" y="1037"/>
                    </a:lnTo>
                    <a:lnTo>
                      <a:pt x="5949" y="990"/>
                    </a:lnTo>
                    <a:moveTo>
                      <a:pt x="6342" y="935"/>
                    </a:moveTo>
                    <a:lnTo>
                      <a:pt x="6339" y="935"/>
                    </a:lnTo>
                    <a:lnTo>
                      <a:pt x="6339" y="935"/>
                    </a:lnTo>
                    <a:lnTo>
                      <a:pt x="6339" y="938"/>
                    </a:lnTo>
                    <a:lnTo>
                      <a:pt x="6339" y="1125"/>
                    </a:lnTo>
                    <a:lnTo>
                      <a:pt x="6342" y="1125"/>
                    </a:lnTo>
                    <a:lnTo>
                      <a:pt x="6342" y="935"/>
                    </a:lnTo>
                    <a:moveTo>
                      <a:pt x="3847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0"/>
                    </a:lnTo>
                    <a:lnTo>
                      <a:pt x="3847" y="990"/>
                    </a:lnTo>
                    <a:lnTo>
                      <a:pt x="3847" y="928"/>
                    </a:lnTo>
                    <a:moveTo>
                      <a:pt x="6384" y="895"/>
                    </a:moveTo>
                    <a:lnTo>
                      <a:pt x="6384" y="895"/>
                    </a:lnTo>
                    <a:lnTo>
                      <a:pt x="6384" y="895"/>
                    </a:lnTo>
                    <a:lnTo>
                      <a:pt x="6384" y="897"/>
                    </a:lnTo>
                    <a:lnTo>
                      <a:pt x="6375" y="930"/>
                    </a:lnTo>
                    <a:lnTo>
                      <a:pt x="6377" y="930"/>
                    </a:lnTo>
                    <a:lnTo>
                      <a:pt x="6384" y="895"/>
                    </a:lnTo>
                    <a:moveTo>
                      <a:pt x="6391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1"/>
                    </a:lnTo>
                    <a:lnTo>
                      <a:pt x="6389" y="890"/>
                    </a:lnTo>
                    <a:lnTo>
                      <a:pt x="6391" y="890"/>
                    </a:lnTo>
                    <a:lnTo>
                      <a:pt x="6391" y="878"/>
                    </a:lnTo>
                    <a:moveTo>
                      <a:pt x="6398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4"/>
                    </a:lnTo>
                    <a:lnTo>
                      <a:pt x="6398" y="874"/>
                    </a:lnTo>
                    <a:lnTo>
                      <a:pt x="6398" y="850"/>
                    </a:lnTo>
                    <a:moveTo>
                      <a:pt x="806" y="826"/>
                    </a:moveTo>
                    <a:lnTo>
                      <a:pt x="804" y="826"/>
                    </a:lnTo>
                    <a:lnTo>
                      <a:pt x="804" y="829"/>
                    </a:lnTo>
                    <a:lnTo>
                      <a:pt x="804" y="1065"/>
                    </a:lnTo>
                    <a:lnTo>
                      <a:pt x="806" y="1065"/>
                    </a:lnTo>
                    <a:lnTo>
                      <a:pt x="806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100" y="762"/>
                    </a:lnTo>
                    <a:lnTo>
                      <a:pt x="3100" y="765"/>
                    </a:lnTo>
                    <a:lnTo>
                      <a:pt x="3100" y="975"/>
                    </a:lnTo>
                    <a:lnTo>
                      <a:pt x="3100" y="975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7" y="753"/>
                    </a:lnTo>
                    <a:lnTo>
                      <a:pt x="1007" y="755"/>
                    </a:lnTo>
                    <a:lnTo>
                      <a:pt x="1007" y="824"/>
                    </a:lnTo>
                    <a:lnTo>
                      <a:pt x="1010" y="824"/>
                    </a:lnTo>
                    <a:lnTo>
                      <a:pt x="1010" y="753"/>
                    </a:lnTo>
                    <a:moveTo>
                      <a:pt x="5133" y="732"/>
                    </a:moveTo>
                    <a:lnTo>
                      <a:pt x="5131" y="732"/>
                    </a:lnTo>
                    <a:lnTo>
                      <a:pt x="5131" y="734"/>
                    </a:lnTo>
                    <a:lnTo>
                      <a:pt x="5131" y="968"/>
                    </a:lnTo>
                    <a:lnTo>
                      <a:pt x="5133" y="968"/>
                    </a:lnTo>
                    <a:lnTo>
                      <a:pt x="5133" y="732"/>
                    </a:lnTo>
                    <a:moveTo>
                      <a:pt x="3140" y="656"/>
                    </a:moveTo>
                    <a:lnTo>
                      <a:pt x="3138" y="656"/>
                    </a:lnTo>
                    <a:lnTo>
                      <a:pt x="3138" y="658"/>
                    </a:lnTo>
                    <a:lnTo>
                      <a:pt x="3138" y="758"/>
                    </a:lnTo>
                    <a:lnTo>
                      <a:pt x="3140" y="758"/>
                    </a:lnTo>
                    <a:lnTo>
                      <a:pt x="3140" y="656"/>
                    </a:lnTo>
                    <a:moveTo>
                      <a:pt x="97" y="616"/>
                    </a:moveTo>
                    <a:lnTo>
                      <a:pt x="95" y="616"/>
                    </a:lnTo>
                    <a:lnTo>
                      <a:pt x="95" y="618"/>
                    </a:lnTo>
                    <a:lnTo>
                      <a:pt x="95" y="1449"/>
                    </a:lnTo>
                    <a:lnTo>
                      <a:pt x="97" y="1449"/>
                    </a:lnTo>
                    <a:lnTo>
                      <a:pt x="97" y="616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1"/>
                    </a:lnTo>
                    <a:lnTo>
                      <a:pt x="5252" y="727"/>
                    </a:lnTo>
                    <a:lnTo>
                      <a:pt x="5254" y="727"/>
                    </a:lnTo>
                    <a:lnTo>
                      <a:pt x="5254" y="608"/>
                    </a:lnTo>
                    <a:moveTo>
                      <a:pt x="3284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653"/>
                    </a:lnTo>
                    <a:lnTo>
                      <a:pt x="3284" y="653"/>
                    </a:lnTo>
                    <a:lnTo>
                      <a:pt x="3284" y="582"/>
                    </a:lnTo>
                    <a:moveTo>
                      <a:pt x="303" y="547"/>
                    </a:moveTo>
                    <a:lnTo>
                      <a:pt x="300" y="547"/>
                    </a:lnTo>
                    <a:lnTo>
                      <a:pt x="300" y="549"/>
                    </a:lnTo>
                    <a:lnTo>
                      <a:pt x="300" y="613"/>
                    </a:lnTo>
                    <a:lnTo>
                      <a:pt x="303" y="613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5" y="509"/>
                    </a:lnTo>
                    <a:lnTo>
                      <a:pt x="7025" y="511"/>
                    </a:lnTo>
                    <a:lnTo>
                      <a:pt x="7025" y="1688"/>
                    </a:lnTo>
                    <a:lnTo>
                      <a:pt x="7025" y="1688"/>
                    </a:lnTo>
                    <a:lnTo>
                      <a:pt x="7025" y="509"/>
                    </a:lnTo>
                    <a:moveTo>
                      <a:pt x="4195" y="502"/>
                    </a:moveTo>
                    <a:lnTo>
                      <a:pt x="4195" y="502"/>
                    </a:lnTo>
                    <a:lnTo>
                      <a:pt x="4192" y="504"/>
                    </a:lnTo>
                    <a:lnTo>
                      <a:pt x="4124" y="599"/>
                    </a:lnTo>
                    <a:lnTo>
                      <a:pt x="4124" y="599"/>
                    </a:lnTo>
                    <a:lnTo>
                      <a:pt x="4195" y="502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78"/>
                    </a:lnTo>
                    <a:lnTo>
                      <a:pt x="3301" y="578"/>
                    </a:lnTo>
                    <a:lnTo>
                      <a:pt x="3301" y="502"/>
                    </a:lnTo>
                    <a:moveTo>
                      <a:pt x="4036" y="455"/>
                    </a:moveTo>
                    <a:lnTo>
                      <a:pt x="4036" y="455"/>
                    </a:lnTo>
                    <a:lnTo>
                      <a:pt x="4036" y="455"/>
                    </a:lnTo>
                    <a:lnTo>
                      <a:pt x="4036" y="457"/>
                    </a:lnTo>
                    <a:lnTo>
                      <a:pt x="4036" y="490"/>
                    </a:lnTo>
                    <a:lnTo>
                      <a:pt x="3954" y="644"/>
                    </a:lnTo>
                    <a:lnTo>
                      <a:pt x="3954" y="923"/>
                    </a:lnTo>
                    <a:lnTo>
                      <a:pt x="3956" y="923"/>
                    </a:lnTo>
                    <a:lnTo>
                      <a:pt x="3956" y="642"/>
                    </a:lnTo>
                    <a:lnTo>
                      <a:pt x="4036" y="488"/>
                    </a:lnTo>
                    <a:lnTo>
                      <a:pt x="4036" y="455"/>
                    </a:lnTo>
                    <a:moveTo>
                      <a:pt x="3329" y="433"/>
                    </a:moveTo>
                    <a:lnTo>
                      <a:pt x="3327" y="433"/>
                    </a:lnTo>
                    <a:lnTo>
                      <a:pt x="3327" y="436"/>
                    </a:lnTo>
                    <a:lnTo>
                      <a:pt x="3327" y="497"/>
                    </a:lnTo>
                    <a:lnTo>
                      <a:pt x="3329" y="497"/>
                    </a:lnTo>
                    <a:lnTo>
                      <a:pt x="3329" y="433"/>
                    </a:lnTo>
                    <a:moveTo>
                      <a:pt x="4043" y="391"/>
                    </a:moveTo>
                    <a:lnTo>
                      <a:pt x="4041" y="391"/>
                    </a:lnTo>
                    <a:lnTo>
                      <a:pt x="4041" y="391"/>
                    </a:lnTo>
                    <a:lnTo>
                      <a:pt x="4041" y="393"/>
                    </a:lnTo>
                    <a:lnTo>
                      <a:pt x="4041" y="450"/>
                    </a:lnTo>
                    <a:lnTo>
                      <a:pt x="4043" y="450"/>
                    </a:lnTo>
                    <a:lnTo>
                      <a:pt x="4043" y="391"/>
                    </a:lnTo>
                    <a:moveTo>
                      <a:pt x="1811" y="367"/>
                    </a:moveTo>
                    <a:lnTo>
                      <a:pt x="1809" y="367"/>
                    </a:lnTo>
                    <a:lnTo>
                      <a:pt x="1809" y="369"/>
                    </a:lnTo>
                    <a:lnTo>
                      <a:pt x="1809" y="1127"/>
                    </a:lnTo>
                    <a:lnTo>
                      <a:pt x="1811" y="1127"/>
                    </a:lnTo>
                    <a:lnTo>
                      <a:pt x="1811" y="367"/>
                    </a:lnTo>
                    <a:moveTo>
                      <a:pt x="1939" y="334"/>
                    </a:moveTo>
                    <a:lnTo>
                      <a:pt x="1937" y="334"/>
                    </a:lnTo>
                    <a:lnTo>
                      <a:pt x="1937" y="336"/>
                    </a:lnTo>
                    <a:lnTo>
                      <a:pt x="1937" y="365"/>
                    </a:lnTo>
                    <a:lnTo>
                      <a:pt x="1939" y="365"/>
                    </a:lnTo>
                    <a:lnTo>
                      <a:pt x="1939" y="334"/>
                    </a:lnTo>
                    <a:moveTo>
                      <a:pt x="4051" y="327"/>
                    </a:moveTo>
                    <a:lnTo>
                      <a:pt x="4048" y="327"/>
                    </a:lnTo>
                    <a:lnTo>
                      <a:pt x="4048" y="329"/>
                    </a:lnTo>
                    <a:lnTo>
                      <a:pt x="4048" y="386"/>
                    </a:lnTo>
                    <a:lnTo>
                      <a:pt x="4051" y="386"/>
                    </a:lnTo>
                    <a:lnTo>
                      <a:pt x="4051" y="327"/>
                    </a:lnTo>
                    <a:moveTo>
                      <a:pt x="2029" y="294"/>
                    </a:moveTo>
                    <a:lnTo>
                      <a:pt x="2026" y="294"/>
                    </a:lnTo>
                    <a:lnTo>
                      <a:pt x="2026" y="296"/>
                    </a:lnTo>
                    <a:lnTo>
                      <a:pt x="2026" y="329"/>
                    </a:lnTo>
                    <a:lnTo>
                      <a:pt x="2029" y="329"/>
                    </a:lnTo>
                    <a:lnTo>
                      <a:pt x="2029" y="294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3" y="234"/>
                    </a:lnTo>
                    <a:lnTo>
                      <a:pt x="4637" y="471"/>
                    </a:lnTo>
                    <a:lnTo>
                      <a:pt x="4639" y="469"/>
                    </a:lnTo>
                    <a:lnTo>
                      <a:pt x="4703" y="232"/>
                    </a:lnTo>
                    <a:moveTo>
                      <a:pt x="4805" y="173"/>
                    </a:move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173"/>
                    </a:lnTo>
                    <a:lnTo>
                      <a:pt x="4802" y="227"/>
                    </a:lnTo>
                    <a:lnTo>
                      <a:pt x="4805" y="227"/>
                    </a:lnTo>
                    <a:lnTo>
                      <a:pt x="4805" y="173"/>
                    </a:lnTo>
                    <a:moveTo>
                      <a:pt x="4854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68"/>
                    </a:lnTo>
                    <a:lnTo>
                      <a:pt x="4854" y="168"/>
                    </a:lnTo>
                    <a:lnTo>
                      <a:pt x="4854" y="0"/>
                    </a:lnTo>
                    <a:moveTo>
                      <a:pt x="4911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68"/>
                    </a:lnTo>
                    <a:lnTo>
                      <a:pt x="4911" y="168"/>
                    </a:lnTo>
                    <a:lnTo>
                      <a:pt x="491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59" name="Freeform 142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close/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close/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close/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close/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close/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close/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close/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close/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close/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close/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close/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close/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close/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close/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close/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close/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close/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close/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close/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close/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close/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close/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close/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close/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close/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close/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close/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close/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close/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close/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close/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close/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close/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close/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close/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close/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close/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close/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close/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close/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close/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close/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  <a:close/>
                  </a:path>
                </a:pathLst>
              </a:custGeom>
              <a:solidFill>
                <a:srgbClr val="B9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0" name="Freeform 143"/>
              <p:cNvSpPr>
                <a:spLocks noEditPoints="1"/>
              </p:cNvSpPr>
              <p:nvPr/>
            </p:nvSpPr>
            <p:spPr bwMode="auto">
              <a:xfrm>
                <a:off x="44" y="1663"/>
                <a:ext cx="7025" cy="1690"/>
              </a:xfrm>
              <a:custGeom>
                <a:avLst/>
                <a:gdLst>
                  <a:gd name="T0" fmla="*/ 3 w 7025"/>
                  <a:gd name="T1" fmla="*/ 1531 h 1690"/>
                  <a:gd name="T2" fmla="*/ 5663 w 7025"/>
                  <a:gd name="T3" fmla="*/ 1446 h 1690"/>
                  <a:gd name="T4" fmla="*/ 3710 w 7025"/>
                  <a:gd name="T5" fmla="*/ 1221 h 1690"/>
                  <a:gd name="T6" fmla="*/ 5831 w 7025"/>
                  <a:gd name="T7" fmla="*/ 1209 h 1690"/>
                  <a:gd name="T8" fmla="*/ 5831 w 7025"/>
                  <a:gd name="T9" fmla="*/ 1323 h 1690"/>
                  <a:gd name="T10" fmla="*/ 1665 w 7025"/>
                  <a:gd name="T11" fmla="*/ 1157 h 1690"/>
                  <a:gd name="T12" fmla="*/ 1686 w 7025"/>
                  <a:gd name="T13" fmla="*/ 1131 h 1690"/>
                  <a:gd name="T14" fmla="*/ 5857 w 7025"/>
                  <a:gd name="T15" fmla="*/ 1129 h 1690"/>
                  <a:gd name="T16" fmla="*/ 5857 w 7025"/>
                  <a:gd name="T17" fmla="*/ 1207 h 1690"/>
                  <a:gd name="T18" fmla="*/ 6321 w 7025"/>
                  <a:gd name="T19" fmla="*/ 1129 h 1690"/>
                  <a:gd name="T20" fmla="*/ 1445 w 7025"/>
                  <a:gd name="T21" fmla="*/ 1124 h 1690"/>
                  <a:gd name="T22" fmla="*/ 1448 w 7025"/>
                  <a:gd name="T23" fmla="*/ 1124 h 1690"/>
                  <a:gd name="T24" fmla="*/ 1464 w 7025"/>
                  <a:gd name="T25" fmla="*/ 1124 h 1690"/>
                  <a:gd name="T26" fmla="*/ 2859 w 7025"/>
                  <a:gd name="T27" fmla="*/ 1065 h 1690"/>
                  <a:gd name="T28" fmla="*/ 5931 w 7025"/>
                  <a:gd name="T29" fmla="*/ 1041 h 1690"/>
                  <a:gd name="T30" fmla="*/ 5931 w 7025"/>
                  <a:gd name="T31" fmla="*/ 1041 h 1690"/>
                  <a:gd name="T32" fmla="*/ 2878 w 7025"/>
                  <a:gd name="T33" fmla="*/ 1060 h 1690"/>
                  <a:gd name="T34" fmla="*/ 3770 w 7025"/>
                  <a:gd name="T35" fmla="*/ 1221 h 1690"/>
                  <a:gd name="T36" fmla="*/ 5947 w 7025"/>
                  <a:gd name="T37" fmla="*/ 992 h 1690"/>
                  <a:gd name="T38" fmla="*/ 6340 w 7025"/>
                  <a:gd name="T39" fmla="*/ 935 h 1690"/>
                  <a:gd name="T40" fmla="*/ 6340 w 7025"/>
                  <a:gd name="T41" fmla="*/ 935 h 1690"/>
                  <a:gd name="T42" fmla="*/ 3845 w 7025"/>
                  <a:gd name="T43" fmla="*/ 992 h 1690"/>
                  <a:gd name="T44" fmla="*/ 6382 w 7025"/>
                  <a:gd name="T45" fmla="*/ 897 h 1690"/>
                  <a:gd name="T46" fmla="*/ 6389 w 7025"/>
                  <a:gd name="T47" fmla="*/ 878 h 1690"/>
                  <a:gd name="T48" fmla="*/ 6389 w 7025"/>
                  <a:gd name="T49" fmla="*/ 878 h 1690"/>
                  <a:gd name="T50" fmla="*/ 6399 w 7025"/>
                  <a:gd name="T51" fmla="*/ 876 h 1690"/>
                  <a:gd name="T52" fmla="*/ 804 w 7025"/>
                  <a:gd name="T53" fmla="*/ 1067 h 1690"/>
                  <a:gd name="T54" fmla="*/ 3098 w 7025"/>
                  <a:gd name="T55" fmla="*/ 762 h 1690"/>
                  <a:gd name="T56" fmla="*/ 1010 w 7025"/>
                  <a:gd name="T57" fmla="*/ 753 h 1690"/>
                  <a:gd name="T58" fmla="*/ 1010 w 7025"/>
                  <a:gd name="T59" fmla="*/ 753 h 1690"/>
                  <a:gd name="T60" fmla="*/ 5131 w 7025"/>
                  <a:gd name="T61" fmla="*/ 970 h 1690"/>
                  <a:gd name="T62" fmla="*/ 3138 w 7025"/>
                  <a:gd name="T63" fmla="*/ 760 h 1690"/>
                  <a:gd name="T64" fmla="*/ 95 w 7025"/>
                  <a:gd name="T65" fmla="*/ 618 h 1690"/>
                  <a:gd name="T66" fmla="*/ 5252 w 7025"/>
                  <a:gd name="T67" fmla="*/ 608 h 1690"/>
                  <a:gd name="T68" fmla="*/ 3282 w 7025"/>
                  <a:gd name="T69" fmla="*/ 582 h 1690"/>
                  <a:gd name="T70" fmla="*/ 3282 w 7025"/>
                  <a:gd name="T71" fmla="*/ 655 h 1690"/>
                  <a:gd name="T72" fmla="*/ 301 w 7025"/>
                  <a:gd name="T73" fmla="*/ 615 h 1690"/>
                  <a:gd name="T74" fmla="*/ 7023 w 7025"/>
                  <a:gd name="T75" fmla="*/ 511 h 1690"/>
                  <a:gd name="T76" fmla="*/ 4193 w 7025"/>
                  <a:gd name="T77" fmla="*/ 504 h 1690"/>
                  <a:gd name="T78" fmla="*/ 3301 w 7025"/>
                  <a:gd name="T79" fmla="*/ 502 h 1690"/>
                  <a:gd name="T80" fmla="*/ 3301 w 7025"/>
                  <a:gd name="T81" fmla="*/ 580 h 1690"/>
                  <a:gd name="T82" fmla="*/ 4034 w 7025"/>
                  <a:gd name="T83" fmla="*/ 457 h 1690"/>
                  <a:gd name="T84" fmla="*/ 3956 w 7025"/>
                  <a:gd name="T85" fmla="*/ 641 h 1690"/>
                  <a:gd name="T86" fmla="*/ 3327 w 7025"/>
                  <a:gd name="T87" fmla="*/ 435 h 1690"/>
                  <a:gd name="T88" fmla="*/ 4041 w 7025"/>
                  <a:gd name="T89" fmla="*/ 390 h 1690"/>
                  <a:gd name="T90" fmla="*/ 4044 w 7025"/>
                  <a:gd name="T91" fmla="*/ 390 h 1690"/>
                  <a:gd name="T92" fmla="*/ 1809 w 7025"/>
                  <a:gd name="T93" fmla="*/ 1129 h 1690"/>
                  <a:gd name="T94" fmla="*/ 1937 w 7025"/>
                  <a:gd name="T95" fmla="*/ 367 h 1690"/>
                  <a:gd name="T96" fmla="*/ 4049 w 7025"/>
                  <a:gd name="T97" fmla="*/ 329 h 1690"/>
                  <a:gd name="T98" fmla="*/ 2027 w 7025"/>
                  <a:gd name="T99" fmla="*/ 293 h 1690"/>
                  <a:gd name="T100" fmla="*/ 4703 w 7025"/>
                  <a:gd name="T101" fmla="*/ 232 h 1690"/>
                  <a:gd name="T102" fmla="*/ 4703 w 7025"/>
                  <a:gd name="T103" fmla="*/ 232 h 1690"/>
                  <a:gd name="T104" fmla="*/ 4803 w 7025"/>
                  <a:gd name="T105" fmla="*/ 229 h 1690"/>
                  <a:gd name="T106" fmla="*/ 4852 w 7025"/>
                  <a:gd name="T107" fmla="*/ 2 h 1690"/>
                  <a:gd name="T108" fmla="*/ 4909 w 7025"/>
                  <a:gd name="T109" fmla="*/ 0 h 1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025" h="1690">
                    <a:moveTo>
                      <a:pt x="3" y="1453"/>
                    </a:moveTo>
                    <a:lnTo>
                      <a:pt x="0" y="1453"/>
                    </a:lnTo>
                    <a:lnTo>
                      <a:pt x="0" y="1456"/>
                    </a:lnTo>
                    <a:lnTo>
                      <a:pt x="0" y="1531"/>
                    </a:lnTo>
                    <a:lnTo>
                      <a:pt x="3" y="1531"/>
                    </a:lnTo>
                    <a:lnTo>
                      <a:pt x="3" y="1453"/>
                    </a:lnTo>
                    <a:moveTo>
                      <a:pt x="5666" y="1326"/>
                    </a:moveTo>
                    <a:lnTo>
                      <a:pt x="5663" y="1326"/>
                    </a:lnTo>
                    <a:lnTo>
                      <a:pt x="5663" y="1328"/>
                    </a:lnTo>
                    <a:lnTo>
                      <a:pt x="5663" y="1446"/>
                    </a:lnTo>
                    <a:lnTo>
                      <a:pt x="5666" y="1446"/>
                    </a:lnTo>
                    <a:lnTo>
                      <a:pt x="5666" y="1326"/>
                    </a:lnTo>
                    <a:moveTo>
                      <a:pt x="3710" y="1221"/>
                    </a:moveTo>
                    <a:lnTo>
                      <a:pt x="3710" y="1221"/>
                    </a:lnTo>
                    <a:lnTo>
                      <a:pt x="3710" y="1221"/>
                    </a:lnTo>
                    <a:lnTo>
                      <a:pt x="3710" y="1224"/>
                    </a:lnTo>
                    <a:lnTo>
                      <a:pt x="3710" y="1389"/>
                    </a:lnTo>
                    <a:lnTo>
                      <a:pt x="3710" y="1389"/>
                    </a:lnTo>
                    <a:lnTo>
                      <a:pt x="3710" y="1221"/>
                    </a:lnTo>
                    <a:moveTo>
                      <a:pt x="5831" y="1209"/>
                    </a:moveTo>
                    <a:lnTo>
                      <a:pt x="5831" y="1209"/>
                    </a:lnTo>
                    <a:lnTo>
                      <a:pt x="5829" y="1209"/>
                    </a:lnTo>
                    <a:lnTo>
                      <a:pt x="5829" y="1209"/>
                    </a:lnTo>
                    <a:lnTo>
                      <a:pt x="5829" y="1323"/>
                    </a:lnTo>
                    <a:lnTo>
                      <a:pt x="5831" y="1323"/>
                    </a:lnTo>
                    <a:lnTo>
                      <a:pt x="5831" y="1209"/>
                    </a:lnTo>
                    <a:moveTo>
                      <a:pt x="1665" y="1157"/>
                    </a:move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57"/>
                    </a:lnTo>
                    <a:lnTo>
                      <a:pt x="1665" y="1198"/>
                    </a:lnTo>
                    <a:lnTo>
                      <a:pt x="1665" y="1198"/>
                    </a:lnTo>
                    <a:lnTo>
                      <a:pt x="1665" y="1157"/>
                    </a:lnTo>
                    <a:moveTo>
                      <a:pt x="1689" y="1131"/>
                    </a:moveTo>
                    <a:lnTo>
                      <a:pt x="1686" y="1131"/>
                    </a:lnTo>
                    <a:lnTo>
                      <a:pt x="1686" y="1134"/>
                    </a:lnTo>
                    <a:lnTo>
                      <a:pt x="1686" y="1155"/>
                    </a:lnTo>
                    <a:lnTo>
                      <a:pt x="1689" y="1155"/>
                    </a:lnTo>
                    <a:lnTo>
                      <a:pt x="1689" y="1131"/>
                    </a:lnTo>
                    <a:moveTo>
                      <a:pt x="5857" y="1129"/>
                    </a:move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129"/>
                    </a:lnTo>
                    <a:lnTo>
                      <a:pt x="5855" y="1207"/>
                    </a:lnTo>
                    <a:lnTo>
                      <a:pt x="5857" y="1207"/>
                    </a:lnTo>
                    <a:lnTo>
                      <a:pt x="5857" y="1129"/>
                    </a:lnTo>
                    <a:moveTo>
                      <a:pt x="6323" y="1129"/>
                    </a:move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129"/>
                    </a:lnTo>
                    <a:lnTo>
                      <a:pt x="6321" y="1361"/>
                    </a:lnTo>
                    <a:lnTo>
                      <a:pt x="6323" y="1361"/>
                    </a:lnTo>
                    <a:lnTo>
                      <a:pt x="6323" y="1129"/>
                    </a:lnTo>
                    <a:moveTo>
                      <a:pt x="1448" y="1124"/>
                    </a:moveTo>
                    <a:lnTo>
                      <a:pt x="1445" y="1124"/>
                    </a:lnTo>
                    <a:lnTo>
                      <a:pt x="1445" y="1124"/>
                    </a:lnTo>
                    <a:lnTo>
                      <a:pt x="1445" y="1127"/>
                    </a:lnTo>
                    <a:lnTo>
                      <a:pt x="1445" y="1198"/>
                    </a:lnTo>
                    <a:lnTo>
                      <a:pt x="1448" y="1198"/>
                    </a:lnTo>
                    <a:lnTo>
                      <a:pt x="1448" y="1124"/>
                    </a:lnTo>
                    <a:moveTo>
                      <a:pt x="1464" y="1084"/>
                    </a:moveTo>
                    <a:lnTo>
                      <a:pt x="1462" y="1084"/>
                    </a:lnTo>
                    <a:lnTo>
                      <a:pt x="1462" y="1086"/>
                    </a:lnTo>
                    <a:lnTo>
                      <a:pt x="1462" y="1124"/>
                    </a:lnTo>
                    <a:lnTo>
                      <a:pt x="1464" y="1124"/>
                    </a:lnTo>
                    <a:lnTo>
                      <a:pt x="1464" y="1084"/>
                    </a:lnTo>
                    <a:moveTo>
                      <a:pt x="2862" y="1063"/>
                    </a:moveTo>
                    <a:lnTo>
                      <a:pt x="2859" y="1063"/>
                    </a:lnTo>
                    <a:lnTo>
                      <a:pt x="2859" y="1063"/>
                    </a:lnTo>
                    <a:lnTo>
                      <a:pt x="2859" y="1065"/>
                    </a:lnTo>
                    <a:lnTo>
                      <a:pt x="2859" y="1238"/>
                    </a:lnTo>
                    <a:lnTo>
                      <a:pt x="2862" y="1238"/>
                    </a:lnTo>
                    <a:lnTo>
                      <a:pt x="2862" y="1063"/>
                    </a:lnTo>
                    <a:moveTo>
                      <a:pt x="5931" y="1041"/>
                    </a:moveTo>
                    <a:lnTo>
                      <a:pt x="5931" y="1041"/>
                    </a:lnTo>
                    <a:lnTo>
                      <a:pt x="5931" y="1041"/>
                    </a:lnTo>
                    <a:lnTo>
                      <a:pt x="5931" y="1044"/>
                    </a:lnTo>
                    <a:lnTo>
                      <a:pt x="5931" y="1127"/>
                    </a:lnTo>
                    <a:lnTo>
                      <a:pt x="5931" y="1127"/>
                    </a:lnTo>
                    <a:lnTo>
                      <a:pt x="5931" y="1041"/>
                    </a:lnTo>
                    <a:moveTo>
                      <a:pt x="2878" y="1011"/>
                    </a:moveTo>
                    <a:lnTo>
                      <a:pt x="2876" y="1013"/>
                    </a:lnTo>
                    <a:lnTo>
                      <a:pt x="2876" y="1013"/>
                    </a:lnTo>
                    <a:lnTo>
                      <a:pt x="2876" y="1060"/>
                    </a:lnTo>
                    <a:lnTo>
                      <a:pt x="2878" y="1060"/>
                    </a:lnTo>
                    <a:lnTo>
                      <a:pt x="2878" y="1011"/>
                    </a:lnTo>
                    <a:moveTo>
                      <a:pt x="3772" y="994"/>
                    </a:moveTo>
                    <a:lnTo>
                      <a:pt x="3770" y="994"/>
                    </a:lnTo>
                    <a:lnTo>
                      <a:pt x="3770" y="994"/>
                    </a:lnTo>
                    <a:lnTo>
                      <a:pt x="3770" y="1221"/>
                    </a:lnTo>
                    <a:lnTo>
                      <a:pt x="3772" y="1221"/>
                    </a:lnTo>
                    <a:lnTo>
                      <a:pt x="3772" y="994"/>
                    </a:lnTo>
                    <a:moveTo>
                      <a:pt x="5950" y="989"/>
                    </a:moveTo>
                    <a:lnTo>
                      <a:pt x="5947" y="989"/>
                    </a:lnTo>
                    <a:lnTo>
                      <a:pt x="5947" y="992"/>
                    </a:lnTo>
                    <a:lnTo>
                      <a:pt x="5947" y="1039"/>
                    </a:lnTo>
                    <a:lnTo>
                      <a:pt x="5950" y="1039"/>
                    </a:lnTo>
                    <a:lnTo>
                      <a:pt x="5950" y="989"/>
                    </a:lnTo>
                    <a:moveTo>
                      <a:pt x="6340" y="935"/>
                    </a:moveTo>
                    <a:lnTo>
                      <a:pt x="6340" y="935"/>
                    </a:lnTo>
                    <a:lnTo>
                      <a:pt x="6340" y="935"/>
                    </a:lnTo>
                    <a:lnTo>
                      <a:pt x="6340" y="937"/>
                    </a:lnTo>
                    <a:lnTo>
                      <a:pt x="6340" y="1127"/>
                    </a:lnTo>
                    <a:lnTo>
                      <a:pt x="6340" y="1127"/>
                    </a:lnTo>
                    <a:lnTo>
                      <a:pt x="6340" y="935"/>
                    </a:lnTo>
                    <a:moveTo>
                      <a:pt x="3845" y="928"/>
                    </a:moveTo>
                    <a:lnTo>
                      <a:pt x="3845" y="928"/>
                    </a:lnTo>
                    <a:lnTo>
                      <a:pt x="3845" y="930"/>
                    </a:lnTo>
                    <a:lnTo>
                      <a:pt x="3845" y="992"/>
                    </a:lnTo>
                    <a:lnTo>
                      <a:pt x="3845" y="992"/>
                    </a:lnTo>
                    <a:lnTo>
                      <a:pt x="3845" y="928"/>
                    </a:lnTo>
                    <a:moveTo>
                      <a:pt x="6385" y="895"/>
                    </a:moveTo>
                    <a:lnTo>
                      <a:pt x="6385" y="895"/>
                    </a:lnTo>
                    <a:lnTo>
                      <a:pt x="6385" y="895"/>
                    </a:lnTo>
                    <a:lnTo>
                      <a:pt x="6382" y="897"/>
                    </a:lnTo>
                    <a:lnTo>
                      <a:pt x="6375" y="932"/>
                    </a:lnTo>
                    <a:lnTo>
                      <a:pt x="6378" y="932"/>
                    </a:lnTo>
                    <a:lnTo>
                      <a:pt x="6385" y="895"/>
                    </a:lnTo>
                    <a:moveTo>
                      <a:pt x="6389" y="878"/>
                    </a:moveTo>
                    <a:lnTo>
                      <a:pt x="6389" y="878"/>
                    </a:lnTo>
                    <a:lnTo>
                      <a:pt x="6389" y="878"/>
                    </a:lnTo>
                    <a:lnTo>
                      <a:pt x="6389" y="880"/>
                    </a:lnTo>
                    <a:lnTo>
                      <a:pt x="6389" y="892"/>
                    </a:lnTo>
                    <a:lnTo>
                      <a:pt x="6389" y="892"/>
                    </a:lnTo>
                    <a:lnTo>
                      <a:pt x="6389" y="878"/>
                    </a:lnTo>
                    <a:moveTo>
                      <a:pt x="6399" y="850"/>
                    </a:moveTo>
                    <a:lnTo>
                      <a:pt x="6396" y="850"/>
                    </a:lnTo>
                    <a:lnTo>
                      <a:pt x="6396" y="852"/>
                    </a:lnTo>
                    <a:lnTo>
                      <a:pt x="6396" y="876"/>
                    </a:lnTo>
                    <a:lnTo>
                      <a:pt x="6399" y="876"/>
                    </a:lnTo>
                    <a:lnTo>
                      <a:pt x="6399" y="850"/>
                    </a:lnTo>
                    <a:moveTo>
                      <a:pt x="807" y="826"/>
                    </a:moveTo>
                    <a:lnTo>
                      <a:pt x="804" y="826"/>
                    </a:lnTo>
                    <a:lnTo>
                      <a:pt x="804" y="828"/>
                    </a:lnTo>
                    <a:lnTo>
                      <a:pt x="804" y="1067"/>
                    </a:lnTo>
                    <a:lnTo>
                      <a:pt x="807" y="1067"/>
                    </a:lnTo>
                    <a:lnTo>
                      <a:pt x="807" y="826"/>
                    </a:lnTo>
                    <a:moveTo>
                      <a:pt x="3100" y="762"/>
                    </a:moveTo>
                    <a:lnTo>
                      <a:pt x="3100" y="762"/>
                    </a:lnTo>
                    <a:lnTo>
                      <a:pt x="3098" y="762"/>
                    </a:lnTo>
                    <a:lnTo>
                      <a:pt x="3098" y="764"/>
                    </a:lnTo>
                    <a:lnTo>
                      <a:pt x="3098" y="977"/>
                    </a:lnTo>
                    <a:lnTo>
                      <a:pt x="3100" y="977"/>
                    </a:lnTo>
                    <a:lnTo>
                      <a:pt x="3100" y="762"/>
                    </a:lnTo>
                    <a:moveTo>
                      <a:pt x="1010" y="753"/>
                    </a:moveTo>
                    <a:lnTo>
                      <a:pt x="1008" y="753"/>
                    </a:lnTo>
                    <a:lnTo>
                      <a:pt x="1008" y="755"/>
                    </a:lnTo>
                    <a:lnTo>
                      <a:pt x="1008" y="826"/>
                    </a:lnTo>
                    <a:lnTo>
                      <a:pt x="1010" y="826"/>
                    </a:lnTo>
                    <a:lnTo>
                      <a:pt x="1010" y="753"/>
                    </a:lnTo>
                    <a:moveTo>
                      <a:pt x="5131" y="731"/>
                    </a:moveTo>
                    <a:lnTo>
                      <a:pt x="5131" y="731"/>
                    </a:lnTo>
                    <a:lnTo>
                      <a:pt x="5131" y="734"/>
                    </a:lnTo>
                    <a:lnTo>
                      <a:pt x="5131" y="970"/>
                    </a:lnTo>
                    <a:lnTo>
                      <a:pt x="5131" y="970"/>
                    </a:lnTo>
                    <a:lnTo>
                      <a:pt x="5131" y="731"/>
                    </a:lnTo>
                    <a:moveTo>
                      <a:pt x="3138" y="658"/>
                    </a:moveTo>
                    <a:lnTo>
                      <a:pt x="3138" y="658"/>
                    </a:lnTo>
                    <a:lnTo>
                      <a:pt x="3138" y="658"/>
                    </a:lnTo>
                    <a:lnTo>
                      <a:pt x="3138" y="760"/>
                    </a:lnTo>
                    <a:lnTo>
                      <a:pt x="3138" y="760"/>
                    </a:lnTo>
                    <a:lnTo>
                      <a:pt x="3138" y="658"/>
                    </a:lnTo>
                    <a:moveTo>
                      <a:pt x="97" y="615"/>
                    </a:moveTo>
                    <a:lnTo>
                      <a:pt x="95" y="615"/>
                    </a:lnTo>
                    <a:lnTo>
                      <a:pt x="95" y="618"/>
                    </a:lnTo>
                    <a:lnTo>
                      <a:pt x="95" y="1451"/>
                    </a:lnTo>
                    <a:lnTo>
                      <a:pt x="97" y="1451"/>
                    </a:lnTo>
                    <a:lnTo>
                      <a:pt x="97" y="615"/>
                    </a:lnTo>
                    <a:moveTo>
                      <a:pt x="5254" y="608"/>
                    </a:moveTo>
                    <a:lnTo>
                      <a:pt x="5252" y="608"/>
                    </a:lnTo>
                    <a:lnTo>
                      <a:pt x="5252" y="610"/>
                    </a:lnTo>
                    <a:lnTo>
                      <a:pt x="5252" y="729"/>
                    </a:lnTo>
                    <a:lnTo>
                      <a:pt x="5254" y="729"/>
                    </a:lnTo>
                    <a:lnTo>
                      <a:pt x="5254" y="608"/>
                    </a:lnTo>
                    <a:moveTo>
                      <a:pt x="3282" y="582"/>
                    </a:moveTo>
                    <a:lnTo>
                      <a:pt x="3282" y="582"/>
                    </a:lnTo>
                    <a:lnTo>
                      <a:pt x="3282" y="582"/>
                    </a:lnTo>
                    <a:lnTo>
                      <a:pt x="3282" y="584"/>
                    </a:lnTo>
                    <a:lnTo>
                      <a:pt x="3282" y="655"/>
                    </a:lnTo>
                    <a:lnTo>
                      <a:pt x="3282" y="655"/>
                    </a:lnTo>
                    <a:lnTo>
                      <a:pt x="3282" y="582"/>
                    </a:lnTo>
                    <a:moveTo>
                      <a:pt x="303" y="547"/>
                    </a:moveTo>
                    <a:lnTo>
                      <a:pt x="301" y="547"/>
                    </a:lnTo>
                    <a:lnTo>
                      <a:pt x="301" y="549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547"/>
                    </a:lnTo>
                    <a:moveTo>
                      <a:pt x="7025" y="509"/>
                    </a:moveTo>
                    <a:lnTo>
                      <a:pt x="7023" y="509"/>
                    </a:lnTo>
                    <a:lnTo>
                      <a:pt x="7023" y="511"/>
                    </a:lnTo>
                    <a:lnTo>
                      <a:pt x="7023" y="1690"/>
                    </a:lnTo>
                    <a:lnTo>
                      <a:pt x="7025" y="1690"/>
                    </a:lnTo>
                    <a:lnTo>
                      <a:pt x="7025" y="509"/>
                    </a:lnTo>
                    <a:moveTo>
                      <a:pt x="4195" y="504"/>
                    </a:moveTo>
                    <a:lnTo>
                      <a:pt x="4193" y="504"/>
                    </a:lnTo>
                    <a:lnTo>
                      <a:pt x="4193" y="504"/>
                    </a:lnTo>
                    <a:lnTo>
                      <a:pt x="4122" y="601"/>
                    </a:lnTo>
                    <a:lnTo>
                      <a:pt x="4122" y="601"/>
                    </a:lnTo>
                    <a:lnTo>
                      <a:pt x="4195" y="504"/>
                    </a:lnTo>
                    <a:moveTo>
                      <a:pt x="3301" y="502"/>
                    </a:moveTo>
                    <a:lnTo>
                      <a:pt x="3299" y="502"/>
                    </a:lnTo>
                    <a:lnTo>
                      <a:pt x="3299" y="502"/>
                    </a:lnTo>
                    <a:lnTo>
                      <a:pt x="3299" y="504"/>
                    </a:lnTo>
                    <a:lnTo>
                      <a:pt x="3299" y="580"/>
                    </a:lnTo>
                    <a:lnTo>
                      <a:pt x="3301" y="580"/>
                    </a:lnTo>
                    <a:lnTo>
                      <a:pt x="3301" y="502"/>
                    </a:lnTo>
                    <a:moveTo>
                      <a:pt x="4037" y="454"/>
                    </a:moveTo>
                    <a:lnTo>
                      <a:pt x="4034" y="454"/>
                    </a:lnTo>
                    <a:lnTo>
                      <a:pt x="4034" y="454"/>
                    </a:lnTo>
                    <a:lnTo>
                      <a:pt x="4034" y="457"/>
                    </a:lnTo>
                    <a:lnTo>
                      <a:pt x="4034" y="490"/>
                    </a:lnTo>
                    <a:lnTo>
                      <a:pt x="3954" y="644"/>
                    </a:lnTo>
                    <a:lnTo>
                      <a:pt x="3954" y="925"/>
                    </a:lnTo>
                    <a:lnTo>
                      <a:pt x="3956" y="925"/>
                    </a:lnTo>
                    <a:lnTo>
                      <a:pt x="3956" y="641"/>
                    </a:lnTo>
                    <a:lnTo>
                      <a:pt x="4037" y="490"/>
                    </a:lnTo>
                    <a:lnTo>
                      <a:pt x="4037" y="454"/>
                    </a:lnTo>
                    <a:moveTo>
                      <a:pt x="3330" y="433"/>
                    </a:moveTo>
                    <a:lnTo>
                      <a:pt x="3327" y="433"/>
                    </a:lnTo>
                    <a:lnTo>
                      <a:pt x="3327" y="435"/>
                    </a:lnTo>
                    <a:lnTo>
                      <a:pt x="3327" y="499"/>
                    </a:lnTo>
                    <a:lnTo>
                      <a:pt x="3330" y="499"/>
                    </a:lnTo>
                    <a:lnTo>
                      <a:pt x="3330" y="433"/>
                    </a:lnTo>
                    <a:moveTo>
                      <a:pt x="4044" y="390"/>
                    </a:moveTo>
                    <a:lnTo>
                      <a:pt x="4041" y="390"/>
                    </a:lnTo>
                    <a:lnTo>
                      <a:pt x="4041" y="390"/>
                    </a:lnTo>
                    <a:lnTo>
                      <a:pt x="4041" y="393"/>
                    </a:lnTo>
                    <a:lnTo>
                      <a:pt x="4041" y="452"/>
                    </a:lnTo>
                    <a:lnTo>
                      <a:pt x="4044" y="452"/>
                    </a:lnTo>
                    <a:lnTo>
                      <a:pt x="4044" y="390"/>
                    </a:lnTo>
                    <a:moveTo>
                      <a:pt x="1809" y="369"/>
                    </a:moveTo>
                    <a:lnTo>
                      <a:pt x="1809" y="369"/>
                    </a:lnTo>
                    <a:lnTo>
                      <a:pt x="1809" y="369"/>
                    </a:lnTo>
                    <a:lnTo>
                      <a:pt x="1809" y="1129"/>
                    </a:lnTo>
                    <a:lnTo>
                      <a:pt x="1809" y="1129"/>
                    </a:lnTo>
                    <a:lnTo>
                      <a:pt x="1809" y="369"/>
                    </a:lnTo>
                    <a:moveTo>
                      <a:pt x="1939" y="333"/>
                    </a:moveTo>
                    <a:lnTo>
                      <a:pt x="1937" y="333"/>
                    </a:lnTo>
                    <a:lnTo>
                      <a:pt x="1937" y="336"/>
                    </a:lnTo>
                    <a:lnTo>
                      <a:pt x="1937" y="367"/>
                    </a:lnTo>
                    <a:lnTo>
                      <a:pt x="1939" y="367"/>
                    </a:lnTo>
                    <a:lnTo>
                      <a:pt x="1939" y="333"/>
                    </a:lnTo>
                    <a:moveTo>
                      <a:pt x="4051" y="326"/>
                    </a:moveTo>
                    <a:lnTo>
                      <a:pt x="4049" y="326"/>
                    </a:lnTo>
                    <a:lnTo>
                      <a:pt x="4049" y="329"/>
                    </a:lnTo>
                    <a:lnTo>
                      <a:pt x="4049" y="388"/>
                    </a:lnTo>
                    <a:lnTo>
                      <a:pt x="4051" y="388"/>
                    </a:lnTo>
                    <a:lnTo>
                      <a:pt x="4051" y="326"/>
                    </a:lnTo>
                    <a:moveTo>
                      <a:pt x="2029" y="293"/>
                    </a:moveTo>
                    <a:lnTo>
                      <a:pt x="2027" y="293"/>
                    </a:lnTo>
                    <a:lnTo>
                      <a:pt x="2027" y="296"/>
                    </a:lnTo>
                    <a:lnTo>
                      <a:pt x="2027" y="331"/>
                    </a:lnTo>
                    <a:lnTo>
                      <a:pt x="2029" y="331"/>
                    </a:lnTo>
                    <a:lnTo>
                      <a:pt x="2029" y="293"/>
                    </a:lnTo>
                    <a:moveTo>
                      <a:pt x="4703" y="232"/>
                    </a:moveTo>
                    <a:lnTo>
                      <a:pt x="4703" y="232"/>
                    </a:lnTo>
                    <a:lnTo>
                      <a:pt x="4701" y="234"/>
                    </a:lnTo>
                    <a:lnTo>
                      <a:pt x="4637" y="471"/>
                    </a:lnTo>
                    <a:lnTo>
                      <a:pt x="4640" y="471"/>
                    </a:lnTo>
                    <a:lnTo>
                      <a:pt x="4703" y="232"/>
                    </a:lnTo>
                    <a:moveTo>
                      <a:pt x="4805" y="172"/>
                    </a:moveTo>
                    <a:lnTo>
                      <a:pt x="4803" y="172"/>
                    </a:lnTo>
                    <a:lnTo>
                      <a:pt x="4803" y="172"/>
                    </a:lnTo>
                    <a:lnTo>
                      <a:pt x="4803" y="175"/>
                    </a:lnTo>
                    <a:lnTo>
                      <a:pt x="4803" y="229"/>
                    </a:lnTo>
                    <a:lnTo>
                      <a:pt x="4805" y="229"/>
                    </a:lnTo>
                    <a:lnTo>
                      <a:pt x="4805" y="172"/>
                    </a:lnTo>
                    <a:moveTo>
                      <a:pt x="4852" y="0"/>
                    </a:moveTo>
                    <a:lnTo>
                      <a:pt x="4852" y="0"/>
                    </a:lnTo>
                    <a:lnTo>
                      <a:pt x="4852" y="2"/>
                    </a:lnTo>
                    <a:lnTo>
                      <a:pt x="4852" y="170"/>
                    </a:lnTo>
                    <a:lnTo>
                      <a:pt x="4852" y="170"/>
                    </a:lnTo>
                    <a:lnTo>
                      <a:pt x="4852" y="0"/>
                    </a:lnTo>
                    <a:moveTo>
                      <a:pt x="4912" y="0"/>
                    </a:moveTo>
                    <a:lnTo>
                      <a:pt x="4909" y="0"/>
                    </a:lnTo>
                    <a:lnTo>
                      <a:pt x="4909" y="2"/>
                    </a:lnTo>
                    <a:lnTo>
                      <a:pt x="4909" y="170"/>
                    </a:lnTo>
                    <a:lnTo>
                      <a:pt x="4912" y="170"/>
                    </a:lnTo>
                    <a:lnTo>
                      <a:pt x="4912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1" name="Freeform 144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1130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2" name="Freeform 145"/>
              <p:cNvSpPr>
                <a:spLocks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4921 w 7567"/>
                  <a:gd name="T1" fmla="*/ 173 h 2676"/>
                  <a:gd name="T2" fmla="*/ 4864 w 7567"/>
                  <a:gd name="T3" fmla="*/ 173 h 2676"/>
                  <a:gd name="T4" fmla="*/ 4826 w 7567"/>
                  <a:gd name="T5" fmla="*/ 232 h 2676"/>
                  <a:gd name="T6" fmla="*/ 4682 w 7567"/>
                  <a:gd name="T7" fmla="*/ 476 h 2676"/>
                  <a:gd name="T8" fmla="*/ 4642 w 7567"/>
                  <a:gd name="T9" fmla="*/ 502 h 2676"/>
                  <a:gd name="T10" fmla="*/ 4602 w 7567"/>
                  <a:gd name="T11" fmla="*/ 528 h 2676"/>
                  <a:gd name="T12" fmla="*/ 4166 w 7567"/>
                  <a:gd name="T13" fmla="*/ 597 h 2676"/>
                  <a:gd name="T14" fmla="*/ 4162 w 7567"/>
                  <a:gd name="T15" fmla="*/ 585 h 2676"/>
                  <a:gd name="T16" fmla="*/ 4003 w 7567"/>
                  <a:gd name="T17" fmla="*/ 644 h 2676"/>
                  <a:gd name="T18" fmla="*/ 3961 w 7567"/>
                  <a:gd name="T19" fmla="*/ 928 h 2676"/>
                  <a:gd name="T20" fmla="*/ 3916 w 7567"/>
                  <a:gd name="T21" fmla="*/ 928 h 2676"/>
                  <a:gd name="T22" fmla="*/ 3861 w 7567"/>
                  <a:gd name="T23" fmla="*/ 995 h 2676"/>
                  <a:gd name="T24" fmla="*/ 3812 w 7567"/>
                  <a:gd name="T25" fmla="*/ 1224 h 2676"/>
                  <a:gd name="T26" fmla="*/ 3767 w 7567"/>
                  <a:gd name="T27" fmla="*/ 1224 h 2676"/>
                  <a:gd name="T28" fmla="*/ 3729 w 7567"/>
                  <a:gd name="T29" fmla="*/ 1392 h 2676"/>
                  <a:gd name="T30" fmla="*/ 3689 w 7567"/>
                  <a:gd name="T31" fmla="*/ 1317 h 2676"/>
                  <a:gd name="T32" fmla="*/ 3493 w 7567"/>
                  <a:gd name="T33" fmla="*/ 436 h 2676"/>
                  <a:gd name="T34" fmla="*/ 3341 w 7567"/>
                  <a:gd name="T35" fmla="*/ 583 h 2676"/>
                  <a:gd name="T36" fmla="*/ 3303 w 7567"/>
                  <a:gd name="T37" fmla="*/ 658 h 2676"/>
                  <a:gd name="T38" fmla="*/ 3258 w 7567"/>
                  <a:gd name="T39" fmla="*/ 658 h 2676"/>
                  <a:gd name="T40" fmla="*/ 3152 w 7567"/>
                  <a:gd name="T41" fmla="*/ 763 h 2676"/>
                  <a:gd name="T42" fmla="*/ 3112 w 7567"/>
                  <a:gd name="T43" fmla="*/ 980 h 2676"/>
                  <a:gd name="T44" fmla="*/ 3067 w 7567"/>
                  <a:gd name="T45" fmla="*/ 980 h 2676"/>
                  <a:gd name="T46" fmla="*/ 2909 w 7567"/>
                  <a:gd name="T47" fmla="*/ 1241 h 2676"/>
                  <a:gd name="T48" fmla="*/ 2864 w 7567"/>
                  <a:gd name="T49" fmla="*/ 1241 h 2676"/>
                  <a:gd name="T50" fmla="*/ 2819 w 7567"/>
                  <a:gd name="T51" fmla="*/ 1241 h 2676"/>
                  <a:gd name="T52" fmla="*/ 2062 w 7567"/>
                  <a:gd name="T53" fmla="*/ 334 h 2676"/>
                  <a:gd name="T54" fmla="*/ 1972 w 7567"/>
                  <a:gd name="T55" fmla="*/ 370 h 2676"/>
                  <a:gd name="T56" fmla="*/ 1837 w 7567"/>
                  <a:gd name="T57" fmla="*/ 1132 h 2676"/>
                  <a:gd name="T58" fmla="*/ 1792 w 7567"/>
                  <a:gd name="T59" fmla="*/ 1132 h 2676"/>
                  <a:gd name="T60" fmla="*/ 1726 w 7567"/>
                  <a:gd name="T61" fmla="*/ 1158 h 2676"/>
                  <a:gd name="T62" fmla="*/ 1686 w 7567"/>
                  <a:gd name="T63" fmla="*/ 1201 h 2676"/>
                  <a:gd name="T64" fmla="*/ 1499 w 7567"/>
                  <a:gd name="T65" fmla="*/ 1127 h 2676"/>
                  <a:gd name="T66" fmla="*/ 1459 w 7567"/>
                  <a:gd name="T67" fmla="*/ 1201 h 2676"/>
                  <a:gd name="T68" fmla="*/ 1041 w 7567"/>
                  <a:gd name="T69" fmla="*/ 829 h 2676"/>
                  <a:gd name="T70" fmla="*/ 996 w 7567"/>
                  <a:gd name="T71" fmla="*/ 829 h 2676"/>
                  <a:gd name="T72" fmla="*/ 825 w 7567"/>
                  <a:gd name="T73" fmla="*/ 1070 h 2676"/>
                  <a:gd name="T74" fmla="*/ 326 w 7567"/>
                  <a:gd name="T75" fmla="*/ 618 h 2676"/>
                  <a:gd name="T76" fmla="*/ 282 w 7567"/>
                  <a:gd name="T77" fmla="*/ 618 h 2676"/>
                  <a:gd name="T78" fmla="*/ 104 w 7567"/>
                  <a:gd name="T79" fmla="*/ 1454 h 2676"/>
                  <a:gd name="T80" fmla="*/ 62 w 7567"/>
                  <a:gd name="T81" fmla="*/ 1454 h 2676"/>
                  <a:gd name="T82" fmla="*/ 21 w 7567"/>
                  <a:gd name="T83" fmla="*/ 1534 h 2676"/>
                  <a:gd name="T84" fmla="*/ 7328 w 7567"/>
                  <a:gd name="T85" fmla="*/ 509 h 2676"/>
                  <a:gd name="T86" fmla="*/ 7035 w 7567"/>
                  <a:gd name="T87" fmla="*/ 1693 h 2676"/>
                  <a:gd name="T88" fmla="*/ 6994 w 7567"/>
                  <a:gd name="T89" fmla="*/ 1094 h 2676"/>
                  <a:gd name="T90" fmla="*/ 6439 w 7567"/>
                  <a:gd name="T91" fmla="*/ 879 h 2676"/>
                  <a:gd name="T92" fmla="*/ 6401 w 7567"/>
                  <a:gd name="T93" fmla="*/ 935 h 2676"/>
                  <a:gd name="T94" fmla="*/ 6370 w 7567"/>
                  <a:gd name="T95" fmla="*/ 1364 h 2676"/>
                  <a:gd name="T96" fmla="*/ 6330 w 7567"/>
                  <a:gd name="T97" fmla="*/ 1210 h 2676"/>
                  <a:gd name="T98" fmla="*/ 6122 w 7567"/>
                  <a:gd name="T99" fmla="*/ 1130 h 2676"/>
                  <a:gd name="T100" fmla="*/ 5968 w 7567"/>
                  <a:gd name="T101" fmla="*/ 1130 h 2676"/>
                  <a:gd name="T102" fmla="*/ 5923 w 7567"/>
                  <a:gd name="T103" fmla="*/ 1130 h 2676"/>
                  <a:gd name="T104" fmla="*/ 5883 w 7567"/>
                  <a:gd name="T105" fmla="*/ 1210 h 2676"/>
                  <a:gd name="T106" fmla="*/ 5843 w 7567"/>
                  <a:gd name="T107" fmla="*/ 1326 h 2676"/>
                  <a:gd name="T108" fmla="*/ 5798 w 7567"/>
                  <a:gd name="T109" fmla="*/ 1326 h 2676"/>
                  <a:gd name="T110" fmla="*/ 5689 w 7567"/>
                  <a:gd name="T111" fmla="*/ 1449 h 2676"/>
                  <a:gd name="T112" fmla="*/ 5292 w 7567"/>
                  <a:gd name="T113" fmla="*/ 732 h 2676"/>
                  <a:gd name="T114" fmla="*/ 5249 w 7567"/>
                  <a:gd name="T115" fmla="*/ 732 h 2676"/>
                  <a:gd name="T116" fmla="*/ 5178 w 7567"/>
                  <a:gd name="T117" fmla="*/ 732 h 2676"/>
                  <a:gd name="T118" fmla="*/ 5138 w 7567"/>
                  <a:gd name="T119" fmla="*/ 973 h 2676"/>
                  <a:gd name="T120" fmla="*/ 5093 w 7567"/>
                  <a:gd name="T121" fmla="*/ 973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567" h="2676"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3"/>
                    </a:lnTo>
                    <a:lnTo>
                      <a:pt x="4959" y="173"/>
                    </a:lnTo>
                    <a:lnTo>
                      <a:pt x="4956" y="173"/>
                    </a:lnTo>
                    <a:lnTo>
                      <a:pt x="4954" y="173"/>
                    </a:lnTo>
                    <a:lnTo>
                      <a:pt x="4951" y="173"/>
                    </a:lnTo>
                    <a:lnTo>
                      <a:pt x="4951" y="173"/>
                    </a:lnTo>
                    <a:lnTo>
                      <a:pt x="4949" y="173"/>
                    </a:lnTo>
                    <a:lnTo>
                      <a:pt x="4947" y="173"/>
                    </a:lnTo>
                    <a:lnTo>
                      <a:pt x="4944" y="173"/>
                    </a:lnTo>
                    <a:lnTo>
                      <a:pt x="4942" y="173"/>
                    </a:lnTo>
                    <a:lnTo>
                      <a:pt x="4942" y="173"/>
                    </a:lnTo>
                    <a:lnTo>
                      <a:pt x="4940" y="173"/>
                    </a:lnTo>
                    <a:lnTo>
                      <a:pt x="4937" y="173"/>
                    </a:lnTo>
                    <a:lnTo>
                      <a:pt x="4935" y="173"/>
                    </a:lnTo>
                    <a:lnTo>
                      <a:pt x="4933" y="173"/>
                    </a:lnTo>
                    <a:lnTo>
                      <a:pt x="4933" y="173"/>
                    </a:lnTo>
                    <a:lnTo>
                      <a:pt x="4930" y="173"/>
                    </a:lnTo>
                    <a:lnTo>
                      <a:pt x="4928" y="173"/>
                    </a:lnTo>
                    <a:lnTo>
                      <a:pt x="4925" y="173"/>
                    </a:lnTo>
                    <a:lnTo>
                      <a:pt x="4925" y="173"/>
                    </a:lnTo>
                    <a:lnTo>
                      <a:pt x="4923" y="173"/>
                    </a:lnTo>
                    <a:lnTo>
                      <a:pt x="4921" y="173"/>
                    </a:lnTo>
                    <a:lnTo>
                      <a:pt x="4921" y="38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3"/>
                    </a:lnTo>
                    <a:lnTo>
                      <a:pt x="4899" y="173"/>
                    </a:lnTo>
                    <a:lnTo>
                      <a:pt x="4899" y="173"/>
                    </a:lnTo>
                    <a:lnTo>
                      <a:pt x="4897" y="173"/>
                    </a:lnTo>
                    <a:lnTo>
                      <a:pt x="4895" y="173"/>
                    </a:lnTo>
                    <a:lnTo>
                      <a:pt x="4892" y="173"/>
                    </a:lnTo>
                    <a:lnTo>
                      <a:pt x="4890" y="173"/>
                    </a:lnTo>
                    <a:lnTo>
                      <a:pt x="4890" y="173"/>
                    </a:lnTo>
                    <a:lnTo>
                      <a:pt x="4888" y="173"/>
                    </a:lnTo>
                    <a:lnTo>
                      <a:pt x="4885" y="173"/>
                    </a:lnTo>
                    <a:lnTo>
                      <a:pt x="4883" y="173"/>
                    </a:lnTo>
                    <a:lnTo>
                      <a:pt x="4881" y="173"/>
                    </a:lnTo>
                    <a:lnTo>
                      <a:pt x="4881" y="173"/>
                    </a:lnTo>
                    <a:lnTo>
                      <a:pt x="4878" y="173"/>
                    </a:lnTo>
                    <a:lnTo>
                      <a:pt x="4876" y="173"/>
                    </a:lnTo>
                    <a:lnTo>
                      <a:pt x="4873" y="173"/>
                    </a:lnTo>
                    <a:lnTo>
                      <a:pt x="4873" y="173"/>
                    </a:lnTo>
                    <a:lnTo>
                      <a:pt x="4871" y="173"/>
                    </a:lnTo>
                    <a:lnTo>
                      <a:pt x="4869" y="173"/>
                    </a:lnTo>
                    <a:lnTo>
                      <a:pt x="4866" y="173"/>
                    </a:lnTo>
                    <a:lnTo>
                      <a:pt x="4864" y="173"/>
                    </a:lnTo>
                    <a:lnTo>
                      <a:pt x="4864" y="173"/>
                    </a:lnTo>
                    <a:lnTo>
                      <a:pt x="4862" y="173"/>
                    </a:lnTo>
                    <a:lnTo>
                      <a:pt x="4859" y="173"/>
                    </a:lnTo>
                    <a:lnTo>
                      <a:pt x="4857" y="173"/>
                    </a:lnTo>
                    <a:lnTo>
                      <a:pt x="4855" y="173"/>
                    </a:lnTo>
                    <a:lnTo>
                      <a:pt x="4855" y="173"/>
                    </a:lnTo>
                    <a:lnTo>
                      <a:pt x="4852" y="173"/>
                    </a:lnTo>
                    <a:lnTo>
                      <a:pt x="4852" y="173"/>
                    </a:lnTo>
                    <a:lnTo>
                      <a:pt x="4852" y="175"/>
                    </a:lnTo>
                    <a:lnTo>
                      <a:pt x="4852" y="232"/>
                    </a:lnTo>
                    <a:lnTo>
                      <a:pt x="4850" y="232"/>
                    </a:lnTo>
                    <a:lnTo>
                      <a:pt x="4847" y="232"/>
                    </a:lnTo>
                    <a:lnTo>
                      <a:pt x="4845" y="232"/>
                    </a:lnTo>
                    <a:lnTo>
                      <a:pt x="4843" y="232"/>
                    </a:lnTo>
                    <a:lnTo>
                      <a:pt x="4843" y="232"/>
                    </a:lnTo>
                    <a:lnTo>
                      <a:pt x="4840" y="232"/>
                    </a:lnTo>
                    <a:lnTo>
                      <a:pt x="4838" y="232"/>
                    </a:lnTo>
                    <a:lnTo>
                      <a:pt x="4836" y="232"/>
                    </a:lnTo>
                    <a:lnTo>
                      <a:pt x="4836" y="232"/>
                    </a:lnTo>
                    <a:lnTo>
                      <a:pt x="4833" y="232"/>
                    </a:lnTo>
                    <a:lnTo>
                      <a:pt x="4831" y="232"/>
                    </a:lnTo>
                    <a:lnTo>
                      <a:pt x="4829" y="232"/>
                    </a:lnTo>
                    <a:lnTo>
                      <a:pt x="4826" y="232"/>
                    </a:lnTo>
                    <a:lnTo>
                      <a:pt x="4826" y="232"/>
                    </a:lnTo>
                    <a:lnTo>
                      <a:pt x="4824" y="232"/>
                    </a:lnTo>
                    <a:lnTo>
                      <a:pt x="4821" y="232"/>
                    </a:lnTo>
                    <a:lnTo>
                      <a:pt x="4819" y="232"/>
                    </a:lnTo>
                    <a:lnTo>
                      <a:pt x="4817" y="232"/>
                    </a:lnTo>
                    <a:lnTo>
                      <a:pt x="4817" y="232"/>
                    </a:lnTo>
                    <a:lnTo>
                      <a:pt x="4814" y="232"/>
                    </a:lnTo>
                    <a:lnTo>
                      <a:pt x="4812" y="232"/>
                    </a:lnTo>
                    <a:lnTo>
                      <a:pt x="4810" y="232"/>
                    </a:lnTo>
                    <a:lnTo>
                      <a:pt x="4810" y="232"/>
                    </a:lnTo>
                    <a:lnTo>
                      <a:pt x="4807" y="232"/>
                    </a:lnTo>
                    <a:lnTo>
                      <a:pt x="4805" y="232"/>
                    </a:lnTo>
                    <a:lnTo>
                      <a:pt x="4802" y="232"/>
                    </a:lnTo>
                    <a:lnTo>
                      <a:pt x="4800" y="232"/>
                    </a:lnTo>
                    <a:lnTo>
                      <a:pt x="4800" y="232"/>
                    </a:lnTo>
                    <a:lnTo>
                      <a:pt x="4798" y="232"/>
                    </a:lnTo>
                    <a:lnTo>
                      <a:pt x="4795" y="232"/>
                    </a:lnTo>
                    <a:lnTo>
                      <a:pt x="4793" y="232"/>
                    </a:lnTo>
                    <a:lnTo>
                      <a:pt x="4791" y="232"/>
                    </a:lnTo>
                    <a:lnTo>
                      <a:pt x="4750" y="232"/>
                    </a:lnTo>
                    <a:lnTo>
                      <a:pt x="4750" y="235"/>
                    </a:lnTo>
                    <a:lnTo>
                      <a:pt x="4687" y="474"/>
                    </a:lnTo>
                    <a:lnTo>
                      <a:pt x="4684" y="474"/>
                    </a:lnTo>
                    <a:lnTo>
                      <a:pt x="4682" y="476"/>
                    </a:lnTo>
                    <a:lnTo>
                      <a:pt x="4682" y="476"/>
                    </a:lnTo>
                    <a:lnTo>
                      <a:pt x="4680" y="479"/>
                    </a:lnTo>
                    <a:lnTo>
                      <a:pt x="4677" y="479"/>
                    </a:lnTo>
                    <a:lnTo>
                      <a:pt x="4677" y="479"/>
                    </a:lnTo>
                    <a:lnTo>
                      <a:pt x="4675" y="481"/>
                    </a:lnTo>
                    <a:lnTo>
                      <a:pt x="4672" y="481"/>
                    </a:lnTo>
                    <a:lnTo>
                      <a:pt x="4670" y="483"/>
                    </a:lnTo>
                    <a:lnTo>
                      <a:pt x="4670" y="483"/>
                    </a:lnTo>
                    <a:lnTo>
                      <a:pt x="4668" y="486"/>
                    </a:lnTo>
                    <a:lnTo>
                      <a:pt x="4665" y="486"/>
                    </a:lnTo>
                    <a:lnTo>
                      <a:pt x="4665" y="488"/>
                    </a:lnTo>
                    <a:lnTo>
                      <a:pt x="4663" y="488"/>
                    </a:lnTo>
                    <a:lnTo>
                      <a:pt x="4661" y="490"/>
                    </a:lnTo>
                    <a:lnTo>
                      <a:pt x="4661" y="490"/>
                    </a:lnTo>
                    <a:lnTo>
                      <a:pt x="4658" y="490"/>
                    </a:lnTo>
                    <a:lnTo>
                      <a:pt x="4656" y="493"/>
                    </a:lnTo>
                    <a:lnTo>
                      <a:pt x="4656" y="493"/>
                    </a:lnTo>
                    <a:lnTo>
                      <a:pt x="4654" y="495"/>
                    </a:lnTo>
                    <a:lnTo>
                      <a:pt x="4651" y="495"/>
                    </a:lnTo>
                    <a:lnTo>
                      <a:pt x="4649" y="497"/>
                    </a:lnTo>
                    <a:lnTo>
                      <a:pt x="4649" y="497"/>
                    </a:lnTo>
                    <a:lnTo>
                      <a:pt x="4646" y="500"/>
                    </a:lnTo>
                    <a:lnTo>
                      <a:pt x="4644" y="500"/>
                    </a:lnTo>
                    <a:lnTo>
                      <a:pt x="4644" y="500"/>
                    </a:lnTo>
                    <a:lnTo>
                      <a:pt x="4642" y="502"/>
                    </a:lnTo>
                    <a:lnTo>
                      <a:pt x="4639" y="502"/>
                    </a:lnTo>
                    <a:lnTo>
                      <a:pt x="4639" y="505"/>
                    </a:lnTo>
                    <a:lnTo>
                      <a:pt x="4637" y="505"/>
                    </a:lnTo>
                    <a:lnTo>
                      <a:pt x="4635" y="507"/>
                    </a:lnTo>
                    <a:lnTo>
                      <a:pt x="4635" y="507"/>
                    </a:lnTo>
                    <a:lnTo>
                      <a:pt x="4632" y="509"/>
                    </a:lnTo>
                    <a:lnTo>
                      <a:pt x="4630" y="509"/>
                    </a:lnTo>
                    <a:lnTo>
                      <a:pt x="4628" y="509"/>
                    </a:lnTo>
                    <a:lnTo>
                      <a:pt x="4628" y="512"/>
                    </a:lnTo>
                    <a:lnTo>
                      <a:pt x="4625" y="512"/>
                    </a:lnTo>
                    <a:lnTo>
                      <a:pt x="4623" y="514"/>
                    </a:lnTo>
                    <a:lnTo>
                      <a:pt x="4623" y="514"/>
                    </a:lnTo>
                    <a:lnTo>
                      <a:pt x="4620" y="516"/>
                    </a:lnTo>
                    <a:lnTo>
                      <a:pt x="4618" y="516"/>
                    </a:lnTo>
                    <a:lnTo>
                      <a:pt x="4618" y="519"/>
                    </a:lnTo>
                    <a:lnTo>
                      <a:pt x="4616" y="519"/>
                    </a:lnTo>
                    <a:lnTo>
                      <a:pt x="4613" y="521"/>
                    </a:lnTo>
                    <a:lnTo>
                      <a:pt x="4613" y="521"/>
                    </a:lnTo>
                    <a:lnTo>
                      <a:pt x="4611" y="521"/>
                    </a:lnTo>
                    <a:lnTo>
                      <a:pt x="4609" y="524"/>
                    </a:lnTo>
                    <a:lnTo>
                      <a:pt x="4606" y="524"/>
                    </a:lnTo>
                    <a:lnTo>
                      <a:pt x="4606" y="526"/>
                    </a:lnTo>
                    <a:lnTo>
                      <a:pt x="4604" y="526"/>
                    </a:lnTo>
                    <a:lnTo>
                      <a:pt x="4602" y="528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242" y="507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4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602"/>
                    </a:lnTo>
                    <a:lnTo>
                      <a:pt x="4169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9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7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6" y="595"/>
                    </a:lnTo>
                    <a:lnTo>
                      <a:pt x="4164" y="595"/>
                    </a:lnTo>
                    <a:lnTo>
                      <a:pt x="4164" y="595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2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4" y="590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7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62" y="585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6" y="391"/>
                    </a:lnTo>
                    <a:lnTo>
                      <a:pt x="4093" y="391"/>
                    </a:lnTo>
                    <a:lnTo>
                      <a:pt x="4093" y="391"/>
                    </a:lnTo>
                    <a:lnTo>
                      <a:pt x="4091" y="391"/>
                    </a:lnTo>
                    <a:lnTo>
                      <a:pt x="4091" y="391"/>
                    </a:lnTo>
                    <a:lnTo>
                      <a:pt x="4091" y="393"/>
                    </a:lnTo>
                    <a:lnTo>
                      <a:pt x="4091" y="455"/>
                    </a:lnTo>
                    <a:lnTo>
                      <a:pt x="4088" y="455"/>
                    </a:lnTo>
                    <a:lnTo>
                      <a:pt x="4086" y="455"/>
                    </a:lnTo>
                    <a:lnTo>
                      <a:pt x="4084" y="455"/>
                    </a:lnTo>
                    <a:lnTo>
                      <a:pt x="4084" y="455"/>
                    </a:lnTo>
                    <a:lnTo>
                      <a:pt x="4084" y="457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4001" y="928"/>
                    </a:lnTo>
                    <a:lnTo>
                      <a:pt x="3999" y="928"/>
                    </a:lnTo>
                    <a:lnTo>
                      <a:pt x="3996" y="928"/>
                    </a:lnTo>
                    <a:lnTo>
                      <a:pt x="3994" y="928"/>
                    </a:lnTo>
                    <a:lnTo>
                      <a:pt x="3994" y="928"/>
                    </a:lnTo>
                    <a:lnTo>
                      <a:pt x="3991" y="928"/>
                    </a:lnTo>
                    <a:lnTo>
                      <a:pt x="3989" y="928"/>
                    </a:lnTo>
                    <a:lnTo>
                      <a:pt x="3987" y="928"/>
                    </a:lnTo>
                    <a:lnTo>
                      <a:pt x="3987" y="928"/>
                    </a:lnTo>
                    <a:lnTo>
                      <a:pt x="3984" y="928"/>
                    </a:lnTo>
                    <a:lnTo>
                      <a:pt x="3982" y="928"/>
                    </a:lnTo>
                    <a:lnTo>
                      <a:pt x="3980" y="928"/>
                    </a:lnTo>
                    <a:lnTo>
                      <a:pt x="3977" y="928"/>
                    </a:lnTo>
                    <a:lnTo>
                      <a:pt x="3977" y="928"/>
                    </a:lnTo>
                    <a:lnTo>
                      <a:pt x="3975" y="928"/>
                    </a:lnTo>
                    <a:lnTo>
                      <a:pt x="3973" y="928"/>
                    </a:lnTo>
                    <a:lnTo>
                      <a:pt x="3970" y="928"/>
                    </a:lnTo>
                    <a:lnTo>
                      <a:pt x="3968" y="928"/>
                    </a:lnTo>
                    <a:lnTo>
                      <a:pt x="3968" y="928"/>
                    </a:lnTo>
                    <a:lnTo>
                      <a:pt x="3965" y="928"/>
                    </a:lnTo>
                    <a:lnTo>
                      <a:pt x="3963" y="928"/>
                    </a:lnTo>
                    <a:lnTo>
                      <a:pt x="3961" y="928"/>
                    </a:lnTo>
                    <a:lnTo>
                      <a:pt x="3961" y="928"/>
                    </a:lnTo>
                    <a:lnTo>
                      <a:pt x="3958" y="928"/>
                    </a:lnTo>
                    <a:lnTo>
                      <a:pt x="3956" y="928"/>
                    </a:lnTo>
                    <a:lnTo>
                      <a:pt x="3954" y="928"/>
                    </a:lnTo>
                    <a:lnTo>
                      <a:pt x="3951" y="928"/>
                    </a:lnTo>
                    <a:lnTo>
                      <a:pt x="3951" y="928"/>
                    </a:lnTo>
                    <a:lnTo>
                      <a:pt x="3949" y="928"/>
                    </a:lnTo>
                    <a:lnTo>
                      <a:pt x="3947" y="928"/>
                    </a:lnTo>
                    <a:lnTo>
                      <a:pt x="3944" y="928"/>
                    </a:lnTo>
                    <a:lnTo>
                      <a:pt x="3942" y="928"/>
                    </a:lnTo>
                    <a:lnTo>
                      <a:pt x="3942" y="928"/>
                    </a:lnTo>
                    <a:lnTo>
                      <a:pt x="3939" y="928"/>
                    </a:lnTo>
                    <a:lnTo>
                      <a:pt x="3937" y="928"/>
                    </a:lnTo>
                    <a:lnTo>
                      <a:pt x="3935" y="928"/>
                    </a:lnTo>
                    <a:lnTo>
                      <a:pt x="3935" y="928"/>
                    </a:lnTo>
                    <a:lnTo>
                      <a:pt x="3932" y="928"/>
                    </a:lnTo>
                    <a:lnTo>
                      <a:pt x="3930" y="928"/>
                    </a:lnTo>
                    <a:lnTo>
                      <a:pt x="3928" y="928"/>
                    </a:lnTo>
                    <a:lnTo>
                      <a:pt x="3925" y="928"/>
                    </a:lnTo>
                    <a:lnTo>
                      <a:pt x="3925" y="928"/>
                    </a:lnTo>
                    <a:lnTo>
                      <a:pt x="3923" y="928"/>
                    </a:lnTo>
                    <a:lnTo>
                      <a:pt x="3921" y="928"/>
                    </a:lnTo>
                    <a:lnTo>
                      <a:pt x="3918" y="928"/>
                    </a:lnTo>
                    <a:lnTo>
                      <a:pt x="3918" y="928"/>
                    </a:lnTo>
                    <a:lnTo>
                      <a:pt x="3916" y="928"/>
                    </a:lnTo>
                    <a:lnTo>
                      <a:pt x="3913" y="928"/>
                    </a:lnTo>
                    <a:lnTo>
                      <a:pt x="3911" y="928"/>
                    </a:lnTo>
                    <a:lnTo>
                      <a:pt x="3909" y="928"/>
                    </a:lnTo>
                    <a:lnTo>
                      <a:pt x="3909" y="928"/>
                    </a:lnTo>
                    <a:lnTo>
                      <a:pt x="3892" y="928"/>
                    </a:lnTo>
                    <a:lnTo>
                      <a:pt x="3892" y="931"/>
                    </a:lnTo>
                    <a:lnTo>
                      <a:pt x="3892" y="995"/>
                    </a:lnTo>
                    <a:lnTo>
                      <a:pt x="3892" y="995"/>
                    </a:lnTo>
                    <a:lnTo>
                      <a:pt x="3890" y="995"/>
                    </a:lnTo>
                    <a:lnTo>
                      <a:pt x="3887" y="995"/>
                    </a:lnTo>
                    <a:lnTo>
                      <a:pt x="3885" y="995"/>
                    </a:lnTo>
                    <a:lnTo>
                      <a:pt x="3883" y="995"/>
                    </a:lnTo>
                    <a:lnTo>
                      <a:pt x="3883" y="995"/>
                    </a:lnTo>
                    <a:lnTo>
                      <a:pt x="3880" y="995"/>
                    </a:lnTo>
                    <a:lnTo>
                      <a:pt x="3878" y="995"/>
                    </a:lnTo>
                    <a:lnTo>
                      <a:pt x="3876" y="995"/>
                    </a:lnTo>
                    <a:lnTo>
                      <a:pt x="3873" y="995"/>
                    </a:lnTo>
                    <a:lnTo>
                      <a:pt x="3873" y="995"/>
                    </a:lnTo>
                    <a:lnTo>
                      <a:pt x="3871" y="995"/>
                    </a:lnTo>
                    <a:lnTo>
                      <a:pt x="3869" y="995"/>
                    </a:lnTo>
                    <a:lnTo>
                      <a:pt x="3866" y="995"/>
                    </a:lnTo>
                    <a:lnTo>
                      <a:pt x="3866" y="995"/>
                    </a:lnTo>
                    <a:lnTo>
                      <a:pt x="3864" y="995"/>
                    </a:lnTo>
                    <a:lnTo>
                      <a:pt x="3861" y="995"/>
                    </a:lnTo>
                    <a:lnTo>
                      <a:pt x="3859" y="995"/>
                    </a:lnTo>
                    <a:lnTo>
                      <a:pt x="3857" y="995"/>
                    </a:lnTo>
                    <a:lnTo>
                      <a:pt x="3857" y="995"/>
                    </a:lnTo>
                    <a:lnTo>
                      <a:pt x="3854" y="995"/>
                    </a:lnTo>
                    <a:lnTo>
                      <a:pt x="3852" y="995"/>
                    </a:lnTo>
                    <a:lnTo>
                      <a:pt x="3850" y="995"/>
                    </a:lnTo>
                    <a:lnTo>
                      <a:pt x="3847" y="995"/>
                    </a:lnTo>
                    <a:lnTo>
                      <a:pt x="3847" y="995"/>
                    </a:lnTo>
                    <a:lnTo>
                      <a:pt x="3845" y="995"/>
                    </a:lnTo>
                    <a:lnTo>
                      <a:pt x="3843" y="995"/>
                    </a:lnTo>
                    <a:lnTo>
                      <a:pt x="3840" y="995"/>
                    </a:lnTo>
                    <a:lnTo>
                      <a:pt x="3840" y="995"/>
                    </a:lnTo>
                    <a:lnTo>
                      <a:pt x="3838" y="995"/>
                    </a:lnTo>
                    <a:lnTo>
                      <a:pt x="3835" y="995"/>
                    </a:lnTo>
                    <a:lnTo>
                      <a:pt x="3833" y="995"/>
                    </a:lnTo>
                    <a:lnTo>
                      <a:pt x="3831" y="995"/>
                    </a:lnTo>
                    <a:lnTo>
                      <a:pt x="3831" y="995"/>
                    </a:lnTo>
                    <a:lnTo>
                      <a:pt x="3828" y="995"/>
                    </a:lnTo>
                    <a:lnTo>
                      <a:pt x="3819" y="995"/>
                    </a:lnTo>
                    <a:lnTo>
                      <a:pt x="3819" y="997"/>
                    </a:lnTo>
                    <a:lnTo>
                      <a:pt x="3819" y="1224"/>
                    </a:lnTo>
                    <a:lnTo>
                      <a:pt x="3817" y="1224"/>
                    </a:lnTo>
                    <a:lnTo>
                      <a:pt x="3814" y="1224"/>
                    </a:lnTo>
                    <a:lnTo>
                      <a:pt x="3812" y="1224"/>
                    </a:lnTo>
                    <a:lnTo>
                      <a:pt x="3809" y="1224"/>
                    </a:lnTo>
                    <a:lnTo>
                      <a:pt x="3809" y="1224"/>
                    </a:lnTo>
                    <a:lnTo>
                      <a:pt x="3807" y="1224"/>
                    </a:lnTo>
                    <a:lnTo>
                      <a:pt x="3805" y="1224"/>
                    </a:lnTo>
                    <a:lnTo>
                      <a:pt x="3802" y="1224"/>
                    </a:lnTo>
                    <a:lnTo>
                      <a:pt x="3802" y="1224"/>
                    </a:lnTo>
                    <a:lnTo>
                      <a:pt x="3800" y="1224"/>
                    </a:lnTo>
                    <a:lnTo>
                      <a:pt x="3798" y="1224"/>
                    </a:lnTo>
                    <a:lnTo>
                      <a:pt x="3795" y="1224"/>
                    </a:lnTo>
                    <a:lnTo>
                      <a:pt x="3793" y="1224"/>
                    </a:lnTo>
                    <a:lnTo>
                      <a:pt x="3793" y="1224"/>
                    </a:lnTo>
                    <a:lnTo>
                      <a:pt x="3790" y="1224"/>
                    </a:lnTo>
                    <a:lnTo>
                      <a:pt x="3788" y="1224"/>
                    </a:lnTo>
                    <a:lnTo>
                      <a:pt x="3786" y="1224"/>
                    </a:lnTo>
                    <a:lnTo>
                      <a:pt x="3786" y="1224"/>
                    </a:lnTo>
                    <a:lnTo>
                      <a:pt x="3783" y="1224"/>
                    </a:lnTo>
                    <a:lnTo>
                      <a:pt x="3781" y="1224"/>
                    </a:lnTo>
                    <a:lnTo>
                      <a:pt x="3779" y="1224"/>
                    </a:lnTo>
                    <a:lnTo>
                      <a:pt x="3776" y="1224"/>
                    </a:lnTo>
                    <a:lnTo>
                      <a:pt x="3776" y="1224"/>
                    </a:lnTo>
                    <a:lnTo>
                      <a:pt x="3774" y="1224"/>
                    </a:lnTo>
                    <a:lnTo>
                      <a:pt x="3772" y="1224"/>
                    </a:lnTo>
                    <a:lnTo>
                      <a:pt x="3769" y="1224"/>
                    </a:lnTo>
                    <a:lnTo>
                      <a:pt x="3767" y="1224"/>
                    </a:lnTo>
                    <a:lnTo>
                      <a:pt x="3767" y="1224"/>
                    </a:lnTo>
                    <a:lnTo>
                      <a:pt x="3764" y="1224"/>
                    </a:lnTo>
                    <a:lnTo>
                      <a:pt x="3762" y="1224"/>
                    </a:lnTo>
                    <a:lnTo>
                      <a:pt x="3760" y="1224"/>
                    </a:lnTo>
                    <a:lnTo>
                      <a:pt x="3760" y="1224"/>
                    </a:lnTo>
                    <a:lnTo>
                      <a:pt x="3757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57" y="1392"/>
                    </a:lnTo>
                    <a:lnTo>
                      <a:pt x="3755" y="1392"/>
                    </a:lnTo>
                    <a:lnTo>
                      <a:pt x="3753" y="1392"/>
                    </a:lnTo>
                    <a:lnTo>
                      <a:pt x="3750" y="1392"/>
                    </a:lnTo>
                    <a:lnTo>
                      <a:pt x="3750" y="1392"/>
                    </a:lnTo>
                    <a:lnTo>
                      <a:pt x="3748" y="1392"/>
                    </a:lnTo>
                    <a:lnTo>
                      <a:pt x="3746" y="1392"/>
                    </a:lnTo>
                    <a:lnTo>
                      <a:pt x="3743" y="1392"/>
                    </a:lnTo>
                    <a:lnTo>
                      <a:pt x="3741" y="1392"/>
                    </a:lnTo>
                    <a:lnTo>
                      <a:pt x="3741" y="1392"/>
                    </a:lnTo>
                    <a:lnTo>
                      <a:pt x="3738" y="1392"/>
                    </a:lnTo>
                    <a:lnTo>
                      <a:pt x="3736" y="1392"/>
                    </a:lnTo>
                    <a:lnTo>
                      <a:pt x="3734" y="1392"/>
                    </a:lnTo>
                    <a:lnTo>
                      <a:pt x="3731" y="1392"/>
                    </a:lnTo>
                    <a:lnTo>
                      <a:pt x="3731" y="1392"/>
                    </a:lnTo>
                    <a:lnTo>
                      <a:pt x="3729" y="1392"/>
                    </a:lnTo>
                    <a:lnTo>
                      <a:pt x="3727" y="1392"/>
                    </a:lnTo>
                    <a:lnTo>
                      <a:pt x="3724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724" y="1317"/>
                    </a:lnTo>
                    <a:lnTo>
                      <a:pt x="3722" y="1317"/>
                    </a:lnTo>
                    <a:lnTo>
                      <a:pt x="3720" y="1317"/>
                    </a:lnTo>
                    <a:lnTo>
                      <a:pt x="3717" y="1317"/>
                    </a:lnTo>
                    <a:lnTo>
                      <a:pt x="3715" y="1317"/>
                    </a:lnTo>
                    <a:lnTo>
                      <a:pt x="3715" y="1317"/>
                    </a:lnTo>
                    <a:lnTo>
                      <a:pt x="3712" y="1317"/>
                    </a:lnTo>
                    <a:lnTo>
                      <a:pt x="3710" y="1317"/>
                    </a:lnTo>
                    <a:lnTo>
                      <a:pt x="3708" y="1317"/>
                    </a:lnTo>
                    <a:lnTo>
                      <a:pt x="3705" y="1317"/>
                    </a:lnTo>
                    <a:lnTo>
                      <a:pt x="3705" y="1317"/>
                    </a:lnTo>
                    <a:lnTo>
                      <a:pt x="3703" y="1317"/>
                    </a:lnTo>
                    <a:lnTo>
                      <a:pt x="3701" y="1317"/>
                    </a:lnTo>
                    <a:lnTo>
                      <a:pt x="3698" y="1317"/>
                    </a:lnTo>
                    <a:lnTo>
                      <a:pt x="3698" y="1317"/>
                    </a:lnTo>
                    <a:lnTo>
                      <a:pt x="3696" y="1317"/>
                    </a:lnTo>
                    <a:lnTo>
                      <a:pt x="3694" y="1317"/>
                    </a:lnTo>
                    <a:lnTo>
                      <a:pt x="3691" y="1317"/>
                    </a:lnTo>
                    <a:lnTo>
                      <a:pt x="3689" y="1317"/>
                    </a:lnTo>
                    <a:lnTo>
                      <a:pt x="3689" y="1317"/>
                    </a:lnTo>
                    <a:lnTo>
                      <a:pt x="3686" y="1317"/>
                    </a:lnTo>
                    <a:lnTo>
                      <a:pt x="3684" y="1317"/>
                    </a:lnTo>
                    <a:lnTo>
                      <a:pt x="3682" y="1317"/>
                    </a:lnTo>
                    <a:lnTo>
                      <a:pt x="3682" y="1317"/>
                    </a:lnTo>
                    <a:lnTo>
                      <a:pt x="3679" y="1317"/>
                    </a:lnTo>
                    <a:lnTo>
                      <a:pt x="3677" y="1317"/>
                    </a:lnTo>
                    <a:lnTo>
                      <a:pt x="3675" y="1317"/>
                    </a:lnTo>
                    <a:lnTo>
                      <a:pt x="3672" y="1317"/>
                    </a:lnTo>
                    <a:lnTo>
                      <a:pt x="3672" y="1317"/>
                    </a:lnTo>
                    <a:lnTo>
                      <a:pt x="3670" y="1317"/>
                    </a:lnTo>
                    <a:lnTo>
                      <a:pt x="3668" y="1317"/>
                    </a:lnTo>
                    <a:lnTo>
                      <a:pt x="3665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74" y="502"/>
                    </a:lnTo>
                    <a:lnTo>
                      <a:pt x="3372" y="502"/>
                    </a:lnTo>
                    <a:lnTo>
                      <a:pt x="3370" y="502"/>
                    </a:lnTo>
                    <a:lnTo>
                      <a:pt x="3370" y="502"/>
                    </a:lnTo>
                    <a:lnTo>
                      <a:pt x="3367" y="502"/>
                    </a:lnTo>
                    <a:lnTo>
                      <a:pt x="3365" y="502"/>
                    </a:lnTo>
                    <a:lnTo>
                      <a:pt x="3363" y="502"/>
                    </a:lnTo>
                    <a:lnTo>
                      <a:pt x="3363" y="502"/>
                    </a:lnTo>
                    <a:lnTo>
                      <a:pt x="3360" y="502"/>
                    </a:lnTo>
                    <a:lnTo>
                      <a:pt x="3358" y="502"/>
                    </a:lnTo>
                    <a:lnTo>
                      <a:pt x="3355" y="502"/>
                    </a:lnTo>
                    <a:lnTo>
                      <a:pt x="3353" y="502"/>
                    </a:lnTo>
                    <a:lnTo>
                      <a:pt x="3353" y="502"/>
                    </a:lnTo>
                    <a:lnTo>
                      <a:pt x="3351" y="502"/>
                    </a:lnTo>
                    <a:lnTo>
                      <a:pt x="3348" y="502"/>
                    </a:lnTo>
                    <a:lnTo>
                      <a:pt x="3348" y="502"/>
                    </a:lnTo>
                    <a:lnTo>
                      <a:pt x="3348" y="505"/>
                    </a:lnTo>
                    <a:lnTo>
                      <a:pt x="3348" y="583"/>
                    </a:lnTo>
                    <a:lnTo>
                      <a:pt x="3346" y="583"/>
                    </a:lnTo>
                    <a:lnTo>
                      <a:pt x="3344" y="583"/>
                    </a:lnTo>
                    <a:lnTo>
                      <a:pt x="3341" y="583"/>
                    </a:lnTo>
                    <a:lnTo>
                      <a:pt x="3341" y="583"/>
                    </a:lnTo>
                    <a:lnTo>
                      <a:pt x="3339" y="583"/>
                    </a:lnTo>
                    <a:lnTo>
                      <a:pt x="3337" y="583"/>
                    </a:lnTo>
                    <a:lnTo>
                      <a:pt x="3334" y="583"/>
                    </a:lnTo>
                    <a:lnTo>
                      <a:pt x="3332" y="583"/>
                    </a:lnTo>
                    <a:lnTo>
                      <a:pt x="3332" y="583"/>
                    </a:lnTo>
                    <a:lnTo>
                      <a:pt x="3329" y="583"/>
                    </a:lnTo>
                    <a:lnTo>
                      <a:pt x="3329" y="585"/>
                    </a:lnTo>
                    <a:lnTo>
                      <a:pt x="3329" y="658"/>
                    </a:lnTo>
                    <a:lnTo>
                      <a:pt x="3329" y="658"/>
                    </a:lnTo>
                    <a:lnTo>
                      <a:pt x="3327" y="658"/>
                    </a:lnTo>
                    <a:lnTo>
                      <a:pt x="3325" y="658"/>
                    </a:lnTo>
                    <a:lnTo>
                      <a:pt x="3322" y="658"/>
                    </a:lnTo>
                    <a:lnTo>
                      <a:pt x="3320" y="658"/>
                    </a:lnTo>
                    <a:lnTo>
                      <a:pt x="3320" y="658"/>
                    </a:lnTo>
                    <a:lnTo>
                      <a:pt x="3318" y="658"/>
                    </a:lnTo>
                    <a:lnTo>
                      <a:pt x="3315" y="658"/>
                    </a:lnTo>
                    <a:lnTo>
                      <a:pt x="3313" y="658"/>
                    </a:lnTo>
                    <a:lnTo>
                      <a:pt x="3310" y="658"/>
                    </a:lnTo>
                    <a:lnTo>
                      <a:pt x="3310" y="658"/>
                    </a:lnTo>
                    <a:lnTo>
                      <a:pt x="3308" y="658"/>
                    </a:lnTo>
                    <a:lnTo>
                      <a:pt x="3306" y="658"/>
                    </a:lnTo>
                    <a:lnTo>
                      <a:pt x="3303" y="658"/>
                    </a:lnTo>
                    <a:lnTo>
                      <a:pt x="3303" y="658"/>
                    </a:lnTo>
                    <a:lnTo>
                      <a:pt x="3301" y="658"/>
                    </a:lnTo>
                    <a:lnTo>
                      <a:pt x="3299" y="658"/>
                    </a:lnTo>
                    <a:lnTo>
                      <a:pt x="3296" y="658"/>
                    </a:lnTo>
                    <a:lnTo>
                      <a:pt x="3294" y="658"/>
                    </a:lnTo>
                    <a:lnTo>
                      <a:pt x="3294" y="658"/>
                    </a:lnTo>
                    <a:lnTo>
                      <a:pt x="3292" y="658"/>
                    </a:lnTo>
                    <a:lnTo>
                      <a:pt x="3289" y="658"/>
                    </a:lnTo>
                    <a:lnTo>
                      <a:pt x="3287" y="658"/>
                    </a:lnTo>
                    <a:lnTo>
                      <a:pt x="3287" y="658"/>
                    </a:lnTo>
                    <a:lnTo>
                      <a:pt x="3284" y="658"/>
                    </a:lnTo>
                    <a:lnTo>
                      <a:pt x="3282" y="658"/>
                    </a:lnTo>
                    <a:lnTo>
                      <a:pt x="3280" y="658"/>
                    </a:lnTo>
                    <a:lnTo>
                      <a:pt x="3277" y="658"/>
                    </a:lnTo>
                    <a:lnTo>
                      <a:pt x="3277" y="658"/>
                    </a:lnTo>
                    <a:lnTo>
                      <a:pt x="3275" y="658"/>
                    </a:lnTo>
                    <a:lnTo>
                      <a:pt x="3273" y="658"/>
                    </a:lnTo>
                    <a:lnTo>
                      <a:pt x="3270" y="658"/>
                    </a:lnTo>
                    <a:lnTo>
                      <a:pt x="3268" y="658"/>
                    </a:lnTo>
                    <a:lnTo>
                      <a:pt x="3268" y="658"/>
                    </a:lnTo>
                    <a:lnTo>
                      <a:pt x="3266" y="658"/>
                    </a:lnTo>
                    <a:lnTo>
                      <a:pt x="3263" y="658"/>
                    </a:lnTo>
                    <a:lnTo>
                      <a:pt x="3261" y="658"/>
                    </a:lnTo>
                    <a:lnTo>
                      <a:pt x="3261" y="658"/>
                    </a:lnTo>
                    <a:lnTo>
                      <a:pt x="3258" y="658"/>
                    </a:lnTo>
                    <a:lnTo>
                      <a:pt x="3256" y="658"/>
                    </a:lnTo>
                    <a:lnTo>
                      <a:pt x="3254" y="658"/>
                    </a:lnTo>
                    <a:lnTo>
                      <a:pt x="3254" y="658"/>
                    </a:lnTo>
                    <a:lnTo>
                      <a:pt x="3185" y="658"/>
                    </a:lnTo>
                    <a:lnTo>
                      <a:pt x="3185" y="661"/>
                    </a:lnTo>
                    <a:lnTo>
                      <a:pt x="3185" y="763"/>
                    </a:lnTo>
                    <a:lnTo>
                      <a:pt x="3185" y="763"/>
                    </a:lnTo>
                    <a:lnTo>
                      <a:pt x="3183" y="763"/>
                    </a:lnTo>
                    <a:lnTo>
                      <a:pt x="3180" y="763"/>
                    </a:lnTo>
                    <a:lnTo>
                      <a:pt x="3178" y="763"/>
                    </a:lnTo>
                    <a:lnTo>
                      <a:pt x="3176" y="763"/>
                    </a:lnTo>
                    <a:lnTo>
                      <a:pt x="3176" y="763"/>
                    </a:lnTo>
                    <a:lnTo>
                      <a:pt x="3173" y="763"/>
                    </a:lnTo>
                    <a:lnTo>
                      <a:pt x="3171" y="763"/>
                    </a:lnTo>
                    <a:lnTo>
                      <a:pt x="3169" y="763"/>
                    </a:lnTo>
                    <a:lnTo>
                      <a:pt x="3169" y="763"/>
                    </a:lnTo>
                    <a:lnTo>
                      <a:pt x="3166" y="763"/>
                    </a:lnTo>
                    <a:lnTo>
                      <a:pt x="3164" y="763"/>
                    </a:lnTo>
                    <a:lnTo>
                      <a:pt x="3162" y="763"/>
                    </a:lnTo>
                    <a:lnTo>
                      <a:pt x="3159" y="763"/>
                    </a:lnTo>
                    <a:lnTo>
                      <a:pt x="3159" y="763"/>
                    </a:lnTo>
                    <a:lnTo>
                      <a:pt x="3157" y="763"/>
                    </a:lnTo>
                    <a:lnTo>
                      <a:pt x="3154" y="763"/>
                    </a:lnTo>
                    <a:lnTo>
                      <a:pt x="3152" y="763"/>
                    </a:lnTo>
                    <a:lnTo>
                      <a:pt x="3152" y="763"/>
                    </a:lnTo>
                    <a:lnTo>
                      <a:pt x="3150" y="763"/>
                    </a:lnTo>
                    <a:lnTo>
                      <a:pt x="3147" y="763"/>
                    </a:lnTo>
                    <a:lnTo>
                      <a:pt x="3147" y="765"/>
                    </a:lnTo>
                    <a:lnTo>
                      <a:pt x="3147" y="980"/>
                    </a:lnTo>
                    <a:lnTo>
                      <a:pt x="3145" y="980"/>
                    </a:lnTo>
                    <a:lnTo>
                      <a:pt x="3145" y="980"/>
                    </a:lnTo>
                    <a:lnTo>
                      <a:pt x="3143" y="980"/>
                    </a:lnTo>
                    <a:lnTo>
                      <a:pt x="3140" y="980"/>
                    </a:lnTo>
                    <a:lnTo>
                      <a:pt x="3138" y="980"/>
                    </a:lnTo>
                    <a:lnTo>
                      <a:pt x="3136" y="980"/>
                    </a:lnTo>
                    <a:lnTo>
                      <a:pt x="3136" y="980"/>
                    </a:lnTo>
                    <a:lnTo>
                      <a:pt x="3133" y="980"/>
                    </a:lnTo>
                    <a:lnTo>
                      <a:pt x="3131" y="980"/>
                    </a:lnTo>
                    <a:lnTo>
                      <a:pt x="3128" y="980"/>
                    </a:lnTo>
                    <a:lnTo>
                      <a:pt x="3128" y="980"/>
                    </a:lnTo>
                    <a:lnTo>
                      <a:pt x="3126" y="980"/>
                    </a:lnTo>
                    <a:lnTo>
                      <a:pt x="3124" y="980"/>
                    </a:lnTo>
                    <a:lnTo>
                      <a:pt x="3121" y="980"/>
                    </a:lnTo>
                    <a:lnTo>
                      <a:pt x="3119" y="980"/>
                    </a:lnTo>
                    <a:lnTo>
                      <a:pt x="3119" y="980"/>
                    </a:lnTo>
                    <a:lnTo>
                      <a:pt x="3117" y="980"/>
                    </a:lnTo>
                    <a:lnTo>
                      <a:pt x="3114" y="980"/>
                    </a:lnTo>
                    <a:lnTo>
                      <a:pt x="3112" y="980"/>
                    </a:lnTo>
                    <a:lnTo>
                      <a:pt x="3110" y="980"/>
                    </a:lnTo>
                    <a:lnTo>
                      <a:pt x="3110" y="980"/>
                    </a:lnTo>
                    <a:lnTo>
                      <a:pt x="3107" y="980"/>
                    </a:lnTo>
                    <a:lnTo>
                      <a:pt x="3105" y="980"/>
                    </a:lnTo>
                    <a:lnTo>
                      <a:pt x="3102" y="980"/>
                    </a:lnTo>
                    <a:lnTo>
                      <a:pt x="3102" y="980"/>
                    </a:lnTo>
                    <a:lnTo>
                      <a:pt x="3100" y="980"/>
                    </a:lnTo>
                    <a:lnTo>
                      <a:pt x="3098" y="980"/>
                    </a:lnTo>
                    <a:lnTo>
                      <a:pt x="3095" y="980"/>
                    </a:lnTo>
                    <a:lnTo>
                      <a:pt x="3093" y="980"/>
                    </a:lnTo>
                    <a:lnTo>
                      <a:pt x="3093" y="980"/>
                    </a:lnTo>
                    <a:lnTo>
                      <a:pt x="3091" y="980"/>
                    </a:lnTo>
                    <a:lnTo>
                      <a:pt x="3088" y="980"/>
                    </a:lnTo>
                    <a:lnTo>
                      <a:pt x="3086" y="980"/>
                    </a:lnTo>
                    <a:lnTo>
                      <a:pt x="3086" y="980"/>
                    </a:lnTo>
                    <a:lnTo>
                      <a:pt x="3084" y="980"/>
                    </a:lnTo>
                    <a:lnTo>
                      <a:pt x="3081" y="980"/>
                    </a:lnTo>
                    <a:lnTo>
                      <a:pt x="3079" y="980"/>
                    </a:lnTo>
                    <a:lnTo>
                      <a:pt x="3076" y="980"/>
                    </a:lnTo>
                    <a:lnTo>
                      <a:pt x="3076" y="980"/>
                    </a:lnTo>
                    <a:lnTo>
                      <a:pt x="3074" y="980"/>
                    </a:lnTo>
                    <a:lnTo>
                      <a:pt x="3072" y="980"/>
                    </a:lnTo>
                    <a:lnTo>
                      <a:pt x="3069" y="980"/>
                    </a:lnTo>
                    <a:lnTo>
                      <a:pt x="3067" y="980"/>
                    </a:lnTo>
                    <a:lnTo>
                      <a:pt x="3067" y="980"/>
                    </a:lnTo>
                    <a:lnTo>
                      <a:pt x="3065" y="980"/>
                    </a:lnTo>
                    <a:lnTo>
                      <a:pt x="3062" y="980"/>
                    </a:lnTo>
                    <a:lnTo>
                      <a:pt x="3060" y="980"/>
                    </a:lnTo>
                    <a:lnTo>
                      <a:pt x="3060" y="980"/>
                    </a:lnTo>
                    <a:lnTo>
                      <a:pt x="3057" y="980"/>
                    </a:lnTo>
                    <a:lnTo>
                      <a:pt x="3055" y="980"/>
                    </a:lnTo>
                    <a:lnTo>
                      <a:pt x="3053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23" y="1063"/>
                    </a:lnTo>
                    <a:lnTo>
                      <a:pt x="2920" y="1063"/>
                    </a:lnTo>
                    <a:lnTo>
                      <a:pt x="2920" y="1063"/>
                    </a:lnTo>
                    <a:lnTo>
                      <a:pt x="2918" y="1063"/>
                    </a:lnTo>
                    <a:lnTo>
                      <a:pt x="2916" y="1063"/>
                    </a:lnTo>
                    <a:lnTo>
                      <a:pt x="2913" y="1063"/>
                    </a:lnTo>
                    <a:lnTo>
                      <a:pt x="2911" y="1063"/>
                    </a:lnTo>
                    <a:lnTo>
                      <a:pt x="2911" y="1063"/>
                    </a:lnTo>
                    <a:lnTo>
                      <a:pt x="2909" y="1063"/>
                    </a:lnTo>
                    <a:lnTo>
                      <a:pt x="2909" y="1063"/>
                    </a:lnTo>
                    <a:lnTo>
                      <a:pt x="2909" y="1066"/>
                    </a:lnTo>
                    <a:lnTo>
                      <a:pt x="2909" y="1241"/>
                    </a:lnTo>
                    <a:lnTo>
                      <a:pt x="2906" y="1241"/>
                    </a:lnTo>
                    <a:lnTo>
                      <a:pt x="2904" y="1241"/>
                    </a:lnTo>
                    <a:lnTo>
                      <a:pt x="2901" y="1241"/>
                    </a:lnTo>
                    <a:lnTo>
                      <a:pt x="2901" y="1241"/>
                    </a:lnTo>
                    <a:lnTo>
                      <a:pt x="2899" y="1241"/>
                    </a:lnTo>
                    <a:lnTo>
                      <a:pt x="2897" y="1241"/>
                    </a:lnTo>
                    <a:lnTo>
                      <a:pt x="2894" y="1241"/>
                    </a:lnTo>
                    <a:lnTo>
                      <a:pt x="2892" y="1241"/>
                    </a:lnTo>
                    <a:lnTo>
                      <a:pt x="2892" y="1241"/>
                    </a:lnTo>
                    <a:lnTo>
                      <a:pt x="2890" y="1241"/>
                    </a:lnTo>
                    <a:lnTo>
                      <a:pt x="2887" y="1241"/>
                    </a:lnTo>
                    <a:lnTo>
                      <a:pt x="2885" y="1241"/>
                    </a:lnTo>
                    <a:lnTo>
                      <a:pt x="2883" y="1241"/>
                    </a:lnTo>
                    <a:lnTo>
                      <a:pt x="2883" y="1241"/>
                    </a:lnTo>
                    <a:lnTo>
                      <a:pt x="2880" y="1241"/>
                    </a:lnTo>
                    <a:lnTo>
                      <a:pt x="2878" y="1241"/>
                    </a:lnTo>
                    <a:lnTo>
                      <a:pt x="2875" y="1241"/>
                    </a:lnTo>
                    <a:lnTo>
                      <a:pt x="2875" y="1241"/>
                    </a:lnTo>
                    <a:lnTo>
                      <a:pt x="2873" y="1241"/>
                    </a:lnTo>
                    <a:lnTo>
                      <a:pt x="2871" y="1241"/>
                    </a:lnTo>
                    <a:lnTo>
                      <a:pt x="2868" y="1241"/>
                    </a:lnTo>
                    <a:lnTo>
                      <a:pt x="2866" y="1241"/>
                    </a:lnTo>
                    <a:lnTo>
                      <a:pt x="2866" y="1241"/>
                    </a:lnTo>
                    <a:lnTo>
                      <a:pt x="2864" y="1241"/>
                    </a:lnTo>
                    <a:lnTo>
                      <a:pt x="2861" y="1241"/>
                    </a:lnTo>
                    <a:lnTo>
                      <a:pt x="2859" y="1241"/>
                    </a:lnTo>
                    <a:lnTo>
                      <a:pt x="2857" y="1241"/>
                    </a:lnTo>
                    <a:lnTo>
                      <a:pt x="2857" y="1241"/>
                    </a:lnTo>
                    <a:lnTo>
                      <a:pt x="2854" y="1241"/>
                    </a:lnTo>
                    <a:lnTo>
                      <a:pt x="2852" y="1241"/>
                    </a:lnTo>
                    <a:lnTo>
                      <a:pt x="2849" y="1241"/>
                    </a:lnTo>
                    <a:lnTo>
                      <a:pt x="2849" y="1241"/>
                    </a:lnTo>
                    <a:lnTo>
                      <a:pt x="2847" y="1241"/>
                    </a:lnTo>
                    <a:lnTo>
                      <a:pt x="2845" y="1241"/>
                    </a:lnTo>
                    <a:lnTo>
                      <a:pt x="2842" y="1241"/>
                    </a:lnTo>
                    <a:lnTo>
                      <a:pt x="2840" y="1241"/>
                    </a:lnTo>
                    <a:lnTo>
                      <a:pt x="2840" y="1241"/>
                    </a:lnTo>
                    <a:lnTo>
                      <a:pt x="2838" y="1241"/>
                    </a:lnTo>
                    <a:lnTo>
                      <a:pt x="2835" y="1241"/>
                    </a:lnTo>
                    <a:lnTo>
                      <a:pt x="2833" y="1241"/>
                    </a:lnTo>
                    <a:lnTo>
                      <a:pt x="2831" y="1241"/>
                    </a:lnTo>
                    <a:lnTo>
                      <a:pt x="2831" y="1241"/>
                    </a:lnTo>
                    <a:lnTo>
                      <a:pt x="2828" y="1241"/>
                    </a:lnTo>
                    <a:lnTo>
                      <a:pt x="2826" y="1241"/>
                    </a:lnTo>
                    <a:lnTo>
                      <a:pt x="2823" y="1241"/>
                    </a:lnTo>
                    <a:lnTo>
                      <a:pt x="2823" y="1241"/>
                    </a:lnTo>
                    <a:lnTo>
                      <a:pt x="2821" y="1241"/>
                    </a:lnTo>
                    <a:lnTo>
                      <a:pt x="2819" y="1241"/>
                    </a:lnTo>
                    <a:lnTo>
                      <a:pt x="2816" y="1241"/>
                    </a:lnTo>
                    <a:lnTo>
                      <a:pt x="2814" y="1241"/>
                    </a:lnTo>
                    <a:lnTo>
                      <a:pt x="2814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296"/>
                    </a:lnTo>
                    <a:lnTo>
                      <a:pt x="2076" y="334"/>
                    </a:lnTo>
                    <a:lnTo>
                      <a:pt x="2074" y="334"/>
                    </a:lnTo>
                    <a:lnTo>
                      <a:pt x="2071" y="334"/>
                    </a:lnTo>
                    <a:lnTo>
                      <a:pt x="2071" y="334"/>
                    </a:lnTo>
                    <a:lnTo>
                      <a:pt x="2069" y="334"/>
                    </a:lnTo>
                    <a:lnTo>
                      <a:pt x="2067" y="334"/>
                    </a:lnTo>
                    <a:lnTo>
                      <a:pt x="2064" y="334"/>
                    </a:lnTo>
                    <a:lnTo>
                      <a:pt x="2062" y="334"/>
                    </a:lnTo>
                    <a:lnTo>
                      <a:pt x="2062" y="334"/>
                    </a:lnTo>
                    <a:lnTo>
                      <a:pt x="2060" y="334"/>
                    </a:lnTo>
                    <a:lnTo>
                      <a:pt x="2057" y="334"/>
                    </a:lnTo>
                    <a:lnTo>
                      <a:pt x="2055" y="334"/>
                    </a:lnTo>
                    <a:lnTo>
                      <a:pt x="2055" y="334"/>
                    </a:lnTo>
                    <a:lnTo>
                      <a:pt x="2053" y="334"/>
                    </a:lnTo>
                    <a:lnTo>
                      <a:pt x="2050" y="334"/>
                    </a:lnTo>
                    <a:lnTo>
                      <a:pt x="2048" y="334"/>
                    </a:lnTo>
                    <a:lnTo>
                      <a:pt x="2045" y="334"/>
                    </a:lnTo>
                    <a:lnTo>
                      <a:pt x="2045" y="334"/>
                    </a:lnTo>
                    <a:lnTo>
                      <a:pt x="2043" y="334"/>
                    </a:lnTo>
                    <a:lnTo>
                      <a:pt x="2041" y="334"/>
                    </a:lnTo>
                    <a:lnTo>
                      <a:pt x="2038" y="334"/>
                    </a:lnTo>
                    <a:lnTo>
                      <a:pt x="2038" y="334"/>
                    </a:lnTo>
                    <a:lnTo>
                      <a:pt x="1986" y="334"/>
                    </a:lnTo>
                    <a:lnTo>
                      <a:pt x="1986" y="336"/>
                    </a:lnTo>
                    <a:lnTo>
                      <a:pt x="1986" y="370"/>
                    </a:lnTo>
                    <a:lnTo>
                      <a:pt x="1984" y="370"/>
                    </a:lnTo>
                    <a:lnTo>
                      <a:pt x="1982" y="370"/>
                    </a:lnTo>
                    <a:lnTo>
                      <a:pt x="1979" y="370"/>
                    </a:lnTo>
                    <a:lnTo>
                      <a:pt x="1979" y="370"/>
                    </a:lnTo>
                    <a:lnTo>
                      <a:pt x="1977" y="370"/>
                    </a:lnTo>
                    <a:lnTo>
                      <a:pt x="1975" y="370"/>
                    </a:lnTo>
                    <a:lnTo>
                      <a:pt x="1972" y="370"/>
                    </a:lnTo>
                    <a:lnTo>
                      <a:pt x="1972" y="370"/>
                    </a:lnTo>
                    <a:lnTo>
                      <a:pt x="1970" y="370"/>
                    </a:lnTo>
                    <a:lnTo>
                      <a:pt x="1967" y="370"/>
                    </a:lnTo>
                    <a:lnTo>
                      <a:pt x="1965" y="370"/>
                    </a:lnTo>
                    <a:lnTo>
                      <a:pt x="1963" y="370"/>
                    </a:lnTo>
                    <a:lnTo>
                      <a:pt x="1963" y="370"/>
                    </a:lnTo>
                    <a:lnTo>
                      <a:pt x="1960" y="370"/>
                    </a:lnTo>
                    <a:lnTo>
                      <a:pt x="1958" y="370"/>
                    </a:lnTo>
                    <a:lnTo>
                      <a:pt x="1956" y="370"/>
                    </a:lnTo>
                    <a:lnTo>
                      <a:pt x="1953" y="370"/>
                    </a:lnTo>
                    <a:lnTo>
                      <a:pt x="1953" y="370"/>
                    </a:lnTo>
                    <a:lnTo>
                      <a:pt x="1856" y="370"/>
                    </a:lnTo>
                    <a:lnTo>
                      <a:pt x="1856" y="372"/>
                    </a:lnTo>
                    <a:lnTo>
                      <a:pt x="1856" y="1132"/>
                    </a:lnTo>
                    <a:lnTo>
                      <a:pt x="1856" y="1132"/>
                    </a:lnTo>
                    <a:lnTo>
                      <a:pt x="1854" y="1132"/>
                    </a:lnTo>
                    <a:lnTo>
                      <a:pt x="1852" y="1132"/>
                    </a:lnTo>
                    <a:lnTo>
                      <a:pt x="1849" y="1132"/>
                    </a:lnTo>
                    <a:lnTo>
                      <a:pt x="1847" y="1132"/>
                    </a:lnTo>
                    <a:lnTo>
                      <a:pt x="1847" y="1132"/>
                    </a:lnTo>
                    <a:lnTo>
                      <a:pt x="1845" y="1132"/>
                    </a:lnTo>
                    <a:lnTo>
                      <a:pt x="1842" y="1132"/>
                    </a:lnTo>
                    <a:lnTo>
                      <a:pt x="1840" y="1132"/>
                    </a:lnTo>
                    <a:lnTo>
                      <a:pt x="1840" y="1132"/>
                    </a:lnTo>
                    <a:lnTo>
                      <a:pt x="1837" y="1132"/>
                    </a:lnTo>
                    <a:lnTo>
                      <a:pt x="1835" y="1132"/>
                    </a:lnTo>
                    <a:lnTo>
                      <a:pt x="1833" y="1132"/>
                    </a:lnTo>
                    <a:lnTo>
                      <a:pt x="1830" y="1132"/>
                    </a:lnTo>
                    <a:lnTo>
                      <a:pt x="1830" y="1132"/>
                    </a:lnTo>
                    <a:lnTo>
                      <a:pt x="1828" y="1132"/>
                    </a:lnTo>
                    <a:lnTo>
                      <a:pt x="1826" y="1132"/>
                    </a:lnTo>
                    <a:lnTo>
                      <a:pt x="1823" y="1132"/>
                    </a:lnTo>
                    <a:lnTo>
                      <a:pt x="1821" y="1132"/>
                    </a:lnTo>
                    <a:lnTo>
                      <a:pt x="1821" y="1132"/>
                    </a:lnTo>
                    <a:lnTo>
                      <a:pt x="1818" y="1132"/>
                    </a:lnTo>
                    <a:lnTo>
                      <a:pt x="1816" y="1132"/>
                    </a:lnTo>
                    <a:lnTo>
                      <a:pt x="1814" y="1132"/>
                    </a:lnTo>
                    <a:lnTo>
                      <a:pt x="1814" y="1132"/>
                    </a:lnTo>
                    <a:lnTo>
                      <a:pt x="1811" y="1132"/>
                    </a:lnTo>
                    <a:lnTo>
                      <a:pt x="1809" y="1132"/>
                    </a:lnTo>
                    <a:lnTo>
                      <a:pt x="1807" y="1132"/>
                    </a:lnTo>
                    <a:lnTo>
                      <a:pt x="1804" y="1132"/>
                    </a:lnTo>
                    <a:lnTo>
                      <a:pt x="1804" y="1132"/>
                    </a:lnTo>
                    <a:lnTo>
                      <a:pt x="1802" y="1132"/>
                    </a:lnTo>
                    <a:lnTo>
                      <a:pt x="1800" y="1132"/>
                    </a:lnTo>
                    <a:lnTo>
                      <a:pt x="1797" y="1132"/>
                    </a:lnTo>
                    <a:lnTo>
                      <a:pt x="1797" y="1132"/>
                    </a:lnTo>
                    <a:lnTo>
                      <a:pt x="1795" y="1132"/>
                    </a:lnTo>
                    <a:lnTo>
                      <a:pt x="1792" y="1132"/>
                    </a:lnTo>
                    <a:lnTo>
                      <a:pt x="1790" y="1132"/>
                    </a:lnTo>
                    <a:lnTo>
                      <a:pt x="1788" y="1132"/>
                    </a:lnTo>
                    <a:lnTo>
                      <a:pt x="1788" y="1132"/>
                    </a:lnTo>
                    <a:lnTo>
                      <a:pt x="1785" y="1132"/>
                    </a:lnTo>
                    <a:lnTo>
                      <a:pt x="1783" y="1132"/>
                    </a:lnTo>
                    <a:lnTo>
                      <a:pt x="1781" y="1132"/>
                    </a:lnTo>
                    <a:lnTo>
                      <a:pt x="1778" y="1132"/>
                    </a:lnTo>
                    <a:lnTo>
                      <a:pt x="1778" y="1132"/>
                    </a:lnTo>
                    <a:lnTo>
                      <a:pt x="1776" y="1132"/>
                    </a:lnTo>
                    <a:lnTo>
                      <a:pt x="1774" y="1132"/>
                    </a:lnTo>
                    <a:lnTo>
                      <a:pt x="1771" y="1132"/>
                    </a:lnTo>
                    <a:lnTo>
                      <a:pt x="1771" y="1132"/>
                    </a:lnTo>
                    <a:lnTo>
                      <a:pt x="1769" y="1132"/>
                    </a:lnTo>
                    <a:lnTo>
                      <a:pt x="1766" y="1132"/>
                    </a:lnTo>
                    <a:lnTo>
                      <a:pt x="1764" y="1132"/>
                    </a:lnTo>
                    <a:lnTo>
                      <a:pt x="1762" y="1132"/>
                    </a:lnTo>
                    <a:lnTo>
                      <a:pt x="1736" y="1132"/>
                    </a:lnTo>
                    <a:lnTo>
                      <a:pt x="1736" y="1134"/>
                    </a:lnTo>
                    <a:lnTo>
                      <a:pt x="1736" y="1158"/>
                    </a:lnTo>
                    <a:lnTo>
                      <a:pt x="1733" y="1158"/>
                    </a:lnTo>
                    <a:lnTo>
                      <a:pt x="1733" y="1158"/>
                    </a:lnTo>
                    <a:lnTo>
                      <a:pt x="1731" y="1158"/>
                    </a:lnTo>
                    <a:lnTo>
                      <a:pt x="1729" y="1158"/>
                    </a:lnTo>
                    <a:lnTo>
                      <a:pt x="1726" y="1158"/>
                    </a:lnTo>
                    <a:lnTo>
                      <a:pt x="1726" y="1158"/>
                    </a:lnTo>
                    <a:lnTo>
                      <a:pt x="1724" y="1158"/>
                    </a:lnTo>
                    <a:lnTo>
                      <a:pt x="1722" y="1158"/>
                    </a:lnTo>
                    <a:lnTo>
                      <a:pt x="1719" y="1158"/>
                    </a:lnTo>
                    <a:lnTo>
                      <a:pt x="1717" y="1158"/>
                    </a:lnTo>
                    <a:lnTo>
                      <a:pt x="1717" y="1158"/>
                    </a:lnTo>
                    <a:lnTo>
                      <a:pt x="1714" y="1158"/>
                    </a:lnTo>
                    <a:lnTo>
                      <a:pt x="1712" y="1158"/>
                    </a:lnTo>
                    <a:lnTo>
                      <a:pt x="1712" y="1160"/>
                    </a:lnTo>
                    <a:lnTo>
                      <a:pt x="1712" y="1201"/>
                    </a:lnTo>
                    <a:lnTo>
                      <a:pt x="1712" y="1201"/>
                    </a:lnTo>
                    <a:lnTo>
                      <a:pt x="1710" y="1201"/>
                    </a:lnTo>
                    <a:lnTo>
                      <a:pt x="1707" y="1201"/>
                    </a:lnTo>
                    <a:lnTo>
                      <a:pt x="1705" y="1201"/>
                    </a:lnTo>
                    <a:lnTo>
                      <a:pt x="1705" y="1201"/>
                    </a:lnTo>
                    <a:lnTo>
                      <a:pt x="1703" y="1201"/>
                    </a:lnTo>
                    <a:lnTo>
                      <a:pt x="1700" y="1201"/>
                    </a:lnTo>
                    <a:lnTo>
                      <a:pt x="1698" y="1201"/>
                    </a:lnTo>
                    <a:lnTo>
                      <a:pt x="1696" y="1201"/>
                    </a:lnTo>
                    <a:lnTo>
                      <a:pt x="1696" y="1201"/>
                    </a:lnTo>
                    <a:lnTo>
                      <a:pt x="1693" y="1201"/>
                    </a:lnTo>
                    <a:lnTo>
                      <a:pt x="1691" y="1201"/>
                    </a:lnTo>
                    <a:lnTo>
                      <a:pt x="1688" y="1201"/>
                    </a:lnTo>
                    <a:lnTo>
                      <a:pt x="1686" y="1201"/>
                    </a:lnTo>
                    <a:lnTo>
                      <a:pt x="1686" y="1201"/>
                    </a:lnTo>
                    <a:lnTo>
                      <a:pt x="1684" y="1201"/>
                    </a:lnTo>
                    <a:lnTo>
                      <a:pt x="1681" y="1201"/>
                    </a:lnTo>
                    <a:lnTo>
                      <a:pt x="1679" y="1201"/>
                    </a:lnTo>
                    <a:lnTo>
                      <a:pt x="1679" y="1201"/>
                    </a:lnTo>
                    <a:lnTo>
                      <a:pt x="1677" y="1201"/>
                    </a:lnTo>
                    <a:lnTo>
                      <a:pt x="1674" y="1201"/>
                    </a:lnTo>
                    <a:lnTo>
                      <a:pt x="1672" y="1201"/>
                    </a:lnTo>
                    <a:lnTo>
                      <a:pt x="1672" y="1201"/>
                    </a:lnTo>
                    <a:lnTo>
                      <a:pt x="1670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087"/>
                    </a:lnTo>
                    <a:lnTo>
                      <a:pt x="1511" y="1127"/>
                    </a:lnTo>
                    <a:lnTo>
                      <a:pt x="1509" y="1127"/>
                    </a:lnTo>
                    <a:lnTo>
                      <a:pt x="1506" y="1127"/>
                    </a:lnTo>
                    <a:lnTo>
                      <a:pt x="1506" y="1127"/>
                    </a:lnTo>
                    <a:lnTo>
                      <a:pt x="1504" y="1127"/>
                    </a:lnTo>
                    <a:lnTo>
                      <a:pt x="1502" y="1127"/>
                    </a:lnTo>
                    <a:lnTo>
                      <a:pt x="1499" y="1127"/>
                    </a:lnTo>
                    <a:lnTo>
                      <a:pt x="1499" y="1127"/>
                    </a:lnTo>
                    <a:lnTo>
                      <a:pt x="1497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92" y="1201"/>
                    </a:lnTo>
                    <a:lnTo>
                      <a:pt x="1490" y="1201"/>
                    </a:lnTo>
                    <a:lnTo>
                      <a:pt x="1490" y="1201"/>
                    </a:lnTo>
                    <a:lnTo>
                      <a:pt x="1487" y="1201"/>
                    </a:lnTo>
                    <a:lnTo>
                      <a:pt x="1485" y="1201"/>
                    </a:lnTo>
                    <a:lnTo>
                      <a:pt x="1483" y="1201"/>
                    </a:lnTo>
                    <a:lnTo>
                      <a:pt x="1480" y="1201"/>
                    </a:lnTo>
                    <a:lnTo>
                      <a:pt x="1480" y="1201"/>
                    </a:lnTo>
                    <a:lnTo>
                      <a:pt x="1478" y="1201"/>
                    </a:lnTo>
                    <a:lnTo>
                      <a:pt x="1476" y="1201"/>
                    </a:lnTo>
                    <a:lnTo>
                      <a:pt x="1473" y="1201"/>
                    </a:lnTo>
                    <a:lnTo>
                      <a:pt x="1471" y="1201"/>
                    </a:lnTo>
                    <a:lnTo>
                      <a:pt x="1471" y="1201"/>
                    </a:lnTo>
                    <a:lnTo>
                      <a:pt x="1469" y="1201"/>
                    </a:lnTo>
                    <a:lnTo>
                      <a:pt x="1466" y="1201"/>
                    </a:lnTo>
                    <a:lnTo>
                      <a:pt x="1464" y="1201"/>
                    </a:lnTo>
                    <a:lnTo>
                      <a:pt x="1464" y="1201"/>
                    </a:lnTo>
                    <a:lnTo>
                      <a:pt x="1461" y="1201"/>
                    </a:lnTo>
                    <a:lnTo>
                      <a:pt x="1459" y="1201"/>
                    </a:lnTo>
                    <a:lnTo>
                      <a:pt x="1457" y="1201"/>
                    </a:lnTo>
                    <a:lnTo>
                      <a:pt x="1454" y="1201"/>
                    </a:lnTo>
                    <a:lnTo>
                      <a:pt x="1454" y="1201"/>
                    </a:lnTo>
                    <a:lnTo>
                      <a:pt x="1452" y="1201"/>
                    </a:lnTo>
                    <a:lnTo>
                      <a:pt x="1450" y="1201"/>
                    </a:lnTo>
                    <a:lnTo>
                      <a:pt x="1447" y="1201"/>
                    </a:lnTo>
                    <a:lnTo>
                      <a:pt x="1447" y="1201"/>
                    </a:lnTo>
                    <a:lnTo>
                      <a:pt x="1447" y="1175"/>
                    </a:lnTo>
                    <a:lnTo>
                      <a:pt x="1447" y="115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756"/>
                    </a:lnTo>
                    <a:lnTo>
                      <a:pt x="1057" y="829"/>
                    </a:lnTo>
                    <a:lnTo>
                      <a:pt x="1055" y="829"/>
                    </a:lnTo>
                    <a:lnTo>
                      <a:pt x="1052" y="829"/>
                    </a:lnTo>
                    <a:lnTo>
                      <a:pt x="1050" y="829"/>
                    </a:lnTo>
                    <a:lnTo>
                      <a:pt x="1050" y="829"/>
                    </a:lnTo>
                    <a:lnTo>
                      <a:pt x="1048" y="829"/>
                    </a:lnTo>
                    <a:lnTo>
                      <a:pt x="1045" y="829"/>
                    </a:lnTo>
                    <a:lnTo>
                      <a:pt x="1043" y="829"/>
                    </a:lnTo>
                    <a:lnTo>
                      <a:pt x="1041" y="829"/>
                    </a:lnTo>
                    <a:lnTo>
                      <a:pt x="1041" y="829"/>
                    </a:lnTo>
                    <a:lnTo>
                      <a:pt x="1038" y="829"/>
                    </a:lnTo>
                    <a:lnTo>
                      <a:pt x="1036" y="829"/>
                    </a:lnTo>
                    <a:lnTo>
                      <a:pt x="1033" y="829"/>
                    </a:lnTo>
                    <a:lnTo>
                      <a:pt x="1033" y="829"/>
                    </a:lnTo>
                    <a:lnTo>
                      <a:pt x="1031" y="829"/>
                    </a:lnTo>
                    <a:lnTo>
                      <a:pt x="1029" y="829"/>
                    </a:lnTo>
                    <a:lnTo>
                      <a:pt x="1026" y="829"/>
                    </a:lnTo>
                    <a:lnTo>
                      <a:pt x="1024" y="829"/>
                    </a:lnTo>
                    <a:lnTo>
                      <a:pt x="1024" y="829"/>
                    </a:lnTo>
                    <a:lnTo>
                      <a:pt x="1022" y="829"/>
                    </a:lnTo>
                    <a:lnTo>
                      <a:pt x="1019" y="829"/>
                    </a:lnTo>
                    <a:lnTo>
                      <a:pt x="1017" y="829"/>
                    </a:lnTo>
                    <a:lnTo>
                      <a:pt x="1015" y="829"/>
                    </a:lnTo>
                    <a:lnTo>
                      <a:pt x="1015" y="829"/>
                    </a:lnTo>
                    <a:lnTo>
                      <a:pt x="1012" y="829"/>
                    </a:lnTo>
                    <a:lnTo>
                      <a:pt x="1010" y="829"/>
                    </a:lnTo>
                    <a:lnTo>
                      <a:pt x="1007" y="829"/>
                    </a:lnTo>
                    <a:lnTo>
                      <a:pt x="1007" y="829"/>
                    </a:lnTo>
                    <a:lnTo>
                      <a:pt x="1005" y="829"/>
                    </a:lnTo>
                    <a:lnTo>
                      <a:pt x="1003" y="829"/>
                    </a:lnTo>
                    <a:lnTo>
                      <a:pt x="1000" y="829"/>
                    </a:lnTo>
                    <a:lnTo>
                      <a:pt x="998" y="829"/>
                    </a:lnTo>
                    <a:lnTo>
                      <a:pt x="998" y="829"/>
                    </a:lnTo>
                    <a:lnTo>
                      <a:pt x="996" y="829"/>
                    </a:lnTo>
                    <a:lnTo>
                      <a:pt x="993" y="829"/>
                    </a:lnTo>
                    <a:lnTo>
                      <a:pt x="991" y="829"/>
                    </a:lnTo>
                    <a:lnTo>
                      <a:pt x="989" y="829"/>
                    </a:lnTo>
                    <a:lnTo>
                      <a:pt x="989" y="829"/>
                    </a:lnTo>
                    <a:lnTo>
                      <a:pt x="986" y="829"/>
                    </a:lnTo>
                    <a:lnTo>
                      <a:pt x="984" y="829"/>
                    </a:lnTo>
                    <a:lnTo>
                      <a:pt x="854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51" y="1070"/>
                    </a:lnTo>
                    <a:lnTo>
                      <a:pt x="849" y="1070"/>
                    </a:lnTo>
                    <a:lnTo>
                      <a:pt x="847" y="1070"/>
                    </a:lnTo>
                    <a:lnTo>
                      <a:pt x="844" y="1070"/>
                    </a:lnTo>
                    <a:lnTo>
                      <a:pt x="844" y="1070"/>
                    </a:lnTo>
                    <a:lnTo>
                      <a:pt x="842" y="1070"/>
                    </a:lnTo>
                    <a:lnTo>
                      <a:pt x="840" y="1070"/>
                    </a:lnTo>
                    <a:lnTo>
                      <a:pt x="837" y="1070"/>
                    </a:lnTo>
                    <a:lnTo>
                      <a:pt x="837" y="1070"/>
                    </a:lnTo>
                    <a:lnTo>
                      <a:pt x="835" y="1070"/>
                    </a:lnTo>
                    <a:lnTo>
                      <a:pt x="832" y="1070"/>
                    </a:lnTo>
                    <a:lnTo>
                      <a:pt x="830" y="1070"/>
                    </a:lnTo>
                    <a:lnTo>
                      <a:pt x="828" y="1070"/>
                    </a:lnTo>
                    <a:lnTo>
                      <a:pt x="828" y="1070"/>
                    </a:lnTo>
                    <a:lnTo>
                      <a:pt x="825" y="1070"/>
                    </a:lnTo>
                    <a:lnTo>
                      <a:pt x="823" y="1070"/>
                    </a:lnTo>
                    <a:lnTo>
                      <a:pt x="821" y="1070"/>
                    </a:lnTo>
                    <a:lnTo>
                      <a:pt x="818" y="1070"/>
                    </a:lnTo>
                    <a:lnTo>
                      <a:pt x="818" y="1070"/>
                    </a:lnTo>
                    <a:lnTo>
                      <a:pt x="818" y="864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550"/>
                    </a:lnTo>
                    <a:lnTo>
                      <a:pt x="350" y="618"/>
                    </a:lnTo>
                    <a:lnTo>
                      <a:pt x="348" y="618"/>
                    </a:lnTo>
                    <a:lnTo>
                      <a:pt x="345" y="618"/>
                    </a:lnTo>
                    <a:lnTo>
                      <a:pt x="343" y="618"/>
                    </a:lnTo>
                    <a:lnTo>
                      <a:pt x="343" y="618"/>
                    </a:lnTo>
                    <a:lnTo>
                      <a:pt x="341" y="618"/>
                    </a:lnTo>
                    <a:lnTo>
                      <a:pt x="338" y="618"/>
                    </a:lnTo>
                    <a:lnTo>
                      <a:pt x="336" y="618"/>
                    </a:lnTo>
                    <a:lnTo>
                      <a:pt x="336" y="618"/>
                    </a:lnTo>
                    <a:lnTo>
                      <a:pt x="334" y="618"/>
                    </a:lnTo>
                    <a:lnTo>
                      <a:pt x="331" y="618"/>
                    </a:lnTo>
                    <a:lnTo>
                      <a:pt x="329" y="618"/>
                    </a:lnTo>
                    <a:lnTo>
                      <a:pt x="326" y="618"/>
                    </a:lnTo>
                    <a:lnTo>
                      <a:pt x="326" y="618"/>
                    </a:lnTo>
                    <a:lnTo>
                      <a:pt x="324" y="618"/>
                    </a:lnTo>
                    <a:lnTo>
                      <a:pt x="322" y="618"/>
                    </a:lnTo>
                    <a:lnTo>
                      <a:pt x="319" y="618"/>
                    </a:lnTo>
                    <a:lnTo>
                      <a:pt x="317" y="618"/>
                    </a:lnTo>
                    <a:lnTo>
                      <a:pt x="317" y="618"/>
                    </a:lnTo>
                    <a:lnTo>
                      <a:pt x="315" y="618"/>
                    </a:lnTo>
                    <a:lnTo>
                      <a:pt x="312" y="618"/>
                    </a:lnTo>
                    <a:lnTo>
                      <a:pt x="310" y="618"/>
                    </a:lnTo>
                    <a:lnTo>
                      <a:pt x="310" y="618"/>
                    </a:lnTo>
                    <a:lnTo>
                      <a:pt x="308" y="618"/>
                    </a:lnTo>
                    <a:lnTo>
                      <a:pt x="305" y="618"/>
                    </a:lnTo>
                    <a:lnTo>
                      <a:pt x="303" y="618"/>
                    </a:lnTo>
                    <a:lnTo>
                      <a:pt x="300" y="618"/>
                    </a:lnTo>
                    <a:lnTo>
                      <a:pt x="300" y="618"/>
                    </a:lnTo>
                    <a:lnTo>
                      <a:pt x="298" y="618"/>
                    </a:lnTo>
                    <a:lnTo>
                      <a:pt x="296" y="618"/>
                    </a:lnTo>
                    <a:lnTo>
                      <a:pt x="293" y="618"/>
                    </a:lnTo>
                    <a:lnTo>
                      <a:pt x="293" y="618"/>
                    </a:lnTo>
                    <a:lnTo>
                      <a:pt x="291" y="618"/>
                    </a:lnTo>
                    <a:lnTo>
                      <a:pt x="289" y="618"/>
                    </a:lnTo>
                    <a:lnTo>
                      <a:pt x="286" y="618"/>
                    </a:lnTo>
                    <a:lnTo>
                      <a:pt x="284" y="618"/>
                    </a:lnTo>
                    <a:lnTo>
                      <a:pt x="284" y="618"/>
                    </a:lnTo>
                    <a:lnTo>
                      <a:pt x="282" y="618"/>
                    </a:lnTo>
                    <a:lnTo>
                      <a:pt x="144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142" y="1454"/>
                    </a:lnTo>
                    <a:lnTo>
                      <a:pt x="140" y="1454"/>
                    </a:lnTo>
                    <a:lnTo>
                      <a:pt x="140" y="1454"/>
                    </a:lnTo>
                    <a:lnTo>
                      <a:pt x="137" y="1454"/>
                    </a:lnTo>
                    <a:lnTo>
                      <a:pt x="135" y="1454"/>
                    </a:lnTo>
                    <a:lnTo>
                      <a:pt x="133" y="1454"/>
                    </a:lnTo>
                    <a:lnTo>
                      <a:pt x="130" y="1454"/>
                    </a:lnTo>
                    <a:lnTo>
                      <a:pt x="130" y="1454"/>
                    </a:lnTo>
                    <a:lnTo>
                      <a:pt x="128" y="1454"/>
                    </a:lnTo>
                    <a:lnTo>
                      <a:pt x="126" y="1454"/>
                    </a:lnTo>
                    <a:lnTo>
                      <a:pt x="123" y="1454"/>
                    </a:lnTo>
                    <a:lnTo>
                      <a:pt x="123" y="1454"/>
                    </a:lnTo>
                    <a:lnTo>
                      <a:pt x="121" y="1454"/>
                    </a:lnTo>
                    <a:lnTo>
                      <a:pt x="118" y="1454"/>
                    </a:lnTo>
                    <a:lnTo>
                      <a:pt x="116" y="1454"/>
                    </a:lnTo>
                    <a:lnTo>
                      <a:pt x="114" y="1454"/>
                    </a:lnTo>
                    <a:lnTo>
                      <a:pt x="114" y="1454"/>
                    </a:lnTo>
                    <a:lnTo>
                      <a:pt x="111" y="1454"/>
                    </a:lnTo>
                    <a:lnTo>
                      <a:pt x="109" y="1454"/>
                    </a:lnTo>
                    <a:lnTo>
                      <a:pt x="107" y="1454"/>
                    </a:lnTo>
                    <a:lnTo>
                      <a:pt x="104" y="1454"/>
                    </a:lnTo>
                    <a:lnTo>
                      <a:pt x="104" y="1454"/>
                    </a:lnTo>
                    <a:lnTo>
                      <a:pt x="102" y="1454"/>
                    </a:lnTo>
                    <a:lnTo>
                      <a:pt x="99" y="1454"/>
                    </a:lnTo>
                    <a:lnTo>
                      <a:pt x="97" y="1454"/>
                    </a:lnTo>
                    <a:lnTo>
                      <a:pt x="97" y="1454"/>
                    </a:lnTo>
                    <a:lnTo>
                      <a:pt x="95" y="1454"/>
                    </a:lnTo>
                    <a:lnTo>
                      <a:pt x="92" y="1454"/>
                    </a:lnTo>
                    <a:lnTo>
                      <a:pt x="90" y="1454"/>
                    </a:lnTo>
                    <a:lnTo>
                      <a:pt x="88" y="1454"/>
                    </a:lnTo>
                    <a:lnTo>
                      <a:pt x="88" y="1454"/>
                    </a:lnTo>
                    <a:lnTo>
                      <a:pt x="85" y="1454"/>
                    </a:lnTo>
                    <a:lnTo>
                      <a:pt x="83" y="1454"/>
                    </a:lnTo>
                    <a:lnTo>
                      <a:pt x="81" y="1454"/>
                    </a:lnTo>
                    <a:lnTo>
                      <a:pt x="78" y="1454"/>
                    </a:lnTo>
                    <a:lnTo>
                      <a:pt x="78" y="1454"/>
                    </a:lnTo>
                    <a:lnTo>
                      <a:pt x="76" y="1454"/>
                    </a:lnTo>
                    <a:lnTo>
                      <a:pt x="73" y="1454"/>
                    </a:lnTo>
                    <a:lnTo>
                      <a:pt x="71" y="1454"/>
                    </a:lnTo>
                    <a:lnTo>
                      <a:pt x="71" y="1454"/>
                    </a:lnTo>
                    <a:lnTo>
                      <a:pt x="69" y="1454"/>
                    </a:lnTo>
                    <a:lnTo>
                      <a:pt x="66" y="1454"/>
                    </a:lnTo>
                    <a:lnTo>
                      <a:pt x="64" y="1454"/>
                    </a:lnTo>
                    <a:lnTo>
                      <a:pt x="62" y="1454"/>
                    </a:lnTo>
                    <a:lnTo>
                      <a:pt x="62" y="1454"/>
                    </a:lnTo>
                    <a:lnTo>
                      <a:pt x="59" y="1454"/>
                    </a:lnTo>
                    <a:lnTo>
                      <a:pt x="57" y="1454"/>
                    </a:lnTo>
                    <a:lnTo>
                      <a:pt x="55" y="1454"/>
                    </a:lnTo>
                    <a:lnTo>
                      <a:pt x="52" y="1454"/>
                    </a:lnTo>
                    <a:lnTo>
                      <a:pt x="52" y="1454"/>
                    </a:lnTo>
                    <a:lnTo>
                      <a:pt x="50" y="1454"/>
                    </a:lnTo>
                    <a:lnTo>
                      <a:pt x="50" y="1454"/>
                    </a:lnTo>
                    <a:lnTo>
                      <a:pt x="50" y="1456"/>
                    </a:lnTo>
                    <a:lnTo>
                      <a:pt x="50" y="1534"/>
                    </a:lnTo>
                    <a:lnTo>
                      <a:pt x="47" y="1534"/>
                    </a:lnTo>
                    <a:lnTo>
                      <a:pt x="45" y="1534"/>
                    </a:lnTo>
                    <a:lnTo>
                      <a:pt x="43" y="1534"/>
                    </a:lnTo>
                    <a:lnTo>
                      <a:pt x="43" y="1534"/>
                    </a:lnTo>
                    <a:lnTo>
                      <a:pt x="40" y="1534"/>
                    </a:lnTo>
                    <a:lnTo>
                      <a:pt x="38" y="1534"/>
                    </a:lnTo>
                    <a:lnTo>
                      <a:pt x="36" y="1534"/>
                    </a:lnTo>
                    <a:lnTo>
                      <a:pt x="33" y="1534"/>
                    </a:lnTo>
                    <a:lnTo>
                      <a:pt x="33" y="1534"/>
                    </a:lnTo>
                    <a:lnTo>
                      <a:pt x="31" y="1534"/>
                    </a:lnTo>
                    <a:lnTo>
                      <a:pt x="29" y="1534"/>
                    </a:lnTo>
                    <a:lnTo>
                      <a:pt x="26" y="1534"/>
                    </a:lnTo>
                    <a:lnTo>
                      <a:pt x="26" y="1534"/>
                    </a:lnTo>
                    <a:lnTo>
                      <a:pt x="24" y="1534"/>
                    </a:lnTo>
                    <a:lnTo>
                      <a:pt x="21" y="1534"/>
                    </a:lnTo>
                    <a:lnTo>
                      <a:pt x="19" y="1534"/>
                    </a:lnTo>
                    <a:lnTo>
                      <a:pt x="17" y="1534"/>
                    </a:lnTo>
                    <a:lnTo>
                      <a:pt x="17" y="1534"/>
                    </a:lnTo>
                    <a:lnTo>
                      <a:pt x="14" y="1534"/>
                    </a:lnTo>
                    <a:lnTo>
                      <a:pt x="12" y="1534"/>
                    </a:lnTo>
                    <a:lnTo>
                      <a:pt x="10" y="1534"/>
                    </a:lnTo>
                    <a:lnTo>
                      <a:pt x="7" y="1534"/>
                    </a:lnTo>
                    <a:lnTo>
                      <a:pt x="7" y="1534"/>
                    </a:lnTo>
                    <a:lnTo>
                      <a:pt x="5" y="1534"/>
                    </a:lnTo>
                    <a:lnTo>
                      <a:pt x="3" y="1534"/>
                    </a:lnTo>
                    <a:lnTo>
                      <a:pt x="0" y="1534"/>
                    </a:lnTo>
                    <a:lnTo>
                      <a:pt x="0" y="1534"/>
                    </a:lnTo>
                    <a:lnTo>
                      <a:pt x="0" y="1537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512"/>
                    </a:lnTo>
                    <a:lnTo>
                      <a:pt x="7072" y="1693"/>
                    </a:lnTo>
                    <a:lnTo>
                      <a:pt x="7070" y="1693"/>
                    </a:lnTo>
                    <a:lnTo>
                      <a:pt x="7070" y="1693"/>
                    </a:lnTo>
                    <a:lnTo>
                      <a:pt x="7068" y="1693"/>
                    </a:lnTo>
                    <a:lnTo>
                      <a:pt x="7065" y="1693"/>
                    </a:lnTo>
                    <a:lnTo>
                      <a:pt x="7063" y="1693"/>
                    </a:lnTo>
                    <a:lnTo>
                      <a:pt x="7063" y="1693"/>
                    </a:lnTo>
                    <a:lnTo>
                      <a:pt x="7061" y="1693"/>
                    </a:lnTo>
                    <a:lnTo>
                      <a:pt x="7058" y="1693"/>
                    </a:lnTo>
                    <a:lnTo>
                      <a:pt x="7056" y="1693"/>
                    </a:lnTo>
                    <a:lnTo>
                      <a:pt x="7054" y="1693"/>
                    </a:lnTo>
                    <a:lnTo>
                      <a:pt x="7054" y="1693"/>
                    </a:lnTo>
                    <a:lnTo>
                      <a:pt x="7051" y="1693"/>
                    </a:lnTo>
                    <a:lnTo>
                      <a:pt x="7049" y="1693"/>
                    </a:lnTo>
                    <a:lnTo>
                      <a:pt x="7046" y="1693"/>
                    </a:lnTo>
                    <a:lnTo>
                      <a:pt x="7046" y="1693"/>
                    </a:lnTo>
                    <a:lnTo>
                      <a:pt x="7044" y="1693"/>
                    </a:lnTo>
                    <a:lnTo>
                      <a:pt x="7042" y="1693"/>
                    </a:lnTo>
                    <a:lnTo>
                      <a:pt x="7039" y="1693"/>
                    </a:lnTo>
                    <a:lnTo>
                      <a:pt x="7037" y="1693"/>
                    </a:lnTo>
                    <a:lnTo>
                      <a:pt x="7037" y="1693"/>
                    </a:lnTo>
                    <a:lnTo>
                      <a:pt x="7035" y="1693"/>
                    </a:lnTo>
                    <a:lnTo>
                      <a:pt x="7032" y="1693"/>
                    </a:lnTo>
                    <a:lnTo>
                      <a:pt x="7030" y="1693"/>
                    </a:lnTo>
                    <a:lnTo>
                      <a:pt x="7030" y="1693"/>
                    </a:lnTo>
                    <a:lnTo>
                      <a:pt x="7030" y="1094"/>
                    </a:lnTo>
                    <a:lnTo>
                      <a:pt x="7028" y="1094"/>
                    </a:lnTo>
                    <a:lnTo>
                      <a:pt x="7028" y="1094"/>
                    </a:lnTo>
                    <a:lnTo>
                      <a:pt x="7025" y="1094"/>
                    </a:lnTo>
                    <a:lnTo>
                      <a:pt x="7023" y="1094"/>
                    </a:lnTo>
                    <a:lnTo>
                      <a:pt x="7020" y="1094"/>
                    </a:lnTo>
                    <a:lnTo>
                      <a:pt x="7020" y="1094"/>
                    </a:lnTo>
                    <a:lnTo>
                      <a:pt x="7018" y="1094"/>
                    </a:lnTo>
                    <a:lnTo>
                      <a:pt x="7016" y="1094"/>
                    </a:lnTo>
                    <a:lnTo>
                      <a:pt x="7013" y="1094"/>
                    </a:lnTo>
                    <a:lnTo>
                      <a:pt x="7011" y="1094"/>
                    </a:lnTo>
                    <a:lnTo>
                      <a:pt x="7011" y="1094"/>
                    </a:lnTo>
                    <a:lnTo>
                      <a:pt x="7009" y="1094"/>
                    </a:lnTo>
                    <a:lnTo>
                      <a:pt x="7006" y="1094"/>
                    </a:lnTo>
                    <a:lnTo>
                      <a:pt x="7004" y="1094"/>
                    </a:lnTo>
                    <a:lnTo>
                      <a:pt x="7001" y="1094"/>
                    </a:lnTo>
                    <a:lnTo>
                      <a:pt x="7001" y="1094"/>
                    </a:lnTo>
                    <a:lnTo>
                      <a:pt x="6999" y="1094"/>
                    </a:lnTo>
                    <a:lnTo>
                      <a:pt x="6997" y="1094"/>
                    </a:lnTo>
                    <a:lnTo>
                      <a:pt x="6994" y="1094"/>
                    </a:lnTo>
                    <a:lnTo>
                      <a:pt x="6994" y="1094"/>
                    </a:lnTo>
                    <a:lnTo>
                      <a:pt x="6992" y="1094"/>
                    </a:lnTo>
                    <a:lnTo>
                      <a:pt x="6990" y="1094"/>
                    </a:lnTo>
                    <a:lnTo>
                      <a:pt x="6987" y="1094"/>
                    </a:lnTo>
                    <a:lnTo>
                      <a:pt x="6985" y="1094"/>
                    </a:lnTo>
                    <a:lnTo>
                      <a:pt x="6985" y="1094"/>
                    </a:lnTo>
                    <a:lnTo>
                      <a:pt x="6983" y="1094"/>
                    </a:lnTo>
                    <a:lnTo>
                      <a:pt x="6980" y="1094"/>
                    </a:lnTo>
                    <a:lnTo>
                      <a:pt x="6978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5"/>
                    </a:lnTo>
                    <a:lnTo>
                      <a:pt x="6486" y="935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53"/>
                    </a:lnTo>
                    <a:lnTo>
                      <a:pt x="6446" y="879"/>
                    </a:lnTo>
                    <a:lnTo>
                      <a:pt x="6443" y="879"/>
                    </a:lnTo>
                    <a:lnTo>
                      <a:pt x="6441" y="879"/>
                    </a:lnTo>
                    <a:lnTo>
                      <a:pt x="6439" y="879"/>
                    </a:lnTo>
                    <a:lnTo>
                      <a:pt x="6439" y="879"/>
                    </a:lnTo>
                    <a:lnTo>
                      <a:pt x="6436" y="879"/>
                    </a:lnTo>
                    <a:lnTo>
                      <a:pt x="6436" y="881"/>
                    </a:lnTo>
                    <a:lnTo>
                      <a:pt x="6436" y="895"/>
                    </a:lnTo>
                    <a:lnTo>
                      <a:pt x="6436" y="895"/>
                    </a:lnTo>
                    <a:lnTo>
                      <a:pt x="6434" y="895"/>
                    </a:lnTo>
                    <a:lnTo>
                      <a:pt x="6432" y="895"/>
                    </a:lnTo>
                    <a:lnTo>
                      <a:pt x="6432" y="898"/>
                    </a:lnTo>
                    <a:lnTo>
                      <a:pt x="6425" y="935"/>
                    </a:lnTo>
                    <a:lnTo>
                      <a:pt x="6422" y="935"/>
                    </a:lnTo>
                    <a:lnTo>
                      <a:pt x="6420" y="935"/>
                    </a:lnTo>
                    <a:lnTo>
                      <a:pt x="6420" y="935"/>
                    </a:lnTo>
                    <a:lnTo>
                      <a:pt x="6417" y="935"/>
                    </a:lnTo>
                    <a:lnTo>
                      <a:pt x="6417" y="935"/>
                    </a:lnTo>
                    <a:lnTo>
                      <a:pt x="6415" y="935"/>
                    </a:lnTo>
                    <a:lnTo>
                      <a:pt x="6413" y="935"/>
                    </a:lnTo>
                    <a:lnTo>
                      <a:pt x="6413" y="935"/>
                    </a:lnTo>
                    <a:lnTo>
                      <a:pt x="6410" y="935"/>
                    </a:lnTo>
                    <a:lnTo>
                      <a:pt x="6408" y="935"/>
                    </a:lnTo>
                    <a:lnTo>
                      <a:pt x="6408" y="935"/>
                    </a:lnTo>
                    <a:lnTo>
                      <a:pt x="6406" y="935"/>
                    </a:lnTo>
                    <a:lnTo>
                      <a:pt x="6406" y="935"/>
                    </a:lnTo>
                    <a:lnTo>
                      <a:pt x="6403" y="935"/>
                    </a:lnTo>
                    <a:lnTo>
                      <a:pt x="6401" y="935"/>
                    </a:lnTo>
                    <a:lnTo>
                      <a:pt x="6401" y="935"/>
                    </a:lnTo>
                    <a:lnTo>
                      <a:pt x="6399" y="935"/>
                    </a:lnTo>
                    <a:lnTo>
                      <a:pt x="6399" y="935"/>
                    </a:lnTo>
                    <a:lnTo>
                      <a:pt x="6396" y="935"/>
                    </a:lnTo>
                    <a:lnTo>
                      <a:pt x="6394" y="935"/>
                    </a:lnTo>
                    <a:lnTo>
                      <a:pt x="6394" y="935"/>
                    </a:lnTo>
                    <a:lnTo>
                      <a:pt x="6391" y="935"/>
                    </a:lnTo>
                    <a:lnTo>
                      <a:pt x="6391" y="935"/>
                    </a:lnTo>
                    <a:lnTo>
                      <a:pt x="6389" y="935"/>
                    </a:lnTo>
                    <a:lnTo>
                      <a:pt x="6387" y="935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87" y="1130"/>
                    </a:lnTo>
                    <a:lnTo>
                      <a:pt x="6384" y="1130"/>
                    </a:lnTo>
                    <a:lnTo>
                      <a:pt x="6382" y="1130"/>
                    </a:lnTo>
                    <a:lnTo>
                      <a:pt x="6380" y="1130"/>
                    </a:lnTo>
                    <a:lnTo>
                      <a:pt x="6377" y="1130"/>
                    </a:lnTo>
                    <a:lnTo>
                      <a:pt x="6377" y="1130"/>
                    </a:lnTo>
                    <a:lnTo>
                      <a:pt x="6375" y="1130"/>
                    </a:lnTo>
                    <a:lnTo>
                      <a:pt x="6373" y="1130"/>
                    </a:lnTo>
                    <a:lnTo>
                      <a:pt x="6370" y="1130"/>
                    </a:lnTo>
                    <a:lnTo>
                      <a:pt x="6370" y="1130"/>
                    </a:lnTo>
                    <a:lnTo>
                      <a:pt x="6370" y="1132"/>
                    </a:lnTo>
                    <a:lnTo>
                      <a:pt x="6370" y="1364"/>
                    </a:lnTo>
                    <a:lnTo>
                      <a:pt x="6368" y="1364"/>
                    </a:lnTo>
                    <a:lnTo>
                      <a:pt x="6365" y="1364"/>
                    </a:lnTo>
                    <a:lnTo>
                      <a:pt x="6365" y="1364"/>
                    </a:lnTo>
                    <a:lnTo>
                      <a:pt x="6363" y="1364"/>
                    </a:lnTo>
                    <a:lnTo>
                      <a:pt x="6361" y="1364"/>
                    </a:lnTo>
                    <a:lnTo>
                      <a:pt x="6358" y="1364"/>
                    </a:lnTo>
                    <a:lnTo>
                      <a:pt x="6358" y="1364"/>
                    </a:lnTo>
                    <a:lnTo>
                      <a:pt x="6356" y="1364"/>
                    </a:lnTo>
                    <a:lnTo>
                      <a:pt x="6354" y="1364"/>
                    </a:lnTo>
                    <a:lnTo>
                      <a:pt x="6351" y="1364"/>
                    </a:lnTo>
                    <a:lnTo>
                      <a:pt x="6349" y="1364"/>
                    </a:lnTo>
                    <a:lnTo>
                      <a:pt x="6349" y="1364"/>
                    </a:lnTo>
                    <a:lnTo>
                      <a:pt x="6347" y="1364"/>
                    </a:lnTo>
                    <a:lnTo>
                      <a:pt x="6344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342" y="1210"/>
                    </a:lnTo>
                    <a:lnTo>
                      <a:pt x="6339" y="1210"/>
                    </a:lnTo>
                    <a:lnTo>
                      <a:pt x="6339" y="1210"/>
                    </a:lnTo>
                    <a:lnTo>
                      <a:pt x="6337" y="1210"/>
                    </a:lnTo>
                    <a:lnTo>
                      <a:pt x="6335" y="1210"/>
                    </a:lnTo>
                    <a:lnTo>
                      <a:pt x="6332" y="1210"/>
                    </a:lnTo>
                    <a:lnTo>
                      <a:pt x="6332" y="1210"/>
                    </a:lnTo>
                    <a:lnTo>
                      <a:pt x="6330" y="1210"/>
                    </a:lnTo>
                    <a:lnTo>
                      <a:pt x="6328" y="1210"/>
                    </a:lnTo>
                    <a:lnTo>
                      <a:pt x="6325" y="1210"/>
                    </a:lnTo>
                    <a:lnTo>
                      <a:pt x="6323" y="1210"/>
                    </a:lnTo>
                    <a:lnTo>
                      <a:pt x="6323" y="1210"/>
                    </a:lnTo>
                    <a:lnTo>
                      <a:pt x="6321" y="1210"/>
                    </a:lnTo>
                    <a:lnTo>
                      <a:pt x="6318" y="1210"/>
                    </a:lnTo>
                    <a:lnTo>
                      <a:pt x="6316" y="1210"/>
                    </a:lnTo>
                    <a:lnTo>
                      <a:pt x="6313" y="1210"/>
                    </a:lnTo>
                    <a:lnTo>
                      <a:pt x="6313" y="1210"/>
                    </a:lnTo>
                    <a:lnTo>
                      <a:pt x="6311" y="1210"/>
                    </a:lnTo>
                    <a:lnTo>
                      <a:pt x="6309" y="1210"/>
                    </a:lnTo>
                    <a:lnTo>
                      <a:pt x="6306" y="1210"/>
                    </a:lnTo>
                    <a:lnTo>
                      <a:pt x="6306" y="1210"/>
                    </a:lnTo>
                    <a:lnTo>
                      <a:pt x="6304" y="1210"/>
                    </a:lnTo>
                    <a:lnTo>
                      <a:pt x="6302" y="1210"/>
                    </a:lnTo>
                    <a:lnTo>
                      <a:pt x="6299" y="1210"/>
                    </a:lnTo>
                    <a:lnTo>
                      <a:pt x="6297" y="1210"/>
                    </a:lnTo>
                    <a:lnTo>
                      <a:pt x="6297" y="1210"/>
                    </a:lnTo>
                    <a:lnTo>
                      <a:pt x="6295" y="1210"/>
                    </a:lnTo>
                    <a:lnTo>
                      <a:pt x="6292" y="1210"/>
                    </a:lnTo>
                    <a:lnTo>
                      <a:pt x="6290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992"/>
                    </a:lnTo>
                    <a:lnTo>
                      <a:pt x="5997" y="1042"/>
                    </a:lnTo>
                    <a:lnTo>
                      <a:pt x="5994" y="1042"/>
                    </a:lnTo>
                    <a:lnTo>
                      <a:pt x="5992" y="1042"/>
                    </a:lnTo>
                    <a:lnTo>
                      <a:pt x="5992" y="1042"/>
                    </a:lnTo>
                    <a:lnTo>
                      <a:pt x="5989" y="1042"/>
                    </a:lnTo>
                    <a:lnTo>
                      <a:pt x="5987" y="1042"/>
                    </a:lnTo>
                    <a:lnTo>
                      <a:pt x="5985" y="1042"/>
                    </a:lnTo>
                    <a:lnTo>
                      <a:pt x="5985" y="1042"/>
                    </a:lnTo>
                    <a:lnTo>
                      <a:pt x="5982" y="1042"/>
                    </a:lnTo>
                    <a:lnTo>
                      <a:pt x="5980" y="1042"/>
                    </a:lnTo>
                    <a:lnTo>
                      <a:pt x="5978" y="1042"/>
                    </a:lnTo>
                    <a:lnTo>
                      <a:pt x="5978" y="1044"/>
                    </a:lnTo>
                    <a:lnTo>
                      <a:pt x="5978" y="1130"/>
                    </a:lnTo>
                    <a:lnTo>
                      <a:pt x="5978" y="1130"/>
                    </a:lnTo>
                    <a:lnTo>
                      <a:pt x="5975" y="1130"/>
                    </a:lnTo>
                    <a:lnTo>
                      <a:pt x="5973" y="1130"/>
                    </a:lnTo>
                    <a:lnTo>
                      <a:pt x="5971" y="1130"/>
                    </a:lnTo>
                    <a:lnTo>
                      <a:pt x="5968" y="1130"/>
                    </a:lnTo>
                    <a:lnTo>
                      <a:pt x="5968" y="1130"/>
                    </a:lnTo>
                    <a:lnTo>
                      <a:pt x="5966" y="1130"/>
                    </a:lnTo>
                    <a:lnTo>
                      <a:pt x="5963" y="1130"/>
                    </a:lnTo>
                    <a:lnTo>
                      <a:pt x="5961" y="1130"/>
                    </a:lnTo>
                    <a:lnTo>
                      <a:pt x="5959" y="1130"/>
                    </a:lnTo>
                    <a:lnTo>
                      <a:pt x="5959" y="1130"/>
                    </a:lnTo>
                    <a:lnTo>
                      <a:pt x="5956" y="1130"/>
                    </a:lnTo>
                    <a:lnTo>
                      <a:pt x="5954" y="1130"/>
                    </a:lnTo>
                    <a:lnTo>
                      <a:pt x="5952" y="1130"/>
                    </a:lnTo>
                    <a:lnTo>
                      <a:pt x="5952" y="1130"/>
                    </a:lnTo>
                    <a:lnTo>
                      <a:pt x="5949" y="1130"/>
                    </a:lnTo>
                    <a:lnTo>
                      <a:pt x="5947" y="1130"/>
                    </a:lnTo>
                    <a:lnTo>
                      <a:pt x="5945" y="1130"/>
                    </a:lnTo>
                    <a:lnTo>
                      <a:pt x="5942" y="1130"/>
                    </a:lnTo>
                    <a:lnTo>
                      <a:pt x="5942" y="1130"/>
                    </a:lnTo>
                    <a:lnTo>
                      <a:pt x="5940" y="1130"/>
                    </a:lnTo>
                    <a:lnTo>
                      <a:pt x="5937" y="1130"/>
                    </a:lnTo>
                    <a:lnTo>
                      <a:pt x="5935" y="1130"/>
                    </a:lnTo>
                    <a:lnTo>
                      <a:pt x="5935" y="1130"/>
                    </a:lnTo>
                    <a:lnTo>
                      <a:pt x="5933" y="1130"/>
                    </a:lnTo>
                    <a:lnTo>
                      <a:pt x="5930" y="1130"/>
                    </a:lnTo>
                    <a:lnTo>
                      <a:pt x="5928" y="1130"/>
                    </a:lnTo>
                    <a:lnTo>
                      <a:pt x="5926" y="1130"/>
                    </a:lnTo>
                    <a:lnTo>
                      <a:pt x="5926" y="1130"/>
                    </a:lnTo>
                    <a:lnTo>
                      <a:pt x="5923" y="1130"/>
                    </a:lnTo>
                    <a:lnTo>
                      <a:pt x="5921" y="1130"/>
                    </a:lnTo>
                    <a:lnTo>
                      <a:pt x="5919" y="1130"/>
                    </a:lnTo>
                    <a:lnTo>
                      <a:pt x="5916" y="1130"/>
                    </a:lnTo>
                    <a:lnTo>
                      <a:pt x="5916" y="1130"/>
                    </a:lnTo>
                    <a:lnTo>
                      <a:pt x="5914" y="1130"/>
                    </a:lnTo>
                    <a:lnTo>
                      <a:pt x="5911" y="1130"/>
                    </a:lnTo>
                    <a:lnTo>
                      <a:pt x="5909" y="1130"/>
                    </a:lnTo>
                    <a:lnTo>
                      <a:pt x="5909" y="1130"/>
                    </a:lnTo>
                    <a:lnTo>
                      <a:pt x="5907" y="1130"/>
                    </a:lnTo>
                    <a:lnTo>
                      <a:pt x="5904" y="1130"/>
                    </a:lnTo>
                    <a:lnTo>
                      <a:pt x="5904" y="1130"/>
                    </a:lnTo>
                    <a:lnTo>
                      <a:pt x="5904" y="1132"/>
                    </a:lnTo>
                    <a:lnTo>
                      <a:pt x="5904" y="1210"/>
                    </a:lnTo>
                    <a:lnTo>
                      <a:pt x="5902" y="1210"/>
                    </a:lnTo>
                    <a:lnTo>
                      <a:pt x="5900" y="1210"/>
                    </a:lnTo>
                    <a:lnTo>
                      <a:pt x="5897" y="1210"/>
                    </a:lnTo>
                    <a:lnTo>
                      <a:pt x="5897" y="1210"/>
                    </a:lnTo>
                    <a:lnTo>
                      <a:pt x="5895" y="1210"/>
                    </a:lnTo>
                    <a:lnTo>
                      <a:pt x="5893" y="1210"/>
                    </a:lnTo>
                    <a:lnTo>
                      <a:pt x="5890" y="1210"/>
                    </a:lnTo>
                    <a:lnTo>
                      <a:pt x="5888" y="1210"/>
                    </a:lnTo>
                    <a:lnTo>
                      <a:pt x="5888" y="1210"/>
                    </a:lnTo>
                    <a:lnTo>
                      <a:pt x="5885" y="1210"/>
                    </a:lnTo>
                    <a:lnTo>
                      <a:pt x="5883" y="1210"/>
                    </a:lnTo>
                    <a:lnTo>
                      <a:pt x="5881" y="1210"/>
                    </a:lnTo>
                    <a:lnTo>
                      <a:pt x="5878" y="1210"/>
                    </a:lnTo>
                    <a:lnTo>
                      <a:pt x="5878" y="1210"/>
                    </a:lnTo>
                    <a:lnTo>
                      <a:pt x="5878" y="1212"/>
                    </a:lnTo>
                    <a:lnTo>
                      <a:pt x="5878" y="1326"/>
                    </a:lnTo>
                    <a:lnTo>
                      <a:pt x="5876" y="1326"/>
                    </a:lnTo>
                    <a:lnTo>
                      <a:pt x="5876" y="1326"/>
                    </a:lnTo>
                    <a:lnTo>
                      <a:pt x="5874" y="1326"/>
                    </a:lnTo>
                    <a:lnTo>
                      <a:pt x="5871" y="1326"/>
                    </a:lnTo>
                    <a:lnTo>
                      <a:pt x="5869" y="1326"/>
                    </a:lnTo>
                    <a:lnTo>
                      <a:pt x="5867" y="1326"/>
                    </a:lnTo>
                    <a:lnTo>
                      <a:pt x="5867" y="1326"/>
                    </a:lnTo>
                    <a:lnTo>
                      <a:pt x="5864" y="1326"/>
                    </a:lnTo>
                    <a:lnTo>
                      <a:pt x="5862" y="1326"/>
                    </a:lnTo>
                    <a:lnTo>
                      <a:pt x="5859" y="1326"/>
                    </a:lnTo>
                    <a:lnTo>
                      <a:pt x="5857" y="1326"/>
                    </a:lnTo>
                    <a:lnTo>
                      <a:pt x="5857" y="1326"/>
                    </a:lnTo>
                    <a:lnTo>
                      <a:pt x="5855" y="1326"/>
                    </a:lnTo>
                    <a:lnTo>
                      <a:pt x="5852" y="1326"/>
                    </a:lnTo>
                    <a:lnTo>
                      <a:pt x="5850" y="1326"/>
                    </a:lnTo>
                    <a:lnTo>
                      <a:pt x="5850" y="1326"/>
                    </a:lnTo>
                    <a:lnTo>
                      <a:pt x="5848" y="1326"/>
                    </a:lnTo>
                    <a:lnTo>
                      <a:pt x="5845" y="1326"/>
                    </a:lnTo>
                    <a:lnTo>
                      <a:pt x="5843" y="1326"/>
                    </a:lnTo>
                    <a:lnTo>
                      <a:pt x="5841" y="1326"/>
                    </a:lnTo>
                    <a:lnTo>
                      <a:pt x="5841" y="1326"/>
                    </a:lnTo>
                    <a:lnTo>
                      <a:pt x="5838" y="1326"/>
                    </a:lnTo>
                    <a:lnTo>
                      <a:pt x="5836" y="1326"/>
                    </a:lnTo>
                    <a:lnTo>
                      <a:pt x="5833" y="1326"/>
                    </a:lnTo>
                    <a:lnTo>
                      <a:pt x="5831" y="1326"/>
                    </a:lnTo>
                    <a:lnTo>
                      <a:pt x="5831" y="1326"/>
                    </a:lnTo>
                    <a:lnTo>
                      <a:pt x="5829" y="1326"/>
                    </a:lnTo>
                    <a:lnTo>
                      <a:pt x="5826" y="1326"/>
                    </a:lnTo>
                    <a:lnTo>
                      <a:pt x="5824" y="1326"/>
                    </a:lnTo>
                    <a:lnTo>
                      <a:pt x="5824" y="1326"/>
                    </a:lnTo>
                    <a:lnTo>
                      <a:pt x="5822" y="1326"/>
                    </a:lnTo>
                    <a:lnTo>
                      <a:pt x="5819" y="1326"/>
                    </a:lnTo>
                    <a:lnTo>
                      <a:pt x="5817" y="1326"/>
                    </a:lnTo>
                    <a:lnTo>
                      <a:pt x="5815" y="1326"/>
                    </a:lnTo>
                    <a:lnTo>
                      <a:pt x="5815" y="1326"/>
                    </a:lnTo>
                    <a:lnTo>
                      <a:pt x="5812" y="1326"/>
                    </a:lnTo>
                    <a:lnTo>
                      <a:pt x="5810" y="1326"/>
                    </a:lnTo>
                    <a:lnTo>
                      <a:pt x="5807" y="1326"/>
                    </a:lnTo>
                    <a:lnTo>
                      <a:pt x="5807" y="1326"/>
                    </a:lnTo>
                    <a:lnTo>
                      <a:pt x="5805" y="1326"/>
                    </a:lnTo>
                    <a:lnTo>
                      <a:pt x="5803" y="1326"/>
                    </a:lnTo>
                    <a:lnTo>
                      <a:pt x="5800" y="1326"/>
                    </a:lnTo>
                    <a:lnTo>
                      <a:pt x="5798" y="1326"/>
                    </a:lnTo>
                    <a:lnTo>
                      <a:pt x="5798" y="1326"/>
                    </a:lnTo>
                    <a:lnTo>
                      <a:pt x="5796" y="1326"/>
                    </a:lnTo>
                    <a:lnTo>
                      <a:pt x="5793" y="1326"/>
                    </a:lnTo>
                    <a:lnTo>
                      <a:pt x="5791" y="1326"/>
                    </a:lnTo>
                    <a:lnTo>
                      <a:pt x="5788" y="1326"/>
                    </a:lnTo>
                    <a:lnTo>
                      <a:pt x="5788" y="1326"/>
                    </a:lnTo>
                    <a:lnTo>
                      <a:pt x="5786" y="1326"/>
                    </a:lnTo>
                    <a:lnTo>
                      <a:pt x="5784" y="1326"/>
                    </a:lnTo>
                    <a:lnTo>
                      <a:pt x="5713" y="1326"/>
                    </a:lnTo>
                    <a:lnTo>
                      <a:pt x="5713" y="1329"/>
                    </a:lnTo>
                    <a:lnTo>
                      <a:pt x="5713" y="1449"/>
                    </a:lnTo>
                    <a:lnTo>
                      <a:pt x="5710" y="1449"/>
                    </a:lnTo>
                    <a:lnTo>
                      <a:pt x="5710" y="1449"/>
                    </a:lnTo>
                    <a:lnTo>
                      <a:pt x="5708" y="1449"/>
                    </a:lnTo>
                    <a:lnTo>
                      <a:pt x="5706" y="1449"/>
                    </a:lnTo>
                    <a:lnTo>
                      <a:pt x="5703" y="1449"/>
                    </a:lnTo>
                    <a:lnTo>
                      <a:pt x="5703" y="1449"/>
                    </a:lnTo>
                    <a:lnTo>
                      <a:pt x="5701" y="1449"/>
                    </a:lnTo>
                    <a:lnTo>
                      <a:pt x="5699" y="1449"/>
                    </a:lnTo>
                    <a:lnTo>
                      <a:pt x="5696" y="1449"/>
                    </a:lnTo>
                    <a:lnTo>
                      <a:pt x="5694" y="1449"/>
                    </a:lnTo>
                    <a:lnTo>
                      <a:pt x="5694" y="1449"/>
                    </a:lnTo>
                    <a:lnTo>
                      <a:pt x="5692" y="1449"/>
                    </a:lnTo>
                    <a:lnTo>
                      <a:pt x="5689" y="1449"/>
                    </a:lnTo>
                    <a:lnTo>
                      <a:pt x="5687" y="1449"/>
                    </a:lnTo>
                    <a:lnTo>
                      <a:pt x="5684" y="1449"/>
                    </a:lnTo>
                    <a:lnTo>
                      <a:pt x="5684" y="1449"/>
                    </a:lnTo>
                    <a:lnTo>
                      <a:pt x="5682" y="1449"/>
                    </a:lnTo>
                    <a:lnTo>
                      <a:pt x="5680" y="1449"/>
                    </a:lnTo>
                    <a:lnTo>
                      <a:pt x="5677" y="1449"/>
                    </a:lnTo>
                    <a:lnTo>
                      <a:pt x="5677" y="1449"/>
                    </a:lnTo>
                    <a:lnTo>
                      <a:pt x="5675" y="1449"/>
                    </a:lnTo>
                    <a:lnTo>
                      <a:pt x="5673" y="1449"/>
                    </a:lnTo>
                    <a:lnTo>
                      <a:pt x="5670" y="1449"/>
                    </a:lnTo>
                    <a:lnTo>
                      <a:pt x="5668" y="1449"/>
                    </a:lnTo>
                    <a:lnTo>
                      <a:pt x="5668" y="1449"/>
                    </a:lnTo>
                    <a:lnTo>
                      <a:pt x="5666" y="1449"/>
                    </a:lnTo>
                    <a:lnTo>
                      <a:pt x="5666" y="1376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299" y="732"/>
                    </a:lnTo>
                    <a:lnTo>
                      <a:pt x="5297" y="732"/>
                    </a:lnTo>
                    <a:lnTo>
                      <a:pt x="5294" y="732"/>
                    </a:lnTo>
                    <a:lnTo>
                      <a:pt x="5292" y="732"/>
                    </a:lnTo>
                    <a:lnTo>
                      <a:pt x="5292" y="732"/>
                    </a:lnTo>
                    <a:lnTo>
                      <a:pt x="5290" y="732"/>
                    </a:lnTo>
                    <a:lnTo>
                      <a:pt x="5287" y="732"/>
                    </a:lnTo>
                    <a:lnTo>
                      <a:pt x="5285" y="732"/>
                    </a:lnTo>
                    <a:lnTo>
                      <a:pt x="5285" y="732"/>
                    </a:lnTo>
                    <a:lnTo>
                      <a:pt x="5282" y="732"/>
                    </a:lnTo>
                    <a:lnTo>
                      <a:pt x="5280" y="732"/>
                    </a:lnTo>
                    <a:lnTo>
                      <a:pt x="5278" y="732"/>
                    </a:lnTo>
                    <a:lnTo>
                      <a:pt x="5275" y="732"/>
                    </a:lnTo>
                    <a:lnTo>
                      <a:pt x="5275" y="732"/>
                    </a:lnTo>
                    <a:lnTo>
                      <a:pt x="5273" y="732"/>
                    </a:lnTo>
                    <a:lnTo>
                      <a:pt x="5271" y="732"/>
                    </a:lnTo>
                    <a:lnTo>
                      <a:pt x="5268" y="732"/>
                    </a:lnTo>
                    <a:lnTo>
                      <a:pt x="5268" y="732"/>
                    </a:lnTo>
                    <a:lnTo>
                      <a:pt x="5266" y="732"/>
                    </a:lnTo>
                    <a:lnTo>
                      <a:pt x="5264" y="732"/>
                    </a:lnTo>
                    <a:lnTo>
                      <a:pt x="5261" y="732"/>
                    </a:lnTo>
                    <a:lnTo>
                      <a:pt x="5259" y="732"/>
                    </a:lnTo>
                    <a:lnTo>
                      <a:pt x="5259" y="732"/>
                    </a:lnTo>
                    <a:lnTo>
                      <a:pt x="5256" y="732"/>
                    </a:lnTo>
                    <a:lnTo>
                      <a:pt x="5254" y="732"/>
                    </a:lnTo>
                    <a:lnTo>
                      <a:pt x="5252" y="732"/>
                    </a:lnTo>
                    <a:lnTo>
                      <a:pt x="5249" y="732"/>
                    </a:lnTo>
                    <a:lnTo>
                      <a:pt x="5249" y="732"/>
                    </a:lnTo>
                    <a:lnTo>
                      <a:pt x="5247" y="732"/>
                    </a:lnTo>
                    <a:lnTo>
                      <a:pt x="5245" y="732"/>
                    </a:lnTo>
                    <a:lnTo>
                      <a:pt x="5242" y="732"/>
                    </a:lnTo>
                    <a:lnTo>
                      <a:pt x="5242" y="732"/>
                    </a:lnTo>
                    <a:lnTo>
                      <a:pt x="5240" y="732"/>
                    </a:lnTo>
                    <a:lnTo>
                      <a:pt x="5238" y="732"/>
                    </a:lnTo>
                    <a:lnTo>
                      <a:pt x="5235" y="732"/>
                    </a:lnTo>
                    <a:lnTo>
                      <a:pt x="5233" y="732"/>
                    </a:lnTo>
                    <a:lnTo>
                      <a:pt x="5233" y="732"/>
                    </a:lnTo>
                    <a:lnTo>
                      <a:pt x="5230" y="732"/>
                    </a:lnTo>
                    <a:lnTo>
                      <a:pt x="5228" y="732"/>
                    </a:lnTo>
                    <a:lnTo>
                      <a:pt x="5226" y="732"/>
                    </a:lnTo>
                    <a:lnTo>
                      <a:pt x="5223" y="732"/>
                    </a:lnTo>
                    <a:lnTo>
                      <a:pt x="5223" y="732"/>
                    </a:lnTo>
                    <a:lnTo>
                      <a:pt x="5221" y="732"/>
                    </a:lnTo>
                    <a:lnTo>
                      <a:pt x="5219" y="732"/>
                    </a:lnTo>
                    <a:lnTo>
                      <a:pt x="5216" y="732"/>
                    </a:lnTo>
                    <a:lnTo>
                      <a:pt x="5216" y="732"/>
                    </a:lnTo>
                    <a:lnTo>
                      <a:pt x="5214" y="732"/>
                    </a:lnTo>
                    <a:lnTo>
                      <a:pt x="5212" y="732"/>
                    </a:lnTo>
                    <a:lnTo>
                      <a:pt x="5209" y="732"/>
                    </a:lnTo>
                    <a:lnTo>
                      <a:pt x="5207" y="732"/>
                    </a:lnTo>
                    <a:lnTo>
                      <a:pt x="5207" y="732"/>
                    </a:lnTo>
                    <a:lnTo>
                      <a:pt x="5178" y="732"/>
                    </a:lnTo>
                    <a:lnTo>
                      <a:pt x="5178" y="734"/>
                    </a:lnTo>
                    <a:lnTo>
                      <a:pt x="5178" y="973"/>
                    </a:lnTo>
                    <a:lnTo>
                      <a:pt x="5178" y="973"/>
                    </a:lnTo>
                    <a:lnTo>
                      <a:pt x="5176" y="973"/>
                    </a:lnTo>
                    <a:lnTo>
                      <a:pt x="5174" y="973"/>
                    </a:lnTo>
                    <a:lnTo>
                      <a:pt x="5171" y="973"/>
                    </a:lnTo>
                    <a:lnTo>
                      <a:pt x="5171" y="973"/>
                    </a:lnTo>
                    <a:lnTo>
                      <a:pt x="5169" y="973"/>
                    </a:lnTo>
                    <a:lnTo>
                      <a:pt x="5167" y="973"/>
                    </a:lnTo>
                    <a:lnTo>
                      <a:pt x="5164" y="973"/>
                    </a:lnTo>
                    <a:lnTo>
                      <a:pt x="5162" y="973"/>
                    </a:lnTo>
                    <a:lnTo>
                      <a:pt x="5162" y="973"/>
                    </a:lnTo>
                    <a:lnTo>
                      <a:pt x="5160" y="973"/>
                    </a:lnTo>
                    <a:lnTo>
                      <a:pt x="5157" y="973"/>
                    </a:lnTo>
                    <a:lnTo>
                      <a:pt x="5155" y="973"/>
                    </a:lnTo>
                    <a:lnTo>
                      <a:pt x="5152" y="973"/>
                    </a:lnTo>
                    <a:lnTo>
                      <a:pt x="5152" y="973"/>
                    </a:lnTo>
                    <a:lnTo>
                      <a:pt x="5150" y="973"/>
                    </a:lnTo>
                    <a:lnTo>
                      <a:pt x="5148" y="973"/>
                    </a:lnTo>
                    <a:lnTo>
                      <a:pt x="5145" y="973"/>
                    </a:lnTo>
                    <a:lnTo>
                      <a:pt x="5145" y="973"/>
                    </a:lnTo>
                    <a:lnTo>
                      <a:pt x="5143" y="973"/>
                    </a:lnTo>
                    <a:lnTo>
                      <a:pt x="5141" y="973"/>
                    </a:lnTo>
                    <a:lnTo>
                      <a:pt x="5138" y="973"/>
                    </a:lnTo>
                    <a:lnTo>
                      <a:pt x="5136" y="973"/>
                    </a:lnTo>
                    <a:lnTo>
                      <a:pt x="5136" y="973"/>
                    </a:lnTo>
                    <a:lnTo>
                      <a:pt x="5134" y="973"/>
                    </a:lnTo>
                    <a:lnTo>
                      <a:pt x="5131" y="973"/>
                    </a:lnTo>
                    <a:lnTo>
                      <a:pt x="5129" y="973"/>
                    </a:lnTo>
                    <a:lnTo>
                      <a:pt x="5126" y="973"/>
                    </a:lnTo>
                    <a:lnTo>
                      <a:pt x="5126" y="973"/>
                    </a:lnTo>
                    <a:lnTo>
                      <a:pt x="5124" y="973"/>
                    </a:lnTo>
                    <a:lnTo>
                      <a:pt x="5122" y="973"/>
                    </a:lnTo>
                    <a:lnTo>
                      <a:pt x="5119" y="973"/>
                    </a:lnTo>
                    <a:lnTo>
                      <a:pt x="5119" y="973"/>
                    </a:lnTo>
                    <a:lnTo>
                      <a:pt x="5117" y="973"/>
                    </a:lnTo>
                    <a:lnTo>
                      <a:pt x="5115" y="973"/>
                    </a:lnTo>
                    <a:lnTo>
                      <a:pt x="5112" y="973"/>
                    </a:lnTo>
                    <a:lnTo>
                      <a:pt x="5110" y="973"/>
                    </a:lnTo>
                    <a:lnTo>
                      <a:pt x="5110" y="973"/>
                    </a:lnTo>
                    <a:lnTo>
                      <a:pt x="5108" y="973"/>
                    </a:lnTo>
                    <a:lnTo>
                      <a:pt x="5105" y="973"/>
                    </a:lnTo>
                    <a:lnTo>
                      <a:pt x="5103" y="973"/>
                    </a:lnTo>
                    <a:lnTo>
                      <a:pt x="5103" y="973"/>
                    </a:lnTo>
                    <a:lnTo>
                      <a:pt x="5100" y="973"/>
                    </a:lnTo>
                    <a:lnTo>
                      <a:pt x="5098" y="973"/>
                    </a:lnTo>
                    <a:lnTo>
                      <a:pt x="5096" y="973"/>
                    </a:lnTo>
                    <a:lnTo>
                      <a:pt x="5093" y="973"/>
                    </a:lnTo>
                    <a:lnTo>
                      <a:pt x="5093" y="973"/>
                    </a:lnTo>
                    <a:lnTo>
                      <a:pt x="5091" y="973"/>
                    </a:lnTo>
                    <a:lnTo>
                      <a:pt x="5089" y="973"/>
                    </a:lnTo>
                    <a:lnTo>
                      <a:pt x="5086" y="973"/>
                    </a:lnTo>
                    <a:lnTo>
                      <a:pt x="5084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3" name="Freeform 147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close/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64" name="Freeform 148"/>
              <p:cNvSpPr>
                <a:spLocks noEditPoints="1"/>
              </p:cNvSpPr>
              <p:nvPr/>
            </p:nvSpPr>
            <p:spPr bwMode="auto">
              <a:xfrm>
                <a:off x="-3" y="1660"/>
                <a:ext cx="7567" cy="2676"/>
              </a:xfrm>
              <a:custGeom>
                <a:avLst/>
                <a:gdLst>
                  <a:gd name="T0" fmla="*/ 5188 w 7567"/>
                  <a:gd name="T1" fmla="*/ 983 h 2676"/>
                  <a:gd name="T2" fmla="*/ 5521 w 7567"/>
                  <a:gd name="T3" fmla="*/ 741 h 2676"/>
                  <a:gd name="T4" fmla="*/ 5722 w 7567"/>
                  <a:gd name="T5" fmla="*/ 1336 h 2676"/>
                  <a:gd name="T6" fmla="*/ 5978 w 7567"/>
                  <a:gd name="T7" fmla="*/ 1139 h 2676"/>
                  <a:gd name="T8" fmla="*/ 6094 w 7567"/>
                  <a:gd name="T9" fmla="*/ 1042 h 2676"/>
                  <a:gd name="T10" fmla="*/ 6271 w 7567"/>
                  <a:gd name="T11" fmla="*/ 1220 h 2676"/>
                  <a:gd name="T12" fmla="*/ 6380 w 7567"/>
                  <a:gd name="T13" fmla="*/ 1139 h 2676"/>
                  <a:gd name="T14" fmla="*/ 6446 w 7567"/>
                  <a:gd name="T15" fmla="*/ 905 h 2676"/>
                  <a:gd name="T16" fmla="*/ 6462 w 7567"/>
                  <a:gd name="T17" fmla="*/ 888 h 2676"/>
                  <a:gd name="T18" fmla="*/ 6510 w 7567"/>
                  <a:gd name="T19" fmla="*/ 1068 h 2676"/>
                  <a:gd name="T20" fmla="*/ 7030 w 7567"/>
                  <a:gd name="T21" fmla="*/ 1705 h 2676"/>
                  <a:gd name="T22" fmla="*/ 7359 w 7567"/>
                  <a:gd name="T23" fmla="*/ 1004 h 2676"/>
                  <a:gd name="T24" fmla="*/ 7489 w 7567"/>
                  <a:gd name="T25" fmla="*/ 1534 h 2676"/>
                  <a:gd name="T26" fmla="*/ 59 w 7567"/>
                  <a:gd name="T27" fmla="*/ 1534 h 2676"/>
                  <a:gd name="T28" fmla="*/ 360 w 7567"/>
                  <a:gd name="T29" fmla="*/ 557 h 2676"/>
                  <a:gd name="T30" fmla="*/ 854 w 7567"/>
                  <a:gd name="T31" fmla="*/ 1080 h 2676"/>
                  <a:gd name="T32" fmla="*/ 1242 w 7567"/>
                  <a:gd name="T33" fmla="*/ 829 h 2676"/>
                  <a:gd name="T34" fmla="*/ 1504 w 7567"/>
                  <a:gd name="T35" fmla="*/ 1201 h 2676"/>
                  <a:gd name="T36" fmla="*/ 1551 w 7567"/>
                  <a:gd name="T37" fmla="*/ 1137 h 2676"/>
                  <a:gd name="T38" fmla="*/ 1736 w 7567"/>
                  <a:gd name="T39" fmla="*/ 1168 h 2676"/>
                  <a:gd name="T40" fmla="*/ 1996 w 7567"/>
                  <a:gd name="T41" fmla="*/ 379 h 2676"/>
                  <a:gd name="T42" fmla="*/ 2138 w 7567"/>
                  <a:gd name="T43" fmla="*/ 344 h 2676"/>
                  <a:gd name="T44" fmla="*/ 2388 w 7567"/>
                  <a:gd name="T45" fmla="*/ 1099 h 2676"/>
                  <a:gd name="T46" fmla="*/ 2909 w 7567"/>
                  <a:gd name="T47" fmla="*/ 1250 h 2676"/>
                  <a:gd name="T48" fmla="*/ 3147 w 7567"/>
                  <a:gd name="T49" fmla="*/ 990 h 2676"/>
                  <a:gd name="T50" fmla="*/ 3339 w 7567"/>
                  <a:gd name="T51" fmla="*/ 668 h 2676"/>
                  <a:gd name="T52" fmla="*/ 3386 w 7567"/>
                  <a:gd name="T53" fmla="*/ 502 h 2676"/>
                  <a:gd name="T54" fmla="*/ 3523 w 7567"/>
                  <a:gd name="T55" fmla="*/ 592 h 2676"/>
                  <a:gd name="T56" fmla="*/ 3606 w 7567"/>
                  <a:gd name="T57" fmla="*/ 772 h 2676"/>
                  <a:gd name="T58" fmla="*/ 3715 w 7567"/>
                  <a:gd name="T59" fmla="*/ 1392 h 2676"/>
                  <a:gd name="T60" fmla="*/ 3828 w 7567"/>
                  <a:gd name="T61" fmla="*/ 1224 h 2676"/>
                  <a:gd name="T62" fmla="*/ 4013 w 7567"/>
                  <a:gd name="T63" fmla="*/ 647 h 2676"/>
                  <a:gd name="T64" fmla="*/ 4110 w 7567"/>
                  <a:gd name="T65" fmla="*/ 400 h 2676"/>
                  <a:gd name="T66" fmla="*/ 4176 w 7567"/>
                  <a:gd name="T67" fmla="*/ 609 h 2676"/>
                  <a:gd name="T68" fmla="*/ 4691 w 7567"/>
                  <a:gd name="T69" fmla="*/ 481 h 2676"/>
                  <a:gd name="T70" fmla="*/ 4909 w 7567"/>
                  <a:gd name="T71" fmla="*/ 183 h 2676"/>
                  <a:gd name="T72" fmla="*/ 4968 w 7567"/>
                  <a:gd name="T73" fmla="*/ 173 h 2676"/>
                  <a:gd name="T74" fmla="*/ 4899 w 7567"/>
                  <a:gd name="T75" fmla="*/ 173 h 2676"/>
                  <a:gd name="T76" fmla="*/ 4169 w 7567"/>
                  <a:gd name="T77" fmla="*/ 604 h 2676"/>
                  <a:gd name="T78" fmla="*/ 4091 w 7567"/>
                  <a:gd name="T79" fmla="*/ 391 h 2676"/>
                  <a:gd name="T80" fmla="*/ 3819 w 7567"/>
                  <a:gd name="T81" fmla="*/ 1224 h 2676"/>
                  <a:gd name="T82" fmla="*/ 3590 w 7567"/>
                  <a:gd name="T83" fmla="*/ 763 h 2676"/>
                  <a:gd name="T84" fmla="*/ 3377 w 7567"/>
                  <a:gd name="T85" fmla="*/ 502 h 2676"/>
                  <a:gd name="T86" fmla="*/ 3001 w 7567"/>
                  <a:gd name="T87" fmla="*/ 980 h 2676"/>
                  <a:gd name="T88" fmla="*/ 2388 w 7567"/>
                  <a:gd name="T89" fmla="*/ 1089 h 2676"/>
                  <a:gd name="T90" fmla="*/ 1986 w 7567"/>
                  <a:gd name="T91" fmla="*/ 370 h 2676"/>
                  <a:gd name="T92" fmla="*/ 1551 w 7567"/>
                  <a:gd name="T93" fmla="*/ 1127 h 2676"/>
                  <a:gd name="T94" fmla="*/ 1251 w 7567"/>
                  <a:gd name="T95" fmla="*/ 753 h 2676"/>
                  <a:gd name="T96" fmla="*/ 350 w 7567"/>
                  <a:gd name="T97" fmla="*/ 547 h 2676"/>
                  <a:gd name="T98" fmla="*/ 7567 w 7567"/>
                  <a:gd name="T99" fmla="*/ 1534 h 2676"/>
                  <a:gd name="T100" fmla="*/ 7072 w 7567"/>
                  <a:gd name="T101" fmla="*/ 509 h 2676"/>
                  <a:gd name="T102" fmla="*/ 6477 w 7567"/>
                  <a:gd name="T103" fmla="*/ 895 h 2676"/>
                  <a:gd name="T104" fmla="*/ 6432 w 7567"/>
                  <a:gd name="T105" fmla="*/ 895 h 2676"/>
                  <a:gd name="T106" fmla="*/ 6280 w 7567"/>
                  <a:gd name="T107" fmla="*/ 1130 h 2676"/>
                  <a:gd name="T108" fmla="*/ 5904 w 7567"/>
                  <a:gd name="T109" fmla="*/ 1130 h 2676"/>
                  <a:gd name="T110" fmla="*/ 5531 w 7567"/>
                  <a:gd name="T111" fmla="*/ 611 h 26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67" h="2676">
                    <a:moveTo>
                      <a:pt x="4970" y="10"/>
                    </a:moveTo>
                    <a:lnTo>
                      <a:pt x="4970" y="232"/>
                    </a:lnTo>
                    <a:lnTo>
                      <a:pt x="4970" y="242"/>
                    </a:lnTo>
                    <a:lnTo>
                      <a:pt x="4970" y="242"/>
                    </a:lnTo>
                    <a:lnTo>
                      <a:pt x="4970" y="973"/>
                    </a:lnTo>
                    <a:lnTo>
                      <a:pt x="4970" y="983"/>
                    </a:lnTo>
                    <a:lnTo>
                      <a:pt x="4980" y="983"/>
                    </a:lnTo>
                    <a:lnTo>
                      <a:pt x="5178" y="983"/>
                    </a:lnTo>
                    <a:lnTo>
                      <a:pt x="5188" y="983"/>
                    </a:lnTo>
                    <a:lnTo>
                      <a:pt x="5188" y="973"/>
                    </a:lnTo>
                    <a:lnTo>
                      <a:pt x="5188" y="741"/>
                    </a:lnTo>
                    <a:lnTo>
                      <a:pt x="5301" y="741"/>
                    </a:lnTo>
                    <a:lnTo>
                      <a:pt x="5311" y="741"/>
                    </a:lnTo>
                    <a:lnTo>
                      <a:pt x="5311" y="732"/>
                    </a:lnTo>
                    <a:lnTo>
                      <a:pt x="5311" y="621"/>
                    </a:lnTo>
                    <a:lnTo>
                      <a:pt x="5521" y="621"/>
                    </a:lnTo>
                    <a:lnTo>
                      <a:pt x="5521" y="732"/>
                    </a:lnTo>
                    <a:lnTo>
                      <a:pt x="5521" y="741"/>
                    </a:lnTo>
                    <a:lnTo>
                      <a:pt x="5531" y="741"/>
                    </a:lnTo>
                    <a:lnTo>
                      <a:pt x="5656" y="741"/>
                    </a:lnTo>
                    <a:lnTo>
                      <a:pt x="5656" y="1449"/>
                    </a:lnTo>
                    <a:lnTo>
                      <a:pt x="5656" y="1459"/>
                    </a:lnTo>
                    <a:lnTo>
                      <a:pt x="5666" y="1459"/>
                    </a:lnTo>
                    <a:lnTo>
                      <a:pt x="5713" y="1459"/>
                    </a:lnTo>
                    <a:lnTo>
                      <a:pt x="5722" y="1459"/>
                    </a:lnTo>
                    <a:lnTo>
                      <a:pt x="5722" y="1449"/>
                    </a:lnTo>
                    <a:lnTo>
                      <a:pt x="5722" y="1336"/>
                    </a:lnTo>
                    <a:lnTo>
                      <a:pt x="5878" y="1336"/>
                    </a:lnTo>
                    <a:lnTo>
                      <a:pt x="5888" y="1336"/>
                    </a:lnTo>
                    <a:lnTo>
                      <a:pt x="5888" y="1326"/>
                    </a:lnTo>
                    <a:lnTo>
                      <a:pt x="5888" y="1220"/>
                    </a:lnTo>
                    <a:lnTo>
                      <a:pt x="5904" y="1220"/>
                    </a:lnTo>
                    <a:lnTo>
                      <a:pt x="5914" y="1220"/>
                    </a:lnTo>
                    <a:lnTo>
                      <a:pt x="5914" y="1210"/>
                    </a:lnTo>
                    <a:lnTo>
                      <a:pt x="5914" y="1139"/>
                    </a:lnTo>
                    <a:lnTo>
                      <a:pt x="5978" y="1139"/>
                    </a:lnTo>
                    <a:lnTo>
                      <a:pt x="5987" y="1139"/>
                    </a:lnTo>
                    <a:lnTo>
                      <a:pt x="5987" y="1130"/>
                    </a:lnTo>
                    <a:lnTo>
                      <a:pt x="5987" y="1051"/>
                    </a:lnTo>
                    <a:lnTo>
                      <a:pt x="5997" y="1051"/>
                    </a:lnTo>
                    <a:lnTo>
                      <a:pt x="6006" y="1051"/>
                    </a:lnTo>
                    <a:lnTo>
                      <a:pt x="6006" y="1042"/>
                    </a:lnTo>
                    <a:lnTo>
                      <a:pt x="6006" y="999"/>
                    </a:lnTo>
                    <a:lnTo>
                      <a:pt x="6094" y="999"/>
                    </a:lnTo>
                    <a:lnTo>
                      <a:pt x="6094" y="1042"/>
                    </a:lnTo>
                    <a:lnTo>
                      <a:pt x="6094" y="1051"/>
                    </a:lnTo>
                    <a:lnTo>
                      <a:pt x="6103" y="1051"/>
                    </a:lnTo>
                    <a:lnTo>
                      <a:pt x="6112" y="1051"/>
                    </a:lnTo>
                    <a:lnTo>
                      <a:pt x="6112" y="1130"/>
                    </a:lnTo>
                    <a:lnTo>
                      <a:pt x="6112" y="1139"/>
                    </a:lnTo>
                    <a:lnTo>
                      <a:pt x="6122" y="1139"/>
                    </a:lnTo>
                    <a:lnTo>
                      <a:pt x="6271" y="1139"/>
                    </a:lnTo>
                    <a:lnTo>
                      <a:pt x="6271" y="1210"/>
                    </a:lnTo>
                    <a:lnTo>
                      <a:pt x="6271" y="1220"/>
                    </a:lnTo>
                    <a:lnTo>
                      <a:pt x="6280" y="1220"/>
                    </a:lnTo>
                    <a:lnTo>
                      <a:pt x="6335" y="1220"/>
                    </a:lnTo>
                    <a:lnTo>
                      <a:pt x="6335" y="1364"/>
                    </a:lnTo>
                    <a:lnTo>
                      <a:pt x="6335" y="1373"/>
                    </a:lnTo>
                    <a:lnTo>
                      <a:pt x="6344" y="1373"/>
                    </a:lnTo>
                    <a:lnTo>
                      <a:pt x="6370" y="1373"/>
                    </a:lnTo>
                    <a:lnTo>
                      <a:pt x="6380" y="1373"/>
                    </a:lnTo>
                    <a:lnTo>
                      <a:pt x="6380" y="1364"/>
                    </a:lnTo>
                    <a:lnTo>
                      <a:pt x="6380" y="1139"/>
                    </a:lnTo>
                    <a:lnTo>
                      <a:pt x="6387" y="1139"/>
                    </a:lnTo>
                    <a:lnTo>
                      <a:pt x="6396" y="1139"/>
                    </a:lnTo>
                    <a:lnTo>
                      <a:pt x="6396" y="1130"/>
                    </a:lnTo>
                    <a:lnTo>
                      <a:pt x="6396" y="947"/>
                    </a:lnTo>
                    <a:lnTo>
                      <a:pt x="6425" y="947"/>
                    </a:lnTo>
                    <a:lnTo>
                      <a:pt x="6432" y="947"/>
                    </a:lnTo>
                    <a:lnTo>
                      <a:pt x="6432" y="938"/>
                    </a:lnTo>
                    <a:lnTo>
                      <a:pt x="6441" y="905"/>
                    </a:lnTo>
                    <a:lnTo>
                      <a:pt x="6446" y="905"/>
                    </a:lnTo>
                    <a:lnTo>
                      <a:pt x="6446" y="895"/>
                    </a:lnTo>
                    <a:lnTo>
                      <a:pt x="6446" y="888"/>
                    </a:lnTo>
                    <a:lnTo>
                      <a:pt x="6455" y="888"/>
                    </a:lnTo>
                    <a:lnTo>
                      <a:pt x="6455" y="879"/>
                    </a:lnTo>
                    <a:lnTo>
                      <a:pt x="6455" y="860"/>
                    </a:lnTo>
                    <a:lnTo>
                      <a:pt x="6455" y="860"/>
                    </a:lnTo>
                    <a:lnTo>
                      <a:pt x="6455" y="879"/>
                    </a:lnTo>
                    <a:lnTo>
                      <a:pt x="6455" y="888"/>
                    </a:lnTo>
                    <a:lnTo>
                      <a:pt x="6462" y="888"/>
                    </a:lnTo>
                    <a:lnTo>
                      <a:pt x="6462" y="895"/>
                    </a:lnTo>
                    <a:lnTo>
                      <a:pt x="6462" y="905"/>
                    </a:lnTo>
                    <a:lnTo>
                      <a:pt x="6469" y="905"/>
                    </a:lnTo>
                    <a:lnTo>
                      <a:pt x="6477" y="938"/>
                    </a:lnTo>
                    <a:lnTo>
                      <a:pt x="6479" y="947"/>
                    </a:lnTo>
                    <a:lnTo>
                      <a:pt x="6486" y="947"/>
                    </a:lnTo>
                    <a:lnTo>
                      <a:pt x="6510" y="947"/>
                    </a:lnTo>
                    <a:lnTo>
                      <a:pt x="6510" y="1059"/>
                    </a:lnTo>
                    <a:lnTo>
                      <a:pt x="6510" y="1068"/>
                    </a:lnTo>
                    <a:lnTo>
                      <a:pt x="6519" y="1068"/>
                    </a:lnTo>
                    <a:lnTo>
                      <a:pt x="6895" y="1068"/>
                    </a:lnTo>
                    <a:lnTo>
                      <a:pt x="6895" y="1094"/>
                    </a:lnTo>
                    <a:lnTo>
                      <a:pt x="6895" y="1104"/>
                    </a:lnTo>
                    <a:lnTo>
                      <a:pt x="6905" y="1104"/>
                    </a:lnTo>
                    <a:lnTo>
                      <a:pt x="7020" y="1104"/>
                    </a:lnTo>
                    <a:lnTo>
                      <a:pt x="7020" y="1695"/>
                    </a:lnTo>
                    <a:lnTo>
                      <a:pt x="7020" y="1705"/>
                    </a:lnTo>
                    <a:lnTo>
                      <a:pt x="7030" y="1705"/>
                    </a:lnTo>
                    <a:lnTo>
                      <a:pt x="7072" y="1705"/>
                    </a:lnTo>
                    <a:lnTo>
                      <a:pt x="7082" y="1705"/>
                    </a:lnTo>
                    <a:lnTo>
                      <a:pt x="7082" y="1695"/>
                    </a:lnTo>
                    <a:lnTo>
                      <a:pt x="7082" y="519"/>
                    </a:lnTo>
                    <a:lnTo>
                      <a:pt x="7318" y="519"/>
                    </a:lnTo>
                    <a:lnTo>
                      <a:pt x="7318" y="995"/>
                    </a:lnTo>
                    <a:lnTo>
                      <a:pt x="7318" y="1004"/>
                    </a:lnTo>
                    <a:lnTo>
                      <a:pt x="7328" y="1004"/>
                    </a:lnTo>
                    <a:lnTo>
                      <a:pt x="7359" y="1004"/>
                    </a:lnTo>
                    <a:lnTo>
                      <a:pt x="7359" y="1215"/>
                    </a:lnTo>
                    <a:lnTo>
                      <a:pt x="7359" y="1224"/>
                    </a:lnTo>
                    <a:lnTo>
                      <a:pt x="7368" y="1224"/>
                    </a:lnTo>
                    <a:lnTo>
                      <a:pt x="7392" y="1224"/>
                    </a:lnTo>
                    <a:lnTo>
                      <a:pt x="7392" y="1499"/>
                    </a:lnTo>
                    <a:lnTo>
                      <a:pt x="7392" y="1508"/>
                    </a:lnTo>
                    <a:lnTo>
                      <a:pt x="7401" y="1508"/>
                    </a:lnTo>
                    <a:lnTo>
                      <a:pt x="7489" y="1508"/>
                    </a:lnTo>
                    <a:lnTo>
                      <a:pt x="7489" y="1534"/>
                    </a:lnTo>
                    <a:lnTo>
                      <a:pt x="7489" y="1544"/>
                    </a:lnTo>
                    <a:lnTo>
                      <a:pt x="7498" y="1544"/>
                    </a:lnTo>
                    <a:lnTo>
                      <a:pt x="7557" y="1544"/>
                    </a:lnTo>
                    <a:lnTo>
                      <a:pt x="7557" y="2666"/>
                    </a:lnTo>
                    <a:lnTo>
                      <a:pt x="10" y="2666"/>
                    </a:lnTo>
                    <a:lnTo>
                      <a:pt x="10" y="1544"/>
                    </a:lnTo>
                    <a:lnTo>
                      <a:pt x="50" y="1544"/>
                    </a:lnTo>
                    <a:lnTo>
                      <a:pt x="59" y="1544"/>
                    </a:lnTo>
                    <a:lnTo>
                      <a:pt x="59" y="1534"/>
                    </a:lnTo>
                    <a:lnTo>
                      <a:pt x="59" y="1463"/>
                    </a:lnTo>
                    <a:lnTo>
                      <a:pt x="144" y="1463"/>
                    </a:lnTo>
                    <a:lnTo>
                      <a:pt x="154" y="1463"/>
                    </a:lnTo>
                    <a:lnTo>
                      <a:pt x="154" y="1454"/>
                    </a:lnTo>
                    <a:lnTo>
                      <a:pt x="154" y="628"/>
                    </a:lnTo>
                    <a:lnTo>
                      <a:pt x="350" y="628"/>
                    </a:lnTo>
                    <a:lnTo>
                      <a:pt x="360" y="628"/>
                    </a:lnTo>
                    <a:lnTo>
                      <a:pt x="360" y="618"/>
                    </a:lnTo>
                    <a:lnTo>
                      <a:pt x="360" y="557"/>
                    </a:lnTo>
                    <a:lnTo>
                      <a:pt x="591" y="557"/>
                    </a:lnTo>
                    <a:lnTo>
                      <a:pt x="591" y="618"/>
                    </a:lnTo>
                    <a:lnTo>
                      <a:pt x="591" y="628"/>
                    </a:lnTo>
                    <a:lnTo>
                      <a:pt x="601" y="628"/>
                    </a:lnTo>
                    <a:lnTo>
                      <a:pt x="809" y="628"/>
                    </a:lnTo>
                    <a:lnTo>
                      <a:pt x="809" y="1070"/>
                    </a:lnTo>
                    <a:lnTo>
                      <a:pt x="809" y="1080"/>
                    </a:lnTo>
                    <a:lnTo>
                      <a:pt x="818" y="1080"/>
                    </a:lnTo>
                    <a:lnTo>
                      <a:pt x="854" y="1080"/>
                    </a:lnTo>
                    <a:lnTo>
                      <a:pt x="863" y="1080"/>
                    </a:lnTo>
                    <a:lnTo>
                      <a:pt x="863" y="1070"/>
                    </a:lnTo>
                    <a:lnTo>
                      <a:pt x="863" y="838"/>
                    </a:lnTo>
                    <a:lnTo>
                      <a:pt x="1057" y="838"/>
                    </a:lnTo>
                    <a:lnTo>
                      <a:pt x="1067" y="838"/>
                    </a:lnTo>
                    <a:lnTo>
                      <a:pt x="1067" y="829"/>
                    </a:lnTo>
                    <a:lnTo>
                      <a:pt x="1067" y="763"/>
                    </a:lnTo>
                    <a:lnTo>
                      <a:pt x="1242" y="763"/>
                    </a:lnTo>
                    <a:lnTo>
                      <a:pt x="1242" y="829"/>
                    </a:lnTo>
                    <a:lnTo>
                      <a:pt x="1242" y="838"/>
                    </a:lnTo>
                    <a:lnTo>
                      <a:pt x="1251" y="838"/>
                    </a:lnTo>
                    <a:lnTo>
                      <a:pt x="1438" y="838"/>
                    </a:lnTo>
                    <a:lnTo>
                      <a:pt x="1438" y="1201"/>
                    </a:lnTo>
                    <a:lnTo>
                      <a:pt x="1438" y="1210"/>
                    </a:lnTo>
                    <a:lnTo>
                      <a:pt x="1447" y="1210"/>
                    </a:lnTo>
                    <a:lnTo>
                      <a:pt x="1495" y="1210"/>
                    </a:lnTo>
                    <a:lnTo>
                      <a:pt x="1504" y="1210"/>
                    </a:lnTo>
                    <a:lnTo>
                      <a:pt x="1504" y="1201"/>
                    </a:lnTo>
                    <a:lnTo>
                      <a:pt x="1504" y="1137"/>
                    </a:lnTo>
                    <a:lnTo>
                      <a:pt x="1511" y="1137"/>
                    </a:lnTo>
                    <a:lnTo>
                      <a:pt x="1521" y="1137"/>
                    </a:lnTo>
                    <a:lnTo>
                      <a:pt x="1521" y="1127"/>
                    </a:lnTo>
                    <a:lnTo>
                      <a:pt x="1521" y="1094"/>
                    </a:lnTo>
                    <a:lnTo>
                      <a:pt x="1542" y="1094"/>
                    </a:lnTo>
                    <a:lnTo>
                      <a:pt x="1542" y="1127"/>
                    </a:lnTo>
                    <a:lnTo>
                      <a:pt x="1542" y="1137"/>
                    </a:lnTo>
                    <a:lnTo>
                      <a:pt x="1551" y="1137"/>
                    </a:lnTo>
                    <a:lnTo>
                      <a:pt x="1561" y="1137"/>
                    </a:lnTo>
                    <a:lnTo>
                      <a:pt x="1561" y="1201"/>
                    </a:lnTo>
                    <a:lnTo>
                      <a:pt x="1561" y="1210"/>
                    </a:lnTo>
                    <a:lnTo>
                      <a:pt x="1570" y="1210"/>
                    </a:lnTo>
                    <a:lnTo>
                      <a:pt x="1712" y="1210"/>
                    </a:lnTo>
                    <a:lnTo>
                      <a:pt x="1722" y="1210"/>
                    </a:lnTo>
                    <a:lnTo>
                      <a:pt x="1722" y="1201"/>
                    </a:lnTo>
                    <a:lnTo>
                      <a:pt x="1722" y="1168"/>
                    </a:lnTo>
                    <a:lnTo>
                      <a:pt x="1736" y="1168"/>
                    </a:lnTo>
                    <a:lnTo>
                      <a:pt x="1745" y="1168"/>
                    </a:lnTo>
                    <a:lnTo>
                      <a:pt x="1745" y="1158"/>
                    </a:lnTo>
                    <a:lnTo>
                      <a:pt x="1745" y="1141"/>
                    </a:lnTo>
                    <a:lnTo>
                      <a:pt x="1856" y="1141"/>
                    </a:lnTo>
                    <a:lnTo>
                      <a:pt x="1866" y="1141"/>
                    </a:lnTo>
                    <a:lnTo>
                      <a:pt x="1866" y="1132"/>
                    </a:lnTo>
                    <a:lnTo>
                      <a:pt x="1866" y="379"/>
                    </a:lnTo>
                    <a:lnTo>
                      <a:pt x="1986" y="379"/>
                    </a:lnTo>
                    <a:lnTo>
                      <a:pt x="1996" y="379"/>
                    </a:lnTo>
                    <a:lnTo>
                      <a:pt x="1996" y="370"/>
                    </a:lnTo>
                    <a:lnTo>
                      <a:pt x="1996" y="344"/>
                    </a:lnTo>
                    <a:lnTo>
                      <a:pt x="2076" y="344"/>
                    </a:lnTo>
                    <a:lnTo>
                      <a:pt x="2086" y="344"/>
                    </a:lnTo>
                    <a:lnTo>
                      <a:pt x="2086" y="334"/>
                    </a:lnTo>
                    <a:lnTo>
                      <a:pt x="2086" y="303"/>
                    </a:lnTo>
                    <a:lnTo>
                      <a:pt x="2138" y="303"/>
                    </a:lnTo>
                    <a:lnTo>
                      <a:pt x="2138" y="334"/>
                    </a:lnTo>
                    <a:lnTo>
                      <a:pt x="2138" y="344"/>
                    </a:lnTo>
                    <a:lnTo>
                      <a:pt x="2147" y="344"/>
                    </a:lnTo>
                    <a:lnTo>
                      <a:pt x="2228" y="344"/>
                    </a:lnTo>
                    <a:lnTo>
                      <a:pt x="2228" y="370"/>
                    </a:lnTo>
                    <a:lnTo>
                      <a:pt x="2228" y="379"/>
                    </a:lnTo>
                    <a:lnTo>
                      <a:pt x="2237" y="379"/>
                    </a:lnTo>
                    <a:lnTo>
                      <a:pt x="2379" y="379"/>
                    </a:lnTo>
                    <a:lnTo>
                      <a:pt x="2379" y="1089"/>
                    </a:lnTo>
                    <a:lnTo>
                      <a:pt x="2379" y="1099"/>
                    </a:lnTo>
                    <a:lnTo>
                      <a:pt x="2388" y="1099"/>
                    </a:lnTo>
                    <a:lnTo>
                      <a:pt x="2646" y="1099"/>
                    </a:lnTo>
                    <a:lnTo>
                      <a:pt x="2646" y="1184"/>
                    </a:lnTo>
                    <a:lnTo>
                      <a:pt x="2646" y="1194"/>
                    </a:lnTo>
                    <a:lnTo>
                      <a:pt x="2656" y="1194"/>
                    </a:lnTo>
                    <a:lnTo>
                      <a:pt x="2710" y="1194"/>
                    </a:lnTo>
                    <a:lnTo>
                      <a:pt x="2710" y="1241"/>
                    </a:lnTo>
                    <a:lnTo>
                      <a:pt x="2710" y="1250"/>
                    </a:lnTo>
                    <a:lnTo>
                      <a:pt x="2719" y="1250"/>
                    </a:lnTo>
                    <a:lnTo>
                      <a:pt x="2909" y="1250"/>
                    </a:lnTo>
                    <a:lnTo>
                      <a:pt x="2918" y="1250"/>
                    </a:lnTo>
                    <a:lnTo>
                      <a:pt x="2918" y="1241"/>
                    </a:lnTo>
                    <a:lnTo>
                      <a:pt x="2918" y="1073"/>
                    </a:lnTo>
                    <a:lnTo>
                      <a:pt x="2925" y="1073"/>
                    </a:lnTo>
                    <a:lnTo>
                      <a:pt x="2935" y="1073"/>
                    </a:lnTo>
                    <a:lnTo>
                      <a:pt x="2935" y="1063"/>
                    </a:lnTo>
                    <a:lnTo>
                      <a:pt x="2935" y="1021"/>
                    </a:lnTo>
                    <a:lnTo>
                      <a:pt x="3001" y="990"/>
                    </a:lnTo>
                    <a:lnTo>
                      <a:pt x="3147" y="990"/>
                    </a:lnTo>
                    <a:lnTo>
                      <a:pt x="3157" y="990"/>
                    </a:lnTo>
                    <a:lnTo>
                      <a:pt x="3157" y="980"/>
                    </a:lnTo>
                    <a:lnTo>
                      <a:pt x="3157" y="772"/>
                    </a:lnTo>
                    <a:lnTo>
                      <a:pt x="3185" y="772"/>
                    </a:lnTo>
                    <a:lnTo>
                      <a:pt x="3195" y="772"/>
                    </a:lnTo>
                    <a:lnTo>
                      <a:pt x="3195" y="763"/>
                    </a:lnTo>
                    <a:lnTo>
                      <a:pt x="3195" y="668"/>
                    </a:lnTo>
                    <a:lnTo>
                      <a:pt x="3329" y="668"/>
                    </a:lnTo>
                    <a:lnTo>
                      <a:pt x="3339" y="668"/>
                    </a:lnTo>
                    <a:lnTo>
                      <a:pt x="3339" y="658"/>
                    </a:lnTo>
                    <a:lnTo>
                      <a:pt x="3339" y="592"/>
                    </a:lnTo>
                    <a:lnTo>
                      <a:pt x="3348" y="592"/>
                    </a:lnTo>
                    <a:lnTo>
                      <a:pt x="3358" y="592"/>
                    </a:lnTo>
                    <a:lnTo>
                      <a:pt x="3358" y="583"/>
                    </a:lnTo>
                    <a:lnTo>
                      <a:pt x="3358" y="512"/>
                    </a:lnTo>
                    <a:lnTo>
                      <a:pt x="3377" y="512"/>
                    </a:lnTo>
                    <a:lnTo>
                      <a:pt x="3386" y="512"/>
                    </a:lnTo>
                    <a:lnTo>
                      <a:pt x="3386" y="502"/>
                    </a:lnTo>
                    <a:lnTo>
                      <a:pt x="3386" y="445"/>
                    </a:lnTo>
                    <a:lnTo>
                      <a:pt x="3483" y="445"/>
                    </a:lnTo>
                    <a:lnTo>
                      <a:pt x="3483" y="502"/>
                    </a:lnTo>
                    <a:lnTo>
                      <a:pt x="3483" y="512"/>
                    </a:lnTo>
                    <a:lnTo>
                      <a:pt x="3493" y="512"/>
                    </a:lnTo>
                    <a:lnTo>
                      <a:pt x="3514" y="512"/>
                    </a:lnTo>
                    <a:lnTo>
                      <a:pt x="3514" y="583"/>
                    </a:lnTo>
                    <a:lnTo>
                      <a:pt x="3514" y="592"/>
                    </a:lnTo>
                    <a:lnTo>
                      <a:pt x="3523" y="592"/>
                    </a:lnTo>
                    <a:lnTo>
                      <a:pt x="3530" y="592"/>
                    </a:lnTo>
                    <a:lnTo>
                      <a:pt x="3530" y="658"/>
                    </a:lnTo>
                    <a:lnTo>
                      <a:pt x="3530" y="668"/>
                    </a:lnTo>
                    <a:lnTo>
                      <a:pt x="3540" y="668"/>
                    </a:lnTo>
                    <a:lnTo>
                      <a:pt x="3580" y="668"/>
                    </a:lnTo>
                    <a:lnTo>
                      <a:pt x="3580" y="763"/>
                    </a:lnTo>
                    <a:lnTo>
                      <a:pt x="3580" y="772"/>
                    </a:lnTo>
                    <a:lnTo>
                      <a:pt x="3590" y="772"/>
                    </a:lnTo>
                    <a:lnTo>
                      <a:pt x="3606" y="772"/>
                    </a:lnTo>
                    <a:lnTo>
                      <a:pt x="3606" y="1222"/>
                    </a:lnTo>
                    <a:lnTo>
                      <a:pt x="3606" y="1231"/>
                    </a:lnTo>
                    <a:lnTo>
                      <a:pt x="3616" y="1231"/>
                    </a:lnTo>
                    <a:lnTo>
                      <a:pt x="3639" y="1231"/>
                    </a:lnTo>
                    <a:lnTo>
                      <a:pt x="3639" y="1317"/>
                    </a:lnTo>
                    <a:lnTo>
                      <a:pt x="3639" y="1326"/>
                    </a:lnTo>
                    <a:lnTo>
                      <a:pt x="3649" y="1326"/>
                    </a:lnTo>
                    <a:lnTo>
                      <a:pt x="3715" y="1326"/>
                    </a:lnTo>
                    <a:lnTo>
                      <a:pt x="3715" y="1392"/>
                    </a:lnTo>
                    <a:lnTo>
                      <a:pt x="3715" y="1402"/>
                    </a:lnTo>
                    <a:lnTo>
                      <a:pt x="3724" y="1402"/>
                    </a:lnTo>
                    <a:lnTo>
                      <a:pt x="3757" y="1402"/>
                    </a:lnTo>
                    <a:lnTo>
                      <a:pt x="3767" y="1402"/>
                    </a:lnTo>
                    <a:lnTo>
                      <a:pt x="3767" y="1392"/>
                    </a:lnTo>
                    <a:lnTo>
                      <a:pt x="3767" y="1234"/>
                    </a:lnTo>
                    <a:lnTo>
                      <a:pt x="3819" y="1234"/>
                    </a:lnTo>
                    <a:lnTo>
                      <a:pt x="3828" y="1234"/>
                    </a:lnTo>
                    <a:lnTo>
                      <a:pt x="3828" y="1224"/>
                    </a:lnTo>
                    <a:lnTo>
                      <a:pt x="3828" y="1004"/>
                    </a:lnTo>
                    <a:lnTo>
                      <a:pt x="3892" y="1004"/>
                    </a:lnTo>
                    <a:lnTo>
                      <a:pt x="3902" y="1004"/>
                    </a:lnTo>
                    <a:lnTo>
                      <a:pt x="3902" y="995"/>
                    </a:lnTo>
                    <a:lnTo>
                      <a:pt x="3902" y="938"/>
                    </a:lnTo>
                    <a:lnTo>
                      <a:pt x="4003" y="938"/>
                    </a:lnTo>
                    <a:lnTo>
                      <a:pt x="4013" y="938"/>
                    </a:lnTo>
                    <a:lnTo>
                      <a:pt x="4013" y="928"/>
                    </a:lnTo>
                    <a:lnTo>
                      <a:pt x="4013" y="647"/>
                    </a:lnTo>
                    <a:lnTo>
                      <a:pt x="4093" y="497"/>
                    </a:lnTo>
                    <a:lnTo>
                      <a:pt x="4093" y="495"/>
                    </a:lnTo>
                    <a:lnTo>
                      <a:pt x="4093" y="493"/>
                    </a:lnTo>
                    <a:lnTo>
                      <a:pt x="4093" y="464"/>
                    </a:lnTo>
                    <a:lnTo>
                      <a:pt x="4100" y="464"/>
                    </a:lnTo>
                    <a:lnTo>
                      <a:pt x="4100" y="455"/>
                    </a:lnTo>
                    <a:lnTo>
                      <a:pt x="4100" y="400"/>
                    </a:lnTo>
                    <a:lnTo>
                      <a:pt x="4100" y="400"/>
                    </a:lnTo>
                    <a:lnTo>
                      <a:pt x="4110" y="400"/>
                    </a:lnTo>
                    <a:lnTo>
                      <a:pt x="4110" y="455"/>
                    </a:lnTo>
                    <a:lnTo>
                      <a:pt x="4110" y="464"/>
                    </a:lnTo>
                    <a:lnTo>
                      <a:pt x="4114" y="464"/>
                    </a:lnTo>
                    <a:lnTo>
                      <a:pt x="4114" y="495"/>
                    </a:lnTo>
                    <a:lnTo>
                      <a:pt x="4114" y="497"/>
                    </a:lnTo>
                    <a:lnTo>
                      <a:pt x="4114" y="500"/>
                    </a:lnTo>
                    <a:lnTo>
                      <a:pt x="4162" y="609"/>
                    </a:lnTo>
                    <a:lnTo>
                      <a:pt x="4166" y="623"/>
                    </a:lnTo>
                    <a:lnTo>
                      <a:pt x="4176" y="609"/>
                    </a:lnTo>
                    <a:lnTo>
                      <a:pt x="4247" y="514"/>
                    </a:lnTo>
                    <a:lnTo>
                      <a:pt x="4401" y="514"/>
                    </a:lnTo>
                    <a:lnTo>
                      <a:pt x="4427" y="547"/>
                    </a:lnTo>
                    <a:lnTo>
                      <a:pt x="4429" y="550"/>
                    </a:lnTo>
                    <a:lnTo>
                      <a:pt x="4434" y="550"/>
                    </a:lnTo>
                    <a:lnTo>
                      <a:pt x="4583" y="550"/>
                    </a:lnTo>
                    <a:lnTo>
                      <a:pt x="4585" y="550"/>
                    </a:lnTo>
                    <a:lnTo>
                      <a:pt x="4587" y="550"/>
                    </a:lnTo>
                    <a:lnTo>
                      <a:pt x="4691" y="481"/>
                    </a:lnTo>
                    <a:lnTo>
                      <a:pt x="4694" y="479"/>
                    </a:lnTo>
                    <a:lnTo>
                      <a:pt x="4696" y="476"/>
                    </a:lnTo>
                    <a:lnTo>
                      <a:pt x="4758" y="242"/>
                    </a:lnTo>
                    <a:lnTo>
                      <a:pt x="4852" y="242"/>
                    </a:lnTo>
                    <a:lnTo>
                      <a:pt x="4862" y="242"/>
                    </a:lnTo>
                    <a:lnTo>
                      <a:pt x="4862" y="232"/>
                    </a:lnTo>
                    <a:lnTo>
                      <a:pt x="4862" y="183"/>
                    </a:lnTo>
                    <a:lnTo>
                      <a:pt x="4899" y="183"/>
                    </a:lnTo>
                    <a:lnTo>
                      <a:pt x="4909" y="183"/>
                    </a:lnTo>
                    <a:lnTo>
                      <a:pt x="4909" y="173"/>
                    </a:lnTo>
                    <a:lnTo>
                      <a:pt x="4909" y="10"/>
                    </a:lnTo>
                    <a:lnTo>
                      <a:pt x="4911" y="10"/>
                    </a:lnTo>
                    <a:lnTo>
                      <a:pt x="4911" y="173"/>
                    </a:lnTo>
                    <a:lnTo>
                      <a:pt x="4911" y="183"/>
                    </a:lnTo>
                    <a:lnTo>
                      <a:pt x="4921" y="183"/>
                    </a:lnTo>
                    <a:lnTo>
                      <a:pt x="4959" y="183"/>
                    </a:lnTo>
                    <a:lnTo>
                      <a:pt x="4968" y="183"/>
                    </a:lnTo>
                    <a:lnTo>
                      <a:pt x="4968" y="173"/>
                    </a:lnTo>
                    <a:lnTo>
                      <a:pt x="4968" y="10"/>
                    </a:lnTo>
                    <a:lnTo>
                      <a:pt x="4970" y="10"/>
                    </a:lnTo>
                    <a:moveTo>
                      <a:pt x="4980" y="0"/>
                    </a:moveTo>
                    <a:lnTo>
                      <a:pt x="4959" y="0"/>
                    </a:lnTo>
                    <a:lnTo>
                      <a:pt x="4959" y="173"/>
                    </a:lnTo>
                    <a:lnTo>
                      <a:pt x="4921" y="173"/>
                    </a:lnTo>
                    <a:lnTo>
                      <a:pt x="4921" y="0"/>
                    </a:lnTo>
                    <a:lnTo>
                      <a:pt x="4899" y="0"/>
                    </a:lnTo>
                    <a:lnTo>
                      <a:pt x="4899" y="173"/>
                    </a:lnTo>
                    <a:lnTo>
                      <a:pt x="4852" y="173"/>
                    </a:lnTo>
                    <a:lnTo>
                      <a:pt x="4852" y="232"/>
                    </a:lnTo>
                    <a:lnTo>
                      <a:pt x="4750" y="232"/>
                    </a:lnTo>
                    <a:lnTo>
                      <a:pt x="4687" y="474"/>
                    </a:lnTo>
                    <a:lnTo>
                      <a:pt x="4583" y="540"/>
                    </a:lnTo>
                    <a:lnTo>
                      <a:pt x="4434" y="540"/>
                    </a:lnTo>
                    <a:lnTo>
                      <a:pt x="4405" y="505"/>
                    </a:lnTo>
                    <a:lnTo>
                      <a:pt x="4242" y="505"/>
                    </a:lnTo>
                    <a:lnTo>
                      <a:pt x="4169" y="604"/>
                    </a:lnTo>
                    <a:lnTo>
                      <a:pt x="4124" y="495"/>
                    </a:lnTo>
                    <a:lnTo>
                      <a:pt x="4124" y="455"/>
                    </a:lnTo>
                    <a:lnTo>
                      <a:pt x="4119" y="455"/>
                    </a:lnTo>
                    <a:lnTo>
                      <a:pt x="4119" y="391"/>
                    </a:lnTo>
                    <a:lnTo>
                      <a:pt x="4110" y="391"/>
                    </a:lnTo>
                    <a:lnTo>
                      <a:pt x="4110" y="329"/>
                    </a:lnTo>
                    <a:lnTo>
                      <a:pt x="4098" y="329"/>
                    </a:lnTo>
                    <a:lnTo>
                      <a:pt x="4098" y="391"/>
                    </a:lnTo>
                    <a:lnTo>
                      <a:pt x="4091" y="391"/>
                    </a:lnTo>
                    <a:lnTo>
                      <a:pt x="4091" y="455"/>
                    </a:lnTo>
                    <a:lnTo>
                      <a:pt x="4084" y="455"/>
                    </a:lnTo>
                    <a:lnTo>
                      <a:pt x="4084" y="493"/>
                    </a:lnTo>
                    <a:lnTo>
                      <a:pt x="4003" y="644"/>
                    </a:lnTo>
                    <a:lnTo>
                      <a:pt x="4003" y="928"/>
                    </a:lnTo>
                    <a:lnTo>
                      <a:pt x="3892" y="928"/>
                    </a:lnTo>
                    <a:lnTo>
                      <a:pt x="3892" y="995"/>
                    </a:lnTo>
                    <a:lnTo>
                      <a:pt x="3819" y="995"/>
                    </a:lnTo>
                    <a:lnTo>
                      <a:pt x="3819" y="1224"/>
                    </a:lnTo>
                    <a:lnTo>
                      <a:pt x="3757" y="1224"/>
                    </a:lnTo>
                    <a:lnTo>
                      <a:pt x="3757" y="1392"/>
                    </a:lnTo>
                    <a:lnTo>
                      <a:pt x="3724" y="1392"/>
                    </a:lnTo>
                    <a:lnTo>
                      <a:pt x="3724" y="1317"/>
                    </a:lnTo>
                    <a:lnTo>
                      <a:pt x="3649" y="1317"/>
                    </a:lnTo>
                    <a:lnTo>
                      <a:pt x="3649" y="1222"/>
                    </a:lnTo>
                    <a:lnTo>
                      <a:pt x="3616" y="1222"/>
                    </a:lnTo>
                    <a:lnTo>
                      <a:pt x="3616" y="763"/>
                    </a:lnTo>
                    <a:lnTo>
                      <a:pt x="3590" y="763"/>
                    </a:lnTo>
                    <a:lnTo>
                      <a:pt x="3590" y="658"/>
                    </a:lnTo>
                    <a:lnTo>
                      <a:pt x="3540" y="658"/>
                    </a:lnTo>
                    <a:lnTo>
                      <a:pt x="3540" y="583"/>
                    </a:lnTo>
                    <a:lnTo>
                      <a:pt x="3523" y="583"/>
                    </a:lnTo>
                    <a:lnTo>
                      <a:pt x="3523" y="502"/>
                    </a:lnTo>
                    <a:lnTo>
                      <a:pt x="3493" y="502"/>
                    </a:lnTo>
                    <a:lnTo>
                      <a:pt x="3493" y="436"/>
                    </a:lnTo>
                    <a:lnTo>
                      <a:pt x="3377" y="436"/>
                    </a:lnTo>
                    <a:lnTo>
                      <a:pt x="3377" y="502"/>
                    </a:lnTo>
                    <a:lnTo>
                      <a:pt x="3348" y="502"/>
                    </a:lnTo>
                    <a:lnTo>
                      <a:pt x="3348" y="583"/>
                    </a:lnTo>
                    <a:lnTo>
                      <a:pt x="3329" y="583"/>
                    </a:lnTo>
                    <a:lnTo>
                      <a:pt x="3329" y="658"/>
                    </a:lnTo>
                    <a:lnTo>
                      <a:pt x="3185" y="658"/>
                    </a:lnTo>
                    <a:lnTo>
                      <a:pt x="3185" y="763"/>
                    </a:lnTo>
                    <a:lnTo>
                      <a:pt x="3147" y="763"/>
                    </a:lnTo>
                    <a:lnTo>
                      <a:pt x="3147" y="980"/>
                    </a:lnTo>
                    <a:lnTo>
                      <a:pt x="3001" y="980"/>
                    </a:lnTo>
                    <a:lnTo>
                      <a:pt x="2925" y="1014"/>
                    </a:lnTo>
                    <a:lnTo>
                      <a:pt x="2925" y="1063"/>
                    </a:lnTo>
                    <a:lnTo>
                      <a:pt x="2909" y="1063"/>
                    </a:lnTo>
                    <a:lnTo>
                      <a:pt x="2909" y="1241"/>
                    </a:lnTo>
                    <a:lnTo>
                      <a:pt x="2719" y="1241"/>
                    </a:lnTo>
                    <a:lnTo>
                      <a:pt x="2719" y="1184"/>
                    </a:lnTo>
                    <a:lnTo>
                      <a:pt x="2656" y="1184"/>
                    </a:lnTo>
                    <a:lnTo>
                      <a:pt x="2656" y="1089"/>
                    </a:lnTo>
                    <a:lnTo>
                      <a:pt x="2388" y="1089"/>
                    </a:lnTo>
                    <a:lnTo>
                      <a:pt x="2388" y="370"/>
                    </a:lnTo>
                    <a:lnTo>
                      <a:pt x="2237" y="370"/>
                    </a:lnTo>
                    <a:lnTo>
                      <a:pt x="2237" y="334"/>
                    </a:lnTo>
                    <a:lnTo>
                      <a:pt x="2147" y="334"/>
                    </a:lnTo>
                    <a:lnTo>
                      <a:pt x="2147" y="294"/>
                    </a:lnTo>
                    <a:lnTo>
                      <a:pt x="2076" y="294"/>
                    </a:lnTo>
                    <a:lnTo>
                      <a:pt x="2076" y="334"/>
                    </a:lnTo>
                    <a:lnTo>
                      <a:pt x="1986" y="334"/>
                    </a:lnTo>
                    <a:lnTo>
                      <a:pt x="1986" y="370"/>
                    </a:lnTo>
                    <a:lnTo>
                      <a:pt x="1856" y="370"/>
                    </a:lnTo>
                    <a:lnTo>
                      <a:pt x="1856" y="1132"/>
                    </a:lnTo>
                    <a:lnTo>
                      <a:pt x="1736" y="1132"/>
                    </a:lnTo>
                    <a:lnTo>
                      <a:pt x="1736" y="1158"/>
                    </a:lnTo>
                    <a:lnTo>
                      <a:pt x="1712" y="1158"/>
                    </a:lnTo>
                    <a:lnTo>
                      <a:pt x="1712" y="1201"/>
                    </a:lnTo>
                    <a:lnTo>
                      <a:pt x="1570" y="1201"/>
                    </a:lnTo>
                    <a:lnTo>
                      <a:pt x="1570" y="1127"/>
                    </a:lnTo>
                    <a:lnTo>
                      <a:pt x="1551" y="1127"/>
                    </a:lnTo>
                    <a:lnTo>
                      <a:pt x="1551" y="1085"/>
                    </a:lnTo>
                    <a:lnTo>
                      <a:pt x="1511" y="1085"/>
                    </a:lnTo>
                    <a:lnTo>
                      <a:pt x="1511" y="1127"/>
                    </a:lnTo>
                    <a:lnTo>
                      <a:pt x="1495" y="1127"/>
                    </a:lnTo>
                    <a:lnTo>
                      <a:pt x="1495" y="1201"/>
                    </a:lnTo>
                    <a:lnTo>
                      <a:pt x="1447" y="1201"/>
                    </a:lnTo>
                    <a:lnTo>
                      <a:pt x="1447" y="829"/>
                    </a:lnTo>
                    <a:lnTo>
                      <a:pt x="1251" y="829"/>
                    </a:lnTo>
                    <a:lnTo>
                      <a:pt x="1251" y="753"/>
                    </a:lnTo>
                    <a:lnTo>
                      <a:pt x="1057" y="753"/>
                    </a:lnTo>
                    <a:lnTo>
                      <a:pt x="1057" y="829"/>
                    </a:lnTo>
                    <a:lnTo>
                      <a:pt x="854" y="829"/>
                    </a:lnTo>
                    <a:lnTo>
                      <a:pt x="854" y="1070"/>
                    </a:lnTo>
                    <a:lnTo>
                      <a:pt x="818" y="1070"/>
                    </a:lnTo>
                    <a:lnTo>
                      <a:pt x="818" y="618"/>
                    </a:lnTo>
                    <a:lnTo>
                      <a:pt x="601" y="618"/>
                    </a:lnTo>
                    <a:lnTo>
                      <a:pt x="601" y="547"/>
                    </a:lnTo>
                    <a:lnTo>
                      <a:pt x="350" y="547"/>
                    </a:lnTo>
                    <a:lnTo>
                      <a:pt x="350" y="618"/>
                    </a:lnTo>
                    <a:lnTo>
                      <a:pt x="144" y="618"/>
                    </a:lnTo>
                    <a:lnTo>
                      <a:pt x="144" y="1454"/>
                    </a:lnTo>
                    <a:lnTo>
                      <a:pt x="50" y="1454"/>
                    </a:lnTo>
                    <a:lnTo>
                      <a:pt x="50" y="1534"/>
                    </a:lnTo>
                    <a:lnTo>
                      <a:pt x="0" y="1534"/>
                    </a:lnTo>
                    <a:lnTo>
                      <a:pt x="0" y="2676"/>
                    </a:lnTo>
                    <a:lnTo>
                      <a:pt x="7567" y="2676"/>
                    </a:lnTo>
                    <a:lnTo>
                      <a:pt x="7567" y="1534"/>
                    </a:lnTo>
                    <a:lnTo>
                      <a:pt x="7498" y="1534"/>
                    </a:lnTo>
                    <a:lnTo>
                      <a:pt x="7498" y="1499"/>
                    </a:lnTo>
                    <a:lnTo>
                      <a:pt x="7401" y="1499"/>
                    </a:lnTo>
                    <a:lnTo>
                      <a:pt x="7401" y="1215"/>
                    </a:lnTo>
                    <a:lnTo>
                      <a:pt x="7368" y="1215"/>
                    </a:lnTo>
                    <a:lnTo>
                      <a:pt x="7368" y="995"/>
                    </a:lnTo>
                    <a:lnTo>
                      <a:pt x="7328" y="995"/>
                    </a:lnTo>
                    <a:lnTo>
                      <a:pt x="7328" y="509"/>
                    </a:lnTo>
                    <a:lnTo>
                      <a:pt x="7072" y="509"/>
                    </a:lnTo>
                    <a:lnTo>
                      <a:pt x="7072" y="1695"/>
                    </a:lnTo>
                    <a:lnTo>
                      <a:pt x="7030" y="1695"/>
                    </a:lnTo>
                    <a:lnTo>
                      <a:pt x="7030" y="1094"/>
                    </a:lnTo>
                    <a:lnTo>
                      <a:pt x="6905" y="1094"/>
                    </a:lnTo>
                    <a:lnTo>
                      <a:pt x="6905" y="1059"/>
                    </a:lnTo>
                    <a:lnTo>
                      <a:pt x="6519" y="1059"/>
                    </a:lnTo>
                    <a:lnTo>
                      <a:pt x="6519" y="938"/>
                    </a:lnTo>
                    <a:lnTo>
                      <a:pt x="6486" y="938"/>
                    </a:lnTo>
                    <a:lnTo>
                      <a:pt x="6477" y="895"/>
                    </a:lnTo>
                    <a:lnTo>
                      <a:pt x="6472" y="895"/>
                    </a:lnTo>
                    <a:lnTo>
                      <a:pt x="6472" y="879"/>
                    </a:lnTo>
                    <a:lnTo>
                      <a:pt x="6465" y="879"/>
                    </a:lnTo>
                    <a:lnTo>
                      <a:pt x="6465" y="850"/>
                    </a:lnTo>
                    <a:lnTo>
                      <a:pt x="6446" y="850"/>
                    </a:lnTo>
                    <a:lnTo>
                      <a:pt x="6446" y="879"/>
                    </a:lnTo>
                    <a:lnTo>
                      <a:pt x="6436" y="879"/>
                    </a:lnTo>
                    <a:lnTo>
                      <a:pt x="6436" y="895"/>
                    </a:lnTo>
                    <a:lnTo>
                      <a:pt x="6432" y="895"/>
                    </a:lnTo>
                    <a:lnTo>
                      <a:pt x="6425" y="938"/>
                    </a:lnTo>
                    <a:lnTo>
                      <a:pt x="6387" y="938"/>
                    </a:lnTo>
                    <a:lnTo>
                      <a:pt x="6387" y="1130"/>
                    </a:lnTo>
                    <a:lnTo>
                      <a:pt x="6370" y="1130"/>
                    </a:lnTo>
                    <a:lnTo>
                      <a:pt x="6370" y="1364"/>
                    </a:lnTo>
                    <a:lnTo>
                      <a:pt x="6344" y="1364"/>
                    </a:lnTo>
                    <a:lnTo>
                      <a:pt x="6344" y="1210"/>
                    </a:lnTo>
                    <a:lnTo>
                      <a:pt x="6280" y="1210"/>
                    </a:lnTo>
                    <a:lnTo>
                      <a:pt x="6280" y="1130"/>
                    </a:lnTo>
                    <a:lnTo>
                      <a:pt x="6122" y="1130"/>
                    </a:lnTo>
                    <a:lnTo>
                      <a:pt x="6122" y="1042"/>
                    </a:lnTo>
                    <a:lnTo>
                      <a:pt x="6103" y="1042"/>
                    </a:lnTo>
                    <a:lnTo>
                      <a:pt x="6103" y="990"/>
                    </a:lnTo>
                    <a:lnTo>
                      <a:pt x="5997" y="990"/>
                    </a:lnTo>
                    <a:lnTo>
                      <a:pt x="5997" y="1042"/>
                    </a:lnTo>
                    <a:lnTo>
                      <a:pt x="5978" y="1042"/>
                    </a:lnTo>
                    <a:lnTo>
                      <a:pt x="5978" y="1130"/>
                    </a:lnTo>
                    <a:lnTo>
                      <a:pt x="5904" y="1130"/>
                    </a:lnTo>
                    <a:lnTo>
                      <a:pt x="5904" y="1210"/>
                    </a:lnTo>
                    <a:lnTo>
                      <a:pt x="5878" y="1210"/>
                    </a:lnTo>
                    <a:lnTo>
                      <a:pt x="5878" y="1326"/>
                    </a:lnTo>
                    <a:lnTo>
                      <a:pt x="5713" y="1326"/>
                    </a:lnTo>
                    <a:lnTo>
                      <a:pt x="5713" y="1449"/>
                    </a:lnTo>
                    <a:lnTo>
                      <a:pt x="5666" y="1449"/>
                    </a:lnTo>
                    <a:lnTo>
                      <a:pt x="5666" y="732"/>
                    </a:lnTo>
                    <a:lnTo>
                      <a:pt x="5531" y="732"/>
                    </a:lnTo>
                    <a:lnTo>
                      <a:pt x="5531" y="611"/>
                    </a:lnTo>
                    <a:lnTo>
                      <a:pt x="5301" y="611"/>
                    </a:lnTo>
                    <a:lnTo>
                      <a:pt x="5301" y="732"/>
                    </a:lnTo>
                    <a:lnTo>
                      <a:pt x="5178" y="732"/>
                    </a:lnTo>
                    <a:lnTo>
                      <a:pt x="5178" y="973"/>
                    </a:lnTo>
                    <a:lnTo>
                      <a:pt x="4980" y="973"/>
                    </a:lnTo>
                    <a:lnTo>
                      <a:pt x="4980" y="232"/>
                    </a:lnTo>
                    <a:lnTo>
                      <a:pt x="4980" y="232"/>
                    </a:lnTo>
                    <a:lnTo>
                      <a:pt x="498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460" name="Rectangle 14459"/>
            <p:cNvSpPr/>
            <p:nvPr/>
          </p:nvSpPr>
          <p:spPr>
            <a:xfrm>
              <a:off x="5895474" y="5339727"/>
              <a:ext cx="320842" cy="892631"/>
            </a:xfrm>
            <a:prstGeom prst="rect">
              <a:avLst/>
            </a:prstGeom>
            <a:solidFill>
              <a:srgbClr val="11303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4462" name="Group 14461"/>
          <p:cNvGrpSpPr/>
          <p:nvPr/>
        </p:nvGrpSpPr>
        <p:grpSpPr>
          <a:xfrm>
            <a:off x="3440406" y="5715727"/>
            <a:ext cx="5224106" cy="1200329"/>
            <a:chOff x="3565083" y="5759270"/>
            <a:chExt cx="5224106" cy="1200329"/>
          </a:xfrm>
        </p:grpSpPr>
        <p:sp>
          <p:nvSpPr>
            <p:cNvPr id="266" name="Rectangle 265"/>
            <p:cNvSpPr/>
            <p:nvPr/>
          </p:nvSpPr>
          <p:spPr>
            <a:xfrm>
              <a:off x="3565083" y="5759270"/>
              <a:ext cx="1771639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7200" b="1" dirty="0">
                  <a:solidFill>
                    <a:srgbClr val="FFC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Verdana" panose="020B0604030504040204" pitchFamily="34" charset="0"/>
                </a:rPr>
                <a:t>100</a:t>
              </a:r>
              <a:endParaRPr lang="en-IN" sz="7200" dirty="0">
                <a:solidFill>
                  <a:srgbClr val="FFC000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</p:txBody>
        </p:sp>
        <p:sp>
          <p:nvSpPr>
            <p:cNvPr id="269" name="Rectangle 268"/>
            <p:cNvSpPr/>
            <p:nvPr/>
          </p:nvSpPr>
          <p:spPr>
            <a:xfrm>
              <a:off x="5364854" y="6006013"/>
              <a:ext cx="3424335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4800" b="1" dirty="0">
                  <a:solidFill>
                    <a:srgbClr val="FFC000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Verdana" panose="020B0604030504040204" pitchFamily="34" charset="0"/>
                </a:rPr>
                <a:t>Smart Cities</a:t>
              </a:r>
              <a:endParaRPr lang="en-IN" sz="4800" dirty="0">
                <a:solidFill>
                  <a:srgbClr val="FFC000"/>
                </a:solidFill>
                <a:latin typeface="Roboto Light" panose="02000000000000000000" pitchFamily="2" charset="0"/>
                <a:ea typeface="Roboto Light" panose="02000000000000000000" pitchFamily="2" charset="0"/>
              </a:endParaRPr>
            </a:p>
          </p:txBody>
        </p:sp>
      </p:grpSp>
      <p:grpSp>
        <p:nvGrpSpPr>
          <p:cNvPr id="1423" name="Group 1422"/>
          <p:cNvGrpSpPr/>
          <p:nvPr/>
        </p:nvGrpSpPr>
        <p:grpSpPr>
          <a:xfrm>
            <a:off x="31173" y="1440438"/>
            <a:ext cx="12128496" cy="2959243"/>
            <a:chOff x="31173" y="1440438"/>
            <a:chExt cx="12128496" cy="2959243"/>
          </a:xfrm>
          <a:solidFill>
            <a:srgbClr val="173F49"/>
          </a:solidFill>
        </p:grpSpPr>
        <p:sp>
          <p:nvSpPr>
            <p:cNvPr id="1424" name="Freeform 153"/>
            <p:cNvSpPr>
              <a:spLocks/>
            </p:cNvSpPr>
            <p:nvPr/>
          </p:nvSpPr>
          <p:spPr bwMode="auto">
            <a:xfrm>
              <a:off x="31173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5" name="Oval 154"/>
            <p:cNvSpPr>
              <a:spLocks noChangeArrowheads="1"/>
            </p:cNvSpPr>
            <p:nvPr/>
          </p:nvSpPr>
          <p:spPr bwMode="auto">
            <a:xfrm>
              <a:off x="74818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6" name="Freeform 157"/>
            <p:cNvSpPr>
              <a:spLocks/>
            </p:cNvSpPr>
            <p:nvPr/>
          </p:nvSpPr>
          <p:spPr bwMode="auto">
            <a:xfrm>
              <a:off x="849882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7" name="Oval 158"/>
            <p:cNvSpPr>
              <a:spLocks noChangeArrowheads="1"/>
            </p:cNvSpPr>
            <p:nvPr/>
          </p:nvSpPr>
          <p:spPr bwMode="auto">
            <a:xfrm>
              <a:off x="893527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8" name="Freeform 159"/>
            <p:cNvSpPr>
              <a:spLocks/>
            </p:cNvSpPr>
            <p:nvPr/>
          </p:nvSpPr>
          <p:spPr bwMode="auto">
            <a:xfrm>
              <a:off x="644325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9" name="Oval 160"/>
            <p:cNvSpPr>
              <a:spLocks noChangeArrowheads="1"/>
            </p:cNvSpPr>
            <p:nvPr/>
          </p:nvSpPr>
          <p:spPr bwMode="auto">
            <a:xfrm>
              <a:off x="689378" y="144043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30" name="Group 1429"/>
            <p:cNvGrpSpPr/>
            <p:nvPr/>
          </p:nvGrpSpPr>
          <p:grpSpPr>
            <a:xfrm>
              <a:off x="233211" y="144043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82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31" name="Freeform 153"/>
            <p:cNvSpPr>
              <a:spLocks/>
            </p:cNvSpPr>
            <p:nvPr/>
          </p:nvSpPr>
          <p:spPr bwMode="auto">
            <a:xfrm>
              <a:off x="1061447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2" name="Oval 154"/>
            <p:cNvSpPr>
              <a:spLocks noChangeArrowheads="1"/>
            </p:cNvSpPr>
            <p:nvPr/>
          </p:nvSpPr>
          <p:spPr bwMode="auto">
            <a:xfrm>
              <a:off x="1105092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3" name="Freeform 157"/>
            <p:cNvSpPr>
              <a:spLocks/>
            </p:cNvSpPr>
            <p:nvPr/>
          </p:nvSpPr>
          <p:spPr bwMode="auto">
            <a:xfrm>
              <a:off x="1880156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4" name="Oval 158"/>
            <p:cNvSpPr>
              <a:spLocks noChangeArrowheads="1"/>
            </p:cNvSpPr>
            <p:nvPr/>
          </p:nvSpPr>
          <p:spPr bwMode="auto">
            <a:xfrm>
              <a:off x="1923801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5" name="Freeform 159"/>
            <p:cNvSpPr>
              <a:spLocks/>
            </p:cNvSpPr>
            <p:nvPr/>
          </p:nvSpPr>
          <p:spPr bwMode="auto">
            <a:xfrm>
              <a:off x="1674599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6" name="Oval 160"/>
            <p:cNvSpPr>
              <a:spLocks noChangeArrowheads="1"/>
            </p:cNvSpPr>
            <p:nvPr/>
          </p:nvSpPr>
          <p:spPr bwMode="auto">
            <a:xfrm>
              <a:off x="1719652" y="144043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37" name="Group 1436"/>
            <p:cNvGrpSpPr/>
            <p:nvPr/>
          </p:nvGrpSpPr>
          <p:grpSpPr>
            <a:xfrm>
              <a:off x="1263485" y="144043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81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2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38" name="Freeform 153"/>
            <p:cNvSpPr>
              <a:spLocks/>
            </p:cNvSpPr>
            <p:nvPr/>
          </p:nvSpPr>
          <p:spPr bwMode="auto">
            <a:xfrm>
              <a:off x="2091721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9" name="Oval 154"/>
            <p:cNvSpPr>
              <a:spLocks noChangeArrowheads="1"/>
            </p:cNvSpPr>
            <p:nvPr/>
          </p:nvSpPr>
          <p:spPr bwMode="auto">
            <a:xfrm>
              <a:off x="2135366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0" name="Freeform 157"/>
            <p:cNvSpPr>
              <a:spLocks/>
            </p:cNvSpPr>
            <p:nvPr/>
          </p:nvSpPr>
          <p:spPr bwMode="auto">
            <a:xfrm>
              <a:off x="2910430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1" name="Oval 158"/>
            <p:cNvSpPr>
              <a:spLocks noChangeArrowheads="1"/>
            </p:cNvSpPr>
            <p:nvPr/>
          </p:nvSpPr>
          <p:spPr bwMode="auto">
            <a:xfrm>
              <a:off x="2954075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2" name="Freeform 159"/>
            <p:cNvSpPr>
              <a:spLocks/>
            </p:cNvSpPr>
            <p:nvPr/>
          </p:nvSpPr>
          <p:spPr bwMode="auto">
            <a:xfrm>
              <a:off x="2704873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3" name="Oval 160"/>
            <p:cNvSpPr>
              <a:spLocks noChangeArrowheads="1"/>
            </p:cNvSpPr>
            <p:nvPr/>
          </p:nvSpPr>
          <p:spPr bwMode="auto">
            <a:xfrm>
              <a:off x="2749926" y="144043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44" name="Group 1443"/>
            <p:cNvGrpSpPr/>
            <p:nvPr/>
          </p:nvGrpSpPr>
          <p:grpSpPr>
            <a:xfrm>
              <a:off x="2293759" y="144043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81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45" name="Freeform 153"/>
            <p:cNvSpPr>
              <a:spLocks/>
            </p:cNvSpPr>
            <p:nvPr/>
          </p:nvSpPr>
          <p:spPr bwMode="auto">
            <a:xfrm>
              <a:off x="3121995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6" name="Oval 154"/>
            <p:cNvSpPr>
              <a:spLocks noChangeArrowheads="1"/>
            </p:cNvSpPr>
            <p:nvPr/>
          </p:nvSpPr>
          <p:spPr bwMode="auto">
            <a:xfrm>
              <a:off x="3165640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7" name="Freeform 157"/>
            <p:cNvSpPr>
              <a:spLocks/>
            </p:cNvSpPr>
            <p:nvPr/>
          </p:nvSpPr>
          <p:spPr bwMode="auto">
            <a:xfrm>
              <a:off x="3940704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8" name="Oval 158"/>
            <p:cNvSpPr>
              <a:spLocks noChangeArrowheads="1"/>
            </p:cNvSpPr>
            <p:nvPr/>
          </p:nvSpPr>
          <p:spPr bwMode="auto">
            <a:xfrm>
              <a:off x="3984349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9" name="Freeform 159"/>
            <p:cNvSpPr>
              <a:spLocks/>
            </p:cNvSpPr>
            <p:nvPr/>
          </p:nvSpPr>
          <p:spPr bwMode="auto">
            <a:xfrm>
              <a:off x="3735147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0" name="Oval 160"/>
            <p:cNvSpPr>
              <a:spLocks noChangeArrowheads="1"/>
            </p:cNvSpPr>
            <p:nvPr/>
          </p:nvSpPr>
          <p:spPr bwMode="auto">
            <a:xfrm>
              <a:off x="3780200" y="144043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51" name="Group 1450"/>
            <p:cNvGrpSpPr/>
            <p:nvPr/>
          </p:nvGrpSpPr>
          <p:grpSpPr>
            <a:xfrm>
              <a:off x="3324033" y="144043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81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1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52" name="Freeform 153"/>
            <p:cNvSpPr>
              <a:spLocks/>
            </p:cNvSpPr>
            <p:nvPr/>
          </p:nvSpPr>
          <p:spPr bwMode="auto">
            <a:xfrm>
              <a:off x="4152269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3" name="Oval 154"/>
            <p:cNvSpPr>
              <a:spLocks noChangeArrowheads="1"/>
            </p:cNvSpPr>
            <p:nvPr/>
          </p:nvSpPr>
          <p:spPr bwMode="auto">
            <a:xfrm>
              <a:off x="4195914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4" name="Freeform 157"/>
            <p:cNvSpPr>
              <a:spLocks/>
            </p:cNvSpPr>
            <p:nvPr/>
          </p:nvSpPr>
          <p:spPr bwMode="auto">
            <a:xfrm>
              <a:off x="4970978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5" name="Oval 158"/>
            <p:cNvSpPr>
              <a:spLocks noChangeArrowheads="1"/>
            </p:cNvSpPr>
            <p:nvPr/>
          </p:nvSpPr>
          <p:spPr bwMode="auto">
            <a:xfrm>
              <a:off x="5014623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6" name="Freeform 159"/>
            <p:cNvSpPr>
              <a:spLocks/>
            </p:cNvSpPr>
            <p:nvPr/>
          </p:nvSpPr>
          <p:spPr bwMode="auto">
            <a:xfrm>
              <a:off x="4765421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7" name="Oval 160"/>
            <p:cNvSpPr>
              <a:spLocks noChangeArrowheads="1"/>
            </p:cNvSpPr>
            <p:nvPr/>
          </p:nvSpPr>
          <p:spPr bwMode="auto">
            <a:xfrm>
              <a:off x="4810474" y="144043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58" name="Group 1457"/>
            <p:cNvGrpSpPr/>
            <p:nvPr/>
          </p:nvGrpSpPr>
          <p:grpSpPr>
            <a:xfrm>
              <a:off x="4354307" y="144043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80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59" name="Freeform 153"/>
            <p:cNvSpPr>
              <a:spLocks/>
            </p:cNvSpPr>
            <p:nvPr/>
          </p:nvSpPr>
          <p:spPr bwMode="auto">
            <a:xfrm>
              <a:off x="5182543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0" name="Oval 154"/>
            <p:cNvSpPr>
              <a:spLocks noChangeArrowheads="1"/>
            </p:cNvSpPr>
            <p:nvPr/>
          </p:nvSpPr>
          <p:spPr bwMode="auto">
            <a:xfrm>
              <a:off x="5226188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1" name="Freeform 157"/>
            <p:cNvSpPr>
              <a:spLocks/>
            </p:cNvSpPr>
            <p:nvPr/>
          </p:nvSpPr>
          <p:spPr bwMode="auto">
            <a:xfrm>
              <a:off x="6001252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2" name="Oval 158"/>
            <p:cNvSpPr>
              <a:spLocks noChangeArrowheads="1"/>
            </p:cNvSpPr>
            <p:nvPr/>
          </p:nvSpPr>
          <p:spPr bwMode="auto">
            <a:xfrm>
              <a:off x="6044897" y="144043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3" name="Freeform 159"/>
            <p:cNvSpPr>
              <a:spLocks/>
            </p:cNvSpPr>
            <p:nvPr/>
          </p:nvSpPr>
          <p:spPr bwMode="auto">
            <a:xfrm>
              <a:off x="5795695" y="154603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4" name="Oval 160"/>
            <p:cNvSpPr>
              <a:spLocks noChangeArrowheads="1"/>
            </p:cNvSpPr>
            <p:nvPr/>
          </p:nvSpPr>
          <p:spPr bwMode="auto">
            <a:xfrm>
              <a:off x="5840748" y="144043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65" name="Group 1464"/>
            <p:cNvGrpSpPr/>
            <p:nvPr/>
          </p:nvGrpSpPr>
          <p:grpSpPr>
            <a:xfrm>
              <a:off x="5384581" y="144043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80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66" name="Freeform 153"/>
            <p:cNvSpPr>
              <a:spLocks/>
            </p:cNvSpPr>
            <p:nvPr/>
          </p:nvSpPr>
          <p:spPr bwMode="auto">
            <a:xfrm>
              <a:off x="31173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7" name="Oval 154"/>
            <p:cNvSpPr>
              <a:spLocks noChangeArrowheads="1"/>
            </p:cNvSpPr>
            <p:nvPr/>
          </p:nvSpPr>
          <p:spPr bwMode="auto">
            <a:xfrm>
              <a:off x="74818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8" name="Freeform 157"/>
            <p:cNvSpPr>
              <a:spLocks/>
            </p:cNvSpPr>
            <p:nvPr/>
          </p:nvSpPr>
          <p:spPr bwMode="auto">
            <a:xfrm>
              <a:off x="849882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9" name="Oval 158"/>
            <p:cNvSpPr>
              <a:spLocks noChangeArrowheads="1"/>
            </p:cNvSpPr>
            <p:nvPr/>
          </p:nvSpPr>
          <p:spPr bwMode="auto">
            <a:xfrm>
              <a:off x="893527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0" name="Freeform 159"/>
            <p:cNvSpPr>
              <a:spLocks/>
            </p:cNvSpPr>
            <p:nvPr/>
          </p:nvSpPr>
          <p:spPr bwMode="auto">
            <a:xfrm>
              <a:off x="644325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1" name="Oval 160"/>
            <p:cNvSpPr>
              <a:spLocks noChangeArrowheads="1"/>
            </p:cNvSpPr>
            <p:nvPr/>
          </p:nvSpPr>
          <p:spPr bwMode="auto">
            <a:xfrm>
              <a:off x="689378" y="1939634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72" name="Group 1471"/>
            <p:cNvGrpSpPr/>
            <p:nvPr/>
          </p:nvGrpSpPr>
          <p:grpSpPr>
            <a:xfrm>
              <a:off x="233211" y="1939634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9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0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73" name="Freeform 153"/>
            <p:cNvSpPr>
              <a:spLocks/>
            </p:cNvSpPr>
            <p:nvPr/>
          </p:nvSpPr>
          <p:spPr bwMode="auto">
            <a:xfrm>
              <a:off x="1061447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4" name="Oval 154"/>
            <p:cNvSpPr>
              <a:spLocks noChangeArrowheads="1"/>
            </p:cNvSpPr>
            <p:nvPr/>
          </p:nvSpPr>
          <p:spPr bwMode="auto">
            <a:xfrm>
              <a:off x="1105092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5" name="Freeform 157"/>
            <p:cNvSpPr>
              <a:spLocks/>
            </p:cNvSpPr>
            <p:nvPr/>
          </p:nvSpPr>
          <p:spPr bwMode="auto">
            <a:xfrm>
              <a:off x="1880156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6" name="Oval 158"/>
            <p:cNvSpPr>
              <a:spLocks noChangeArrowheads="1"/>
            </p:cNvSpPr>
            <p:nvPr/>
          </p:nvSpPr>
          <p:spPr bwMode="auto">
            <a:xfrm>
              <a:off x="1923801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7" name="Freeform 159"/>
            <p:cNvSpPr>
              <a:spLocks/>
            </p:cNvSpPr>
            <p:nvPr/>
          </p:nvSpPr>
          <p:spPr bwMode="auto">
            <a:xfrm>
              <a:off x="1674599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8" name="Oval 160"/>
            <p:cNvSpPr>
              <a:spLocks noChangeArrowheads="1"/>
            </p:cNvSpPr>
            <p:nvPr/>
          </p:nvSpPr>
          <p:spPr bwMode="auto">
            <a:xfrm>
              <a:off x="1719652" y="1939634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79" name="Group 1478"/>
            <p:cNvGrpSpPr/>
            <p:nvPr/>
          </p:nvGrpSpPr>
          <p:grpSpPr>
            <a:xfrm>
              <a:off x="1263485" y="1939634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9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80" name="Freeform 153"/>
            <p:cNvSpPr>
              <a:spLocks/>
            </p:cNvSpPr>
            <p:nvPr/>
          </p:nvSpPr>
          <p:spPr bwMode="auto">
            <a:xfrm>
              <a:off x="2091721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1" name="Oval 154"/>
            <p:cNvSpPr>
              <a:spLocks noChangeArrowheads="1"/>
            </p:cNvSpPr>
            <p:nvPr/>
          </p:nvSpPr>
          <p:spPr bwMode="auto">
            <a:xfrm>
              <a:off x="2135366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2" name="Freeform 157"/>
            <p:cNvSpPr>
              <a:spLocks/>
            </p:cNvSpPr>
            <p:nvPr/>
          </p:nvSpPr>
          <p:spPr bwMode="auto">
            <a:xfrm>
              <a:off x="2910430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3" name="Oval 158"/>
            <p:cNvSpPr>
              <a:spLocks noChangeArrowheads="1"/>
            </p:cNvSpPr>
            <p:nvPr/>
          </p:nvSpPr>
          <p:spPr bwMode="auto">
            <a:xfrm>
              <a:off x="2954075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4" name="Freeform 159"/>
            <p:cNvSpPr>
              <a:spLocks/>
            </p:cNvSpPr>
            <p:nvPr/>
          </p:nvSpPr>
          <p:spPr bwMode="auto">
            <a:xfrm>
              <a:off x="2704873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5" name="Oval 160"/>
            <p:cNvSpPr>
              <a:spLocks noChangeArrowheads="1"/>
            </p:cNvSpPr>
            <p:nvPr/>
          </p:nvSpPr>
          <p:spPr bwMode="auto">
            <a:xfrm>
              <a:off x="2749926" y="1939634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86" name="Group 1485"/>
            <p:cNvGrpSpPr/>
            <p:nvPr/>
          </p:nvGrpSpPr>
          <p:grpSpPr>
            <a:xfrm>
              <a:off x="2293759" y="1939634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9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9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87" name="Freeform 153"/>
            <p:cNvSpPr>
              <a:spLocks/>
            </p:cNvSpPr>
            <p:nvPr/>
          </p:nvSpPr>
          <p:spPr bwMode="auto">
            <a:xfrm>
              <a:off x="3121995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8" name="Oval 154"/>
            <p:cNvSpPr>
              <a:spLocks noChangeArrowheads="1"/>
            </p:cNvSpPr>
            <p:nvPr/>
          </p:nvSpPr>
          <p:spPr bwMode="auto">
            <a:xfrm>
              <a:off x="3165640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9" name="Freeform 157"/>
            <p:cNvSpPr>
              <a:spLocks/>
            </p:cNvSpPr>
            <p:nvPr/>
          </p:nvSpPr>
          <p:spPr bwMode="auto">
            <a:xfrm>
              <a:off x="3940704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0" name="Oval 158"/>
            <p:cNvSpPr>
              <a:spLocks noChangeArrowheads="1"/>
            </p:cNvSpPr>
            <p:nvPr/>
          </p:nvSpPr>
          <p:spPr bwMode="auto">
            <a:xfrm>
              <a:off x="3984349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1" name="Freeform 159"/>
            <p:cNvSpPr>
              <a:spLocks/>
            </p:cNvSpPr>
            <p:nvPr/>
          </p:nvSpPr>
          <p:spPr bwMode="auto">
            <a:xfrm>
              <a:off x="3735147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2" name="Oval 160"/>
            <p:cNvSpPr>
              <a:spLocks noChangeArrowheads="1"/>
            </p:cNvSpPr>
            <p:nvPr/>
          </p:nvSpPr>
          <p:spPr bwMode="auto">
            <a:xfrm>
              <a:off x="3780200" y="1939634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493" name="Group 1492"/>
            <p:cNvGrpSpPr/>
            <p:nvPr/>
          </p:nvGrpSpPr>
          <p:grpSpPr>
            <a:xfrm>
              <a:off x="3324033" y="1939634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8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494" name="Freeform 153"/>
            <p:cNvSpPr>
              <a:spLocks/>
            </p:cNvSpPr>
            <p:nvPr/>
          </p:nvSpPr>
          <p:spPr bwMode="auto">
            <a:xfrm>
              <a:off x="4152269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5" name="Oval 154"/>
            <p:cNvSpPr>
              <a:spLocks noChangeArrowheads="1"/>
            </p:cNvSpPr>
            <p:nvPr/>
          </p:nvSpPr>
          <p:spPr bwMode="auto">
            <a:xfrm>
              <a:off x="4195914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6" name="Freeform 157"/>
            <p:cNvSpPr>
              <a:spLocks/>
            </p:cNvSpPr>
            <p:nvPr/>
          </p:nvSpPr>
          <p:spPr bwMode="auto">
            <a:xfrm>
              <a:off x="4970978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7" name="Oval 158"/>
            <p:cNvSpPr>
              <a:spLocks noChangeArrowheads="1"/>
            </p:cNvSpPr>
            <p:nvPr/>
          </p:nvSpPr>
          <p:spPr bwMode="auto">
            <a:xfrm>
              <a:off x="5014623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8" name="Freeform 159"/>
            <p:cNvSpPr>
              <a:spLocks/>
            </p:cNvSpPr>
            <p:nvPr/>
          </p:nvSpPr>
          <p:spPr bwMode="auto">
            <a:xfrm>
              <a:off x="4765421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9" name="Oval 160"/>
            <p:cNvSpPr>
              <a:spLocks noChangeArrowheads="1"/>
            </p:cNvSpPr>
            <p:nvPr/>
          </p:nvSpPr>
          <p:spPr bwMode="auto">
            <a:xfrm>
              <a:off x="4810474" y="1939634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00" name="Group 1499"/>
            <p:cNvGrpSpPr/>
            <p:nvPr/>
          </p:nvGrpSpPr>
          <p:grpSpPr>
            <a:xfrm>
              <a:off x="4354307" y="1939634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8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01" name="Freeform 153"/>
            <p:cNvSpPr>
              <a:spLocks/>
            </p:cNvSpPr>
            <p:nvPr/>
          </p:nvSpPr>
          <p:spPr bwMode="auto">
            <a:xfrm>
              <a:off x="5182543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2" name="Oval 154"/>
            <p:cNvSpPr>
              <a:spLocks noChangeArrowheads="1"/>
            </p:cNvSpPr>
            <p:nvPr/>
          </p:nvSpPr>
          <p:spPr bwMode="auto">
            <a:xfrm>
              <a:off x="5226188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3" name="Freeform 157"/>
            <p:cNvSpPr>
              <a:spLocks/>
            </p:cNvSpPr>
            <p:nvPr/>
          </p:nvSpPr>
          <p:spPr bwMode="auto">
            <a:xfrm>
              <a:off x="6001252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4" name="Oval 158"/>
            <p:cNvSpPr>
              <a:spLocks noChangeArrowheads="1"/>
            </p:cNvSpPr>
            <p:nvPr/>
          </p:nvSpPr>
          <p:spPr bwMode="auto">
            <a:xfrm>
              <a:off x="6044897" y="1939634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5" name="Freeform 159"/>
            <p:cNvSpPr>
              <a:spLocks/>
            </p:cNvSpPr>
            <p:nvPr/>
          </p:nvSpPr>
          <p:spPr bwMode="auto">
            <a:xfrm>
              <a:off x="5795695" y="2045229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6" name="Oval 160"/>
            <p:cNvSpPr>
              <a:spLocks noChangeArrowheads="1"/>
            </p:cNvSpPr>
            <p:nvPr/>
          </p:nvSpPr>
          <p:spPr bwMode="auto">
            <a:xfrm>
              <a:off x="5840748" y="1939634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07" name="Group 1506"/>
            <p:cNvGrpSpPr/>
            <p:nvPr/>
          </p:nvGrpSpPr>
          <p:grpSpPr>
            <a:xfrm>
              <a:off x="5384581" y="1939634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7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8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08" name="Freeform 153"/>
            <p:cNvSpPr>
              <a:spLocks/>
            </p:cNvSpPr>
            <p:nvPr/>
          </p:nvSpPr>
          <p:spPr bwMode="auto">
            <a:xfrm>
              <a:off x="31173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9" name="Oval 154"/>
            <p:cNvSpPr>
              <a:spLocks noChangeArrowheads="1"/>
            </p:cNvSpPr>
            <p:nvPr/>
          </p:nvSpPr>
          <p:spPr bwMode="auto">
            <a:xfrm>
              <a:off x="74818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0" name="Freeform 157"/>
            <p:cNvSpPr>
              <a:spLocks/>
            </p:cNvSpPr>
            <p:nvPr/>
          </p:nvSpPr>
          <p:spPr bwMode="auto">
            <a:xfrm>
              <a:off x="849882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1" name="Oval 158"/>
            <p:cNvSpPr>
              <a:spLocks noChangeArrowheads="1"/>
            </p:cNvSpPr>
            <p:nvPr/>
          </p:nvSpPr>
          <p:spPr bwMode="auto">
            <a:xfrm>
              <a:off x="893527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2" name="Freeform 159"/>
            <p:cNvSpPr>
              <a:spLocks/>
            </p:cNvSpPr>
            <p:nvPr/>
          </p:nvSpPr>
          <p:spPr bwMode="auto">
            <a:xfrm>
              <a:off x="644325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3" name="Oval 160"/>
            <p:cNvSpPr>
              <a:spLocks noChangeArrowheads="1"/>
            </p:cNvSpPr>
            <p:nvPr/>
          </p:nvSpPr>
          <p:spPr bwMode="auto">
            <a:xfrm>
              <a:off x="689378" y="2441861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14" name="Group 1513"/>
            <p:cNvGrpSpPr/>
            <p:nvPr/>
          </p:nvGrpSpPr>
          <p:grpSpPr>
            <a:xfrm>
              <a:off x="233211" y="2441861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7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15" name="Freeform 153"/>
            <p:cNvSpPr>
              <a:spLocks/>
            </p:cNvSpPr>
            <p:nvPr/>
          </p:nvSpPr>
          <p:spPr bwMode="auto">
            <a:xfrm>
              <a:off x="1061447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6" name="Oval 154"/>
            <p:cNvSpPr>
              <a:spLocks noChangeArrowheads="1"/>
            </p:cNvSpPr>
            <p:nvPr/>
          </p:nvSpPr>
          <p:spPr bwMode="auto">
            <a:xfrm>
              <a:off x="1105092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7" name="Freeform 157"/>
            <p:cNvSpPr>
              <a:spLocks/>
            </p:cNvSpPr>
            <p:nvPr/>
          </p:nvSpPr>
          <p:spPr bwMode="auto">
            <a:xfrm>
              <a:off x="1880156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8" name="Oval 158"/>
            <p:cNvSpPr>
              <a:spLocks noChangeArrowheads="1"/>
            </p:cNvSpPr>
            <p:nvPr/>
          </p:nvSpPr>
          <p:spPr bwMode="auto">
            <a:xfrm>
              <a:off x="1923801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9" name="Freeform 159"/>
            <p:cNvSpPr>
              <a:spLocks/>
            </p:cNvSpPr>
            <p:nvPr/>
          </p:nvSpPr>
          <p:spPr bwMode="auto">
            <a:xfrm>
              <a:off x="1674599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0" name="Oval 160"/>
            <p:cNvSpPr>
              <a:spLocks noChangeArrowheads="1"/>
            </p:cNvSpPr>
            <p:nvPr/>
          </p:nvSpPr>
          <p:spPr bwMode="auto">
            <a:xfrm>
              <a:off x="1719652" y="2441861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21" name="Group 1520"/>
            <p:cNvGrpSpPr/>
            <p:nvPr/>
          </p:nvGrpSpPr>
          <p:grpSpPr>
            <a:xfrm>
              <a:off x="1263485" y="2441861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7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7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22" name="Freeform 153"/>
            <p:cNvSpPr>
              <a:spLocks/>
            </p:cNvSpPr>
            <p:nvPr/>
          </p:nvSpPr>
          <p:spPr bwMode="auto">
            <a:xfrm>
              <a:off x="2091721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3" name="Oval 154"/>
            <p:cNvSpPr>
              <a:spLocks noChangeArrowheads="1"/>
            </p:cNvSpPr>
            <p:nvPr/>
          </p:nvSpPr>
          <p:spPr bwMode="auto">
            <a:xfrm>
              <a:off x="2135366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4" name="Freeform 157"/>
            <p:cNvSpPr>
              <a:spLocks/>
            </p:cNvSpPr>
            <p:nvPr/>
          </p:nvSpPr>
          <p:spPr bwMode="auto">
            <a:xfrm>
              <a:off x="2910430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5" name="Oval 158"/>
            <p:cNvSpPr>
              <a:spLocks noChangeArrowheads="1"/>
            </p:cNvSpPr>
            <p:nvPr/>
          </p:nvSpPr>
          <p:spPr bwMode="auto">
            <a:xfrm>
              <a:off x="2954075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6" name="Freeform 159"/>
            <p:cNvSpPr>
              <a:spLocks/>
            </p:cNvSpPr>
            <p:nvPr/>
          </p:nvSpPr>
          <p:spPr bwMode="auto">
            <a:xfrm>
              <a:off x="2704873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7" name="Oval 160"/>
            <p:cNvSpPr>
              <a:spLocks noChangeArrowheads="1"/>
            </p:cNvSpPr>
            <p:nvPr/>
          </p:nvSpPr>
          <p:spPr bwMode="auto">
            <a:xfrm>
              <a:off x="2749926" y="2441861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28" name="Group 1527"/>
            <p:cNvGrpSpPr/>
            <p:nvPr/>
          </p:nvGrpSpPr>
          <p:grpSpPr>
            <a:xfrm>
              <a:off x="2293759" y="2441861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6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29" name="Freeform 153"/>
            <p:cNvSpPr>
              <a:spLocks/>
            </p:cNvSpPr>
            <p:nvPr/>
          </p:nvSpPr>
          <p:spPr bwMode="auto">
            <a:xfrm>
              <a:off x="3121995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0" name="Oval 154"/>
            <p:cNvSpPr>
              <a:spLocks noChangeArrowheads="1"/>
            </p:cNvSpPr>
            <p:nvPr/>
          </p:nvSpPr>
          <p:spPr bwMode="auto">
            <a:xfrm>
              <a:off x="3165640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1" name="Freeform 157"/>
            <p:cNvSpPr>
              <a:spLocks/>
            </p:cNvSpPr>
            <p:nvPr/>
          </p:nvSpPr>
          <p:spPr bwMode="auto">
            <a:xfrm>
              <a:off x="3940704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2" name="Oval 158"/>
            <p:cNvSpPr>
              <a:spLocks noChangeArrowheads="1"/>
            </p:cNvSpPr>
            <p:nvPr/>
          </p:nvSpPr>
          <p:spPr bwMode="auto">
            <a:xfrm>
              <a:off x="3984349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3" name="Freeform 159"/>
            <p:cNvSpPr>
              <a:spLocks/>
            </p:cNvSpPr>
            <p:nvPr/>
          </p:nvSpPr>
          <p:spPr bwMode="auto">
            <a:xfrm>
              <a:off x="3735147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4" name="Oval 160"/>
            <p:cNvSpPr>
              <a:spLocks noChangeArrowheads="1"/>
            </p:cNvSpPr>
            <p:nvPr/>
          </p:nvSpPr>
          <p:spPr bwMode="auto">
            <a:xfrm>
              <a:off x="3780200" y="2441861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35" name="Group 1534"/>
            <p:cNvGrpSpPr/>
            <p:nvPr/>
          </p:nvGrpSpPr>
          <p:grpSpPr>
            <a:xfrm>
              <a:off x="3324033" y="2441861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6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36" name="Freeform 153"/>
            <p:cNvSpPr>
              <a:spLocks/>
            </p:cNvSpPr>
            <p:nvPr/>
          </p:nvSpPr>
          <p:spPr bwMode="auto">
            <a:xfrm>
              <a:off x="4152269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7" name="Oval 154"/>
            <p:cNvSpPr>
              <a:spLocks noChangeArrowheads="1"/>
            </p:cNvSpPr>
            <p:nvPr/>
          </p:nvSpPr>
          <p:spPr bwMode="auto">
            <a:xfrm>
              <a:off x="4195914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8" name="Freeform 157"/>
            <p:cNvSpPr>
              <a:spLocks/>
            </p:cNvSpPr>
            <p:nvPr/>
          </p:nvSpPr>
          <p:spPr bwMode="auto">
            <a:xfrm>
              <a:off x="4970978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9" name="Oval 158"/>
            <p:cNvSpPr>
              <a:spLocks noChangeArrowheads="1"/>
            </p:cNvSpPr>
            <p:nvPr/>
          </p:nvSpPr>
          <p:spPr bwMode="auto">
            <a:xfrm>
              <a:off x="5014623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0" name="Freeform 159"/>
            <p:cNvSpPr>
              <a:spLocks/>
            </p:cNvSpPr>
            <p:nvPr/>
          </p:nvSpPr>
          <p:spPr bwMode="auto">
            <a:xfrm>
              <a:off x="4765421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1" name="Oval 160"/>
            <p:cNvSpPr>
              <a:spLocks noChangeArrowheads="1"/>
            </p:cNvSpPr>
            <p:nvPr/>
          </p:nvSpPr>
          <p:spPr bwMode="auto">
            <a:xfrm>
              <a:off x="4810474" y="2441861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42" name="Group 1541"/>
            <p:cNvGrpSpPr/>
            <p:nvPr/>
          </p:nvGrpSpPr>
          <p:grpSpPr>
            <a:xfrm>
              <a:off x="4354307" y="2441861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5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6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43" name="Freeform 153"/>
            <p:cNvSpPr>
              <a:spLocks/>
            </p:cNvSpPr>
            <p:nvPr/>
          </p:nvSpPr>
          <p:spPr bwMode="auto">
            <a:xfrm>
              <a:off x="5182543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4" name="Oval 154"/>
            <p:cNvSpPr>
              <a:spLocks noChangeArrowheads="1"/>
            </p:cNvSpPr>
            <p:nvPr/>
          </p:nvSpPr>
          <p:spPr bwMode="auto">
            <a:xfrm>
              <a:off x="5226188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5" name="Freeform 157"/>
            <p:cNvSpPr>
              <a:spLocks/>
            </p:cNvSpPr>
            <p:nvPr/>
          </p:nvSpPr>
          <p:spPr bwMode="auto">
            <a:xfrm>
              <a:off x="6001252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6" name="Oval 158"/>
            <p:cNvSpPr>
              <a:spLocks noChangeArrowheads="1"/>
            </p:cNvSpPr>
            <p:nvPr/>
          </p:nvSpPr>
          <p:spPr bwMode="auto">
            <a:xfrm>
              <a:off x="6044897" y="2441861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7" name="Freeform 159"/>
            <p:cNvSpPr>
              <a:spLocks/>
            </p:cNvSpPr>
            <p:nvPr/>
          </p:nvSpPr>
          <p:spPr bwMode="auto">
            <a:xfrm>
              <a:off x="5795695" y="2547456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8" name="Oval 160"/>
            <p:cNvSpPr>
              <a:spLocks noChangeArrowheads="1"/>
            </p:cNvSpPr>
            <p:nvPr/>
          </p:nvSpPr>
          <p:spPr bwMode="auto">
            <a:xfrm>
              <a:off x="5840748" y="2441861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49" name="Group 1548"/>
            <p:cNvGrpSpPr/>
            <p:nvPr/>
          </p:nvGrpSpPr>
          <p:grpSpPr>
            <a:xfrm>
              <a:off x="5384581" y="2441861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5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50" name="Freeform 153"/>
            <p:cNvSpPr>
              <a:spLocks/>
            </p:cNvSpPr>
            <p:nvPr/>
          </p:nvSpPr>
          <p:spPr bwMode="auto">
            <a:xfrm>
              <a:off x="31173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1" name="Oval 154"/>
            <p:cNvSpPr>
              <a:spLocks noChangeArrowheads="1"/>
            </p:cNvSpPr>
            <p:nvPr/>
          </p:nvSpPr>
          <p:spPr bwMode="auto">
            <a:xfrm>
              <a:off x="74818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2" name="Freeform 157"/>
            <p:cNvSpPr>
              <a:spLocks/>
            </p:cNvSpPr>
            <p:nvPr/>
          </p:nvSpPr>
          <p:spPr bwMode="auto">
            <a:xfrm>
              <a:off x="849882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3" name="Oval 158"/>
            <p:cNvSpPr>
              <a:spLocks noChangeArrowheads="1"/>
            </p:cNvSpPr>
            <p:nvPr/>
          </p:nvSpPr>
          <p:spPr bwMode="auto">
            <a:xfrm>
              <a:off x="893527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4" name="Freeform 159"/>
            <p:cNvSpPr>
              <a:spLocks/>
            </p:cNvSpPr>
            <p:nvPr/>
          </p:nvSpPr>
          <p:spPr bwMode="auto">
            <a:xfrm>
              <a:off x="644325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5" name="Oval 160"/>
            <p:cNvSpPr>
              <a:spLocks noChangeArrowheads="1"/>
            </p:cNvSpPr>
            <p:nvPr/>
          </p:nvSpPr>
          <p:spPr bwMode="auto">
            <a:xfrm>
              <a:off x="689378" y="2937162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56" name="Group 1555"/>
            <p:cNvGrpSpPr/>
            <p:nvPr/>
          </p:nvGrpSpPr>
          <p:grpSpPr>
            <a:xfrm>
              <a:off x="233211" y="2937162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5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5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57" name="Freeform 153"/>
            <p:cNvSpPr>
              <a:spLocks/>
            </p:cNvSpPr>
            <p:nvPr/>
          </p:nvSpPr>
          <p:spPr bwMode="auto">
            <a:xfrm>
              <a:off x="1061447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8" name="Oval 154"/>
            <p:cNvSpPr>
              <a:spLocks noChangeArrowheads="1"/>
            </p:cNvSpPr>
            <p:nvPr/>
          </p:nvSpPr>
          <p:spPr bwMode="auto">
            <a:xfrm>
              <a:off x="1105092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59" name="Freeform 157"/>
            <p:cNvSpPr>
              <a:spLocks/>
            </p:cNvSpPr>
            <p:nvPr/>
          </p:nvSpPr>
          <p:spPr bwMode="auto">
            <a:xfrm>
              <a:off x="1880156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0" name="Oval 158"/>
            <p:cNvSpPr>
              <a:spLocks noChangeArrowheads="1"/>
            </p:cNvSpPr>
            <p:nvPr/>
          </p:nvSpPr>
          <p:spPr bwMode="auto">
            <a:xfrm>
              <a:off x="1923801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1" name="Freeform 159"/>
            <p:cNvSpPr>
              <a:spLocks/>
            </p:cNvSpPr>
            <p:nvPr/>
          </p:nvSpPr>
          <p:spPr bwMode="auto">
            <a:xfrm>
              <a:off x="1674599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2" name="Oval 160"/>
            <p:cNvSpPr>
              <a:spLocks noChangeArrowheads="1"/>
            </p:cNvSpPr>
            <p:nvPr/>
          </p:nvSpPr>
          <p:spPr bwMode="auto">
            <a:xfrm>
              <a:off x="1719652" y="2937162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63" name="Group 1562"/>
            <p:cNvGrpSpPr/>
            <p:nvPr/>
          </p:nvGrpSpPr>
          <p:grpSpPr>
            <a:xfrm>
              <a:off x="1263485" y="2937162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4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64" name="Freeform 153"/>
            <p:cNvSpPr>
              <a:spLocks/>
            </p:cNvSpPr>
            <p:nvPr/>
          </p:nvSpPr>
          <p:spPr bwMode="auto">
            <a:xfrm>
              <a:off x="2091721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5" name="Oval 154"/>
            <p:cNvSpPr>
              <a:spLocks noChangeArrowheads="1"/>
            </p:cNvSpPr>
            <p:nvPr/>
          </p:nvSpPr>
          <p:spPr bwMode="auto">
            <a:xfrm>
              <a:off x="2135366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6" name="Freeform 157"/>
            <p:cNvSpPr>
              <a:spLocks/>
            </p:cNvSpPr>
            <p:nvPr/>
          </p:nvSpPr>
          <p:spPr bwMode="auto">
            <a:xfrm>
              <a:off x="2910430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7" name="Oval 158"/>
            <p:cNvSpPr>
              <a:spLocks noChangeArrowheads="1"/>
            </p:cNvSpPr>
            <p:nvPr/>
          </p:nvSpPr>
          <p:spPr bwMode="auto">
            <a:xfrm>
              <a:off x="2954075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8" name="Freeform 159"/>
            <p:cNvSpPr>
              <a:spLocks/>
            </p:cNvSpPr>
            <p:nvPr/>
          </p:nvSpPr>
          <p:spPr bwMode="auto">
            <a:xfrm>
              <a:off x="2704873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69" name="Oval 160"/>
            <p:cNvSpPr>
              <a:spLocks noChangeArrowheads="1"/>
            </p:cNvSpPr>
            <p:nvPr/>
          </p:nvSpPr>
          <p:spPr bwMode="auto">
            <a:xfrm>
              <a:off x="2749926" y="2937162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70" name="Group 1569"/>
            <p:cNvGrpSpPr/>
            <p:nvPr/>
          </p:nvGrpSpPr>
          <p:grpSpPr>
            <a:xfrm>
              <a:off x="2293759" y="2937162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4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71" name="Freeform 153"/>
            <p:cNvSpPr>
              <a:spLocks/>
            </p:cNvSpPr>
            <p:nvPr/>
          </p:nvSpPr>
          <p:spPr bwMode="auto">
            <a:xfrm>
              <a:off x="3121995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2" name="Oval 154"/>
            <p:cNvSpPr>
              <a:spLocks noChangeArrowheads="1"/>
            </p:cNvSpPr>
            <p:nvPr/>
          </p:nvSpPr>
          <p:spPr bwMode="auto">
            <a:xfrm>
              <a:off x="3165640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3" name="Freeform 157"/>
            <p:cNvSpPr>
              <a:spLocks/>
            </p:cNvSpPr>
            <p:nvPr/>
          </p:nvSpPr>
          <p:spPr bwMode="auto">
            <a:xfrm>
              <a:off x="3940704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4" name="Oval 158"/>
            <p:cNvSpPr>
              <a:spLocks noChangeArrowheads="1"/>
            </p:cNvSpPr>
            <p:nvPr/>
          </p:nvSpPr>
          <p:spPr bwMode="auto">
            <a:xfrm>
              <a:off x="3984349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5" name="Freeform 159"/>
            <p:cNvSpPr>
              <a:spLocks/>
            </p:cNvSpPr>
            <p:nvPr/>
          </p:nvSpPr>
          <p:spPr bwMode="auto">
            <a:xfrm>
              <a:off x="3735147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6" name="Oval 160"/>
            <p:cNvSpPr>
              <a:spLocks noChangeArrowheads="1"/>
            </p:cNvSpPr>
            <p:nvPr/>
          </p:nvSpPr>
          <p:spPr bwMode="auto">
            <a:xfrm>
              <a:off x="3780200" y="2937162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77" name="Group 1576"/>
            <p:cNvGrpSpPr/>
            <p:nvPr/>
          </p:nvGrpSpPr>
          <p:grpSpPr>
            <a:xfrm>
              <a:off x="3324033" y="2937162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3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4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78" name="Freeform 153"/>
            <p:cNvSpPr>
              <a:spLocks/>
            </p:cNvSpPr>
            <p:nvPr/>
          </p:nvSpPr>
          <p:spPr bwMode="auto">
            <a:xfrm>
              <a:off x="4152269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9" name="Oval 154"/>
            <p:cNvSpPr>
              <a:spLocks noChangeArrowheads="1"/>
            </p:cNvSpPr>
            <p:nvPr/>
          </p:nvSpPr>
          <p:spPr bwMode="auto">
            <a:xfrm>
              <a:off x="4195914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0" name="Freeform 157"/>
            <p:cNvSpPr>
              <a:spLocks/>
            </p:cNvSpPr>
            <p:nvPr/>
          </p:nvSpPr>
          <p:spPr bwMode="auto">
            <a:xfrm>
              <a:off x="4970978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1" name="Oval 158"/>
            <p:cNvSpPr>
              <a:spLocks noChangeArrowheads="1"/>
            </p:cNvSpPr>
            <p:nvPr/>
          </p:nvSpPr>
          <p:spPr bwMode="auto">
            <a:xfrm>
              <a:off x="5014623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2" name="Freeform 159"/>
            <p:cNvSpPr>
              <a:spLocks/>
            </p:cNvSpPr>
            <p:nvPr/>
          </p:nvSpPr>
          <p:spPr bwMode="auto">
            <a:xfrm>
              <a:off x="4765421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3" name="Oval 160"/>
            <p:cNvSpPr>
              <a:spLocks noChangeArrowheads="1"/>
            </p:cNvSpPr>
            <p:nvPr/>
          </p:nvSpPr>
          <p:spPr bwMode="auto">
            <a:xfrm>
              <a:off x="4810474" y="2937162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84" name="Group 1583"/>
            <p:cNvGrpSpPr/>
            <p:nvPr/>
          </p:nvGrpSpPr>
          <p:grpSpPr>
            <a:xfrm>
              <a:off x="4354307" y="2937162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3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85" name="Freeform 153"/>
            <p:cNvSpPr>
              <a:spLocks/>
            </p:cNvSpPr>
            <p:nvPr/>
          </p:nvSpPr>
          <p:spPr bwMode="auto">
            <a:xfrm>
              <a:off x="5182543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6" name="Oval 154"/>
            <p:cNvSpPr>
              <a:spLocks noChangeArrowheads="1"/>
            </p:cNvSpPr>
            <p:nvPr/>
          </p:nvSpPr>
          <p:spPr bwMode="auto">
            <a:xfrm>
              <a:off x="5226188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7" name="Freeform 157"/>
            <p:cNvSpPr>
              <a:spLocks/>
            </p:cNvSpPr>
            <p:nvPr/>
          </p:nvSpPr>
          <p:spPr bwMode="auto">
            <a:xfrm>
              <a:off x="6001252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8" name="Oval 158"/>
            <p:cNvSpPr>
              <a:spLocks noChangeArrowheads="1"/>
            </p:cNvSpPr>
            <p:nvPr/>
          </p:nvSpPr>
          <p:spPr bwMode="auto">
            <a:xfrm>
              <a:off x="6044897" y="2937162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9" name="Freeform 159"/>
            <p:cNvSpPr>
              <a:spLocks/>
            </p:cNvSpPr>
            <p:nvPr/>
          </p:nvSpPr>
          <p:spPr bwMode="auto">
            <a:xfrm>
              <a:off x="5795695" y="3042757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0" name="Oval 160"/>
            <p:cNvSpPr>
              <a:spLocks noChangeArrowheads="1"/>
            </p:cNvSpPr>
            <p:nvPr/>
          </p:nvSpPr>
          <p:spPr bwMode="auto">
            <a:xfrm>
              <a:off x="5840748" y="2937162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591" name="Group 1590"/>
            <p:cNvGrpSpPr/>
            <p:nvPr/>
          </p:nvGrpSpPr>
          <p:grpSpPr>
            <a:xfrm>
              <a:off x="5384581" y="2937162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3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3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592" name="Freeform 157"/>
            <p:cNvSpPr>
              <a:spLocks/>
            </p:cNvSpPr>
            <p:nvPr/>
          </p:nvSpPr>
          <p:spPr bwMode="auto">
            <a:xfrm>
              <a:off x="8061800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3" name="Oval 158"/>
            <p:cNvSpPr>
              <a:spLocks noChangeArrowheads="1"/>
            </p:cNvSpPr>
            <p:nvPr/>
          </p:nvSpPr>
          <p:spPr bwMode="auto">
            <a:xfrm>
              <a:off x="8105445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4" name="Freeform 159"/>
            <p:cNvSpPr>
              <a:spLocks/>
            </p:cNvSpPr>
            <p:nvPr/>
          </p:nvSpPr>
          <p:spPr bwMode="auto">
            <a:xfrm>
              <a:off x="7856243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5" name="Oval 160"/>
            <p:cNvSpPr>
              <a:spLocks noChangeArrowheads="1"/>
            </p:cNvSpPr>
            <p:nvPr/>
          </p:nvSpPr>
          <p:spPr bwMode="auto">
            <a:xfrm>
              <a:off x="7901296" y="343635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6" name="Freeform 153"/>
            <p:cNvSpPr>
              <a:spLocks/>
            </p:cNvSpPr>
            <p:nvPr/>
          </p:nvSpPr>
          <p:spPr bwMode="auto">
            <a:xfrm>
              <a:off x="8273365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7" name="Oval 154"/>
            <p:cNvSpPr>
              <a:spLocks noChangeArrowheads="1"/>
            </p:cNvSpPr>
            <p:nvPr/>
          </p:nvSpPr>
          <p:spPr bwMode="auto">
            <a:xfrm>
              <a:off x="8317010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8" name="Freeform 157"/>
            <p:cNvSpPr>
              <a:spLocks/>
            </p:cNvSpPr>
            <p:nvPr/>
          </p:nvSpPr>
          <p:spPr bwMode="auto">
            <a:xfrm>
              <a:off x="9092074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99" name="Oval 158"/>
            <p:cNvSpPr>
              <a:spLocks noChangeArrowheads="1"/>
            </p:cNvSpPr>
            <p:nvPr/>
          </p:nvSpPr>
          <p:spPr bwMode="auto">
            <a:xfrm>
              <a:off x="9135719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0" name="Freeform 159"/>
            <p:cNvSpPr>
              <a:spLocks/>
            </p:cNvSpPr>
            <p:nvPr/>
          </p:nvSpPr>
          <p:spPr bwMode="auto">
            <a:xfrm>
              <a:off x="8886517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1" name="Oval 160"/>
            <p:cNvSpPr>
              <a:spLocks noChangeArrowheads="1"/>
            </p:cNvSpPr>
            <p:nvPr/>
          </p:nvSpPr>
          <p:spPr bwMode="auto">
            <a:xfrm>
              <a:off x="8931570" y="343635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02" name="Group 1601"/>
            <p:cNvGrpSpPr/>
            <p:nvPr/>
          </p:nvGrpSpPr>
          <p:grpSpPr>
            <a:xfrm>
              <a:off x="8475403" y="343635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2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03" name="Freeform 153"/>
            <p:cNvSpPr>
              <a:spLocks/>
            </p:cNvSpPr>
            <p:nvPr/>
          </p:nvSpPr>
          <p:spPr bwMode="auto">
            <a:xfrm>
              <a:off x="9303639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4" name="Oval 154"/>
            <p:cNvSpPr>
              <a:spLocks noChangeArrowheads="1"/>
            </p:cNvSpPr>
            <p:nvPr/>
          </p:nvSpPr>
          <p:spPr bwMode="auto">
            <a:xfrm>
              <a:off x="9347284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5" name="Freeform 157"/>
            <p:cNvSpPr>
              <a:spLocks/>
            </p:cNvSpPr>
            <p:nvPr/>
          </p:nvSpPr>
          <p:spPr bwMode="auto">
            <a:xfrm>
              <a:off x="10122348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6" name="Oval 158"/>
            <p:cNvSpPr>
              <a:spLocks noChangeArrowheads="1"/>
            </p:cNvSpPr>
            <p:nvPr/>
          </p:nvSpPr>
          <p:spPr bwMode="auto">
            <a:xfrm>
              <a:off x="10165993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7" name="Freeform 159"/>
            <p:cNvSpPr>
              <a:spLocks/>
            </p:cNvSpPr>
            <p:nvPr/>
          </p:nvSpPr>
          <p:spPr bwMode="auto">
            <a:xfrm>
              <a:off x="9916791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08" name="Oval 160"/>
            <p:cNvSpPr>
              <a:spLocks noChangeArrowheads="1"/>
            </p:cNvSpPr>
            <p:nvPr/>
          </p:nvSpPr>
          <p:spPr bwMode="auto">
            <a:xfrm>
              <a:off x="9961844" y="343635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09" name="Group 1608"/>
            <p:cNvGrpSpPr/>
            <p:nvPr/>
          </p:nvGrpSpPr>
          <p:grpSpPr>
            <a:xfrm>
              <a:off x="9505677" y="343635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2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10" name="Freeform 153"/>
            <p:cNvSpPr>
              <a:spLocks/>
            </p:cNvSpPr>
            <p:nvPr/>
          </p:nvSpPr>
          <p:spPr bwMode="auto">
            <a:xfrm>
              <a:off x="10333913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1" name="Oval 154"/>
            <p:cNvSpPr>
              <a:spLocks noChangeArrowheads="1"/>
            </p:cNvSpPr>
            <p:nvPr/>
          </p:nvSpPr>
          <p:spPr bwMode="auto">
            <a:xfrm>
              <a:off x="10377558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2" name="Freeform 157"/>
            <p:cNvSpPr>
              <a:spLocks/>
            </p:cNvSpPr>
            <p:nvPr/>
          </p:nvSpPr>
          <p:spPr bwMode="auto">
            <a:xfrm>
              <a:off x="11152622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3" name="Oval 158"/>
            <p:cNvSpPr>
              <a:spLocks noChangeArrowheads="1"/>
            </p:cNvSpPr>
            <p:nvPr/>
          </p:nvSpPr>
          <p:spPr bwMode="auto">
            <a:xfrm>
              <a:off x="11196267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4" name="Freeform 159"/>
            <p:cNvSpPr>
              <a:spLocks/>
            </p:cNvSpPr>
            <p:nvPr/>
          </p:nvSpPr>
          <p:spPr bwMode="auto">
            <a:xfrm>
              <a:off x="10947065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5" name="Oval 160"/>
            <p:cNvSpPr>
              <a:spLocks noChangeArrowheads="1"/>
            </p:cNvSpPr>
            <p:nvPr/>
          </p:nvSpPr>
          <p:spPr bwMode="auto">
            <a:xfrm>
              <a:off x="10992118" y="343635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16" name="Group 1615"/>
            <p:cNvGrpSpPr/>
            <p:nvPr/>
          </p:nvGrpSpPr>
          <p:grpSpPr>
            <a:xfrm>
              <a:off x="10535951" y="343635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1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2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17" name="Freeform 153"/>
            <p:cNvSpPr>
              <a:spLocks/>
            </p:cNvSpPr>
            <p:nvPr/>
          </p:nvSpPr>
          <p:spPr bwMode="auto">
            <a:xfrm>
              <a:off x="11364191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8" name="Oval 154"/>
            <p:cNvSpPr>
              <a:spLocks noChangeArrowheads="1"/>
            </p:cNvSpPr>
            <p:nvPr/>
          </p:nvSpPr>
          <p:spPr bwMode="auto">
            <a:xfrm>
              <a:off x="11407836" y="3436358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9" name="Freeform 159"/>
            <p:cNvSpPr>
              <a:spLocks/>
            </p:cNvSpPr>
            <p:nvPr/>
          </p:nvSpPr>
          <p:spPr bwMode="auto">
            <a:xfrm>
              <a:off x="11977343" y="3541953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0" name="Oval 160"/>
            <p:cNvSpPr>
              <a:spLocks noChangeArrowheads="1"/>
            </p:cNvSpPr>
            <p:nvPr/>
          </p:nvSpPr>
          <p:spPr bwMode="auto">
            <a:xfrm>
              <a:off x="12022397" y="3436358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21" name="Group 1620"/>
            <p:cNvGrpSpPr/>
            <p:nvPr/>
          </p:nvGrpSpPr>
          <p:grpSpPr>
            <a:xfrm>
              <a:off x="11566229" y="3436358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1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22" name="Freeform 153"/>
            <p:cNvSpPr>
              <a:spLocks/>
            </p:cNvSpPr>
            <p:nvPr/>
          </p:nvSpPr>
          <p:spPr bwMode="auto">
            <a:xfrm>
              <a:off x="106144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3" name="Oval 154"/>
            <p:cNvSpPr>
              <a:spLocks noChangeArrowheads="1"/>
            </p:cNvSpPr>
            <p:nvPr/>
          </p:nvSpPr>
          <p:spPr bwMode="auto">
            <a:xfrm>
              <a:off x="1105092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4" name="Freeform 157"/>
            <p:cNvSpPr>
              <a:spLocks/>
            </p:cNvSpPr>
            <p:nvPr/>
          </p:nvSpPr>
          <p:spPr bwMode="auto">
            <a:xfrm>
              <a:off x="1880156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5" name="Oval 158"/>
            <p:cNvSpPr>
              <a:spLocks noChangeArrowheads="1"/>
            </p:cNvSpPr>
            <p:nvPr/>
          </p:nvSpPr>
          <p:spPr bwMode="auto">
            <a:xfrm>
              <a:off x="1923801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6" name="Freeform 159"/>
            <p:cNvSpPr>
              <a:spLocks/>
            </p:cNvSpPr>
            <p:nvPr/>
          </p:nvSpPr>
          <p:spPr bwMode="auto">
            <a:xfrm>
              <a:off x="167459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7" name="Oval 160"/>
            <p:cNvSpPr>
              <a:spLocks noChangeArrowheads="1"/>
            </p:cNvSpPr>
            <p:nvPr/>
          </p:nvSpPr>
          <p:spPr bwMode="auto">
            <a:xfrm>
              <a:off x="1719652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28" name="Group 1627"/>
            <p:cNvGrpSpPr/>
            <p:nvPr/>
          </p:nvGrpSpPr>
          <p:grpSpPr>
            <a:xfrm>
              <a:off x="1263485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1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1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29" name="Freeform 153"/>
            <p:cNvSpPr>
              <a:spLocks/>
            </p:cNvSpPr>
            <p:nvPr/>
          </p:nvSpPr>
          <p:spPr bwMode="auto">
            <a:xfrm>
              <a:off x="209172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0" name="Oval 154"/>
            <p:cNvSpPr>
              <a:spLocks noChangeArrowheads="1"/>
            </p:cNvSpPr>
            <p:nvPr/>
          </p:nvSpPr>
          <p:spPr bwMode="auto">
            <a:xfrm>
              <a:off x="2135366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1" name="Freeform 157"/>
            <p:cNvSpPr>
              <a:spLocks/>
            </p:cNvSpPr>
            <p:nvPr/>
          </p:nvSpPr>
          <p:spPr bwMode="auto">
            <a:xfrm>
              <a:off x="2910430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2" name="Oval 158"/>
            <p:cNvSpPr>
              <a:spLocks noChangeArrowheads="1"/>
            </p:cNvSpPr>
            <p:nvPr/>
          </p:nvSpPr>
          <p:spPr bwMode="auto">
            <a:xfrm>
              <a:off x="2954075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3" name="Freeform 159"/>
            <p:cNvSpPr>
              <a:spLocks/>
            </p:cNvSpPr>
            <p:nvPr/>
          </p:nvSpPr>
          <p:spPr bwMode="auto">
            <a:xfrm>
              <a:off x="270487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4" name="Oval 160"/>
            <p:cNvSpPr>
              <a:spLocks noChangeArrowheads="1"/>
            </p:cNvSpPr>
            <p:nvPr/>
          </p:nvSpPr>
          <p:spPr bwMode="auto">
            <a:xfrm>
              <a:off x="2749926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35" name="Group 1634"/>
            <p:cNvGrpSpPr/>
            <p:nvPr/>
          </p:nvGrpSpPr>
          <p:grpSpPr>
            <a:xfrm>
              <a:off x="229375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0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36" name="Freeform 153"/>
            <p:cNvSpPr>
              <a:spLocks/>
            </p:cNvSpPr>
            <p:nvPr/>
          </p:nvSpPr>
          <p:spPr bwMode="auto">
            <a:xfrm>
              <a:off x="312199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7" name="Oval 154"/>
            <p:cNvSpPr>
              <a:spLocks noChangeArrowheads="1"/>
            </p:cNvSpPr>
            <p:nvPr/>
          </p:nvSpPr>
          <p:spPr bwMode="auto">
            <a:xfrm>
              <a:off x="3165640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8" name="Freeform 157"/>
            <p:cNvSpPr>
              <a:spLocks/>
            </p:cNvSpPr>
            <p:nvPr/>
          </p:nvSpPr>
          <p:spPr bwMode="auto">
            <a:xfrm>
              <a:off x="3940704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39" name="Oval 158"/>
            <p:cNvSpPr>
              <a:spLocks noChangeArrowheads="1"/>
            </p:cNvSpPr>
            <p:nvPr/>
          </p:nvSpPr>
          <p:spPr bwMode="auto">
            <a:xfrm>
              <a:off x="3984349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0" name="Freeform 159"/>
            <p:cNvSpPr>
              <a:spLocks/>
            </p:cNvSpPr>
            <p:nvPr/>
          </p:nvSpPr>
          <p:spPr bwMode="auto">
            <a:xfrm>
              <a:off x="373514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1" name="Oval 160"/>
            <p:cNvSpPr>
              <a:spLocks noChangeArrowheads="1"/>
            </p:cNvSpPr>
            <p:nvPr/>
          </p:nvSpPr>
          <p:spPr bwMode="auto">
            <a:xfrm>
              <a:off x="3780200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42" name="Group 1641"/>
            <p:cNvGrpSpPr/>
            <p:nvPr/>
          </p:nvGrpSpPr>
          <p:grpSpPr>
            <a:xfrm>
              <a:off x="3324033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70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43" name="Freeform 153"/>
            <p:cNvSpPr>
              <a:spLocks/>
            </p:cNvSpPr>
            <p:nvPr/>
          </p:nvSpPr>
          <p:spPr bwMode="auto">
            <a:xfrm>
              <a:off x="415226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4" name="Oval 154"/>
            <p:cNvSpPr>
              <a:spLocks noChangeArrowheads="1"/>
            </p:cNvSpPr>
            <p:nvPr/>
          </p:nvSpPr>
          <p:spPr bwMode="auto">
            <a:xfrm>
              <a:off x="4195914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5" name="Freeform 157"/>
            <p:cNvSpPr>
              <a:spLocks/>
            </p:cNvSpPr>
            <p:nvPr/>
          </p:nvSpPr>
          <p:spPr bwMode="auto">
            <a:xfrm>
              <a:off x="4970978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6" name="Oval 158"/>
            <p:cNvSpPr>
              <a:spLocks noChangeArrowheads="1"/>
            </p:cNvSpPr>
            <p:nvPr/>
          </p:nvSpPr>
          <p:spPr bwMode="auto">
            <a:xfrm>
              <a:off x="5014623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7" name="Freeform 159"/>
            <p:cNvSpPr>
              <a:spLocks/>
            </p:cNvSpPr>
            <p:nvPr/>
          </p:nvSpPr>
          <p:spPr bwMode="auto">
            <a:xfrm>
              <a:off x="476542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48" name="Oval 160"/>
            <p:cNvSpPr>
              <a:spLocks noChangeArrowheads="1"/>
            </p:cNvSpPr>
            <p:nvPr/>
          </p:nvSpPr>
          <p:spPr bwMode="auto">
            <a:xfrm>
              <a:off x="4810474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49" name="Group 1648"/>
            <p:cNvGrpSpPr/>
            <p:nvPr/>
          </p:nvGrpSpPr>
          <p:grpSpPr>
            <a:xfrm>
              <a:off x="4354307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698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9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0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01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50" name="Freeform 153"/>
            <p:cNvSpPr>
              <a:spLocks/>
            </p:cNvSpPr>
            <p:nvPr/>
          </p:nvSpPr>
          <p:spPr bwMode="auto">
            <a:xfrm>
              <a:off x="51825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1" name="Oval 154"/>
            <p:cNvSpPr>
              <a:spLocks noChangeArrowheads="1"/>
            </p:cNvSpPr>
            <p:nvPr/>
          </p:nvSpPr>
          <p:spPr bwMode="auto">
            <a:xfrm>
              <a:off x="5226188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2" name="Freeform 157"/>
            <p:cNvSpPr>
              <a:spLocks/>
            </p:cNvSpPr>
            <p:nvPr/>
          </p:nvSpPr>
          <p:spPr bwMode="auto">
            <a:xfrm>
              <a:off x="8061800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3" name="Oval 158"/>
            <p:cNvSpPr>
              <a:spLocks noChangeArrowheads="1"/>
            </p:cNvSpPr>
            <p:nvPr/>
          </p:nvSpPr>
          <p:spPr bwMode="auto">
            <a:xfrm>
              <a:off x="8105445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4" name="Freeform 159"/>
            <p:cNvSpPr>
              <a:spLocks/>
            </p:cNvSpPr>
            <p:nvPr/>
          </p:nvSpPr>
          <p:spPr bwMode="auto">
            <a:xfrm>
              <a:off x="78562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5" name="Oval 160"/>
            <p:cNvSpPr>
              <a:spLocks noChangeArrowheads="1"/>
            </p:cNvSpPr>
            <p:nvPr/>
          </p:nvSpPr>
          <p:spPr bwMode="auto">
            <a:xfrm>
              <a:off x="7901296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6" name="Freeform 153"/>
            <p:cNvSpPr>
              <a:spLocks/>
            </p:cNvSpPr>
            <p:nvPr/>
          </p:nvSpPr>
          <p:spPr bwMode="auto">
            <a:xfrm>
              <a:off x="827336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7" name="Oval 154"/>
            <p:cNvSpPr>
              <a:spLocks noChangeArrowheads="1"/>
            </p:cNvSpPr>
            <p:nvPr/>
          </p:nvSpPr>
          <p:spPr bwMode="auto">
            <a:xfrm>
              <a:off x="8317010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8" name="Freeform 157"/>
            <p:cNvSpPr>
              <a:spLocks/>
            </p:cNvSpPr>
            <p:nvPr/>
          </p:nvSpPr>
          <p:spPr bwMode="auto">
            <a:xfrm>
              <a:off x="9092074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9" name="Oval 158"/>
            <p:cNvSpPr>
              <a:spLocks noChangeArrowheads="1"/>
            </p:cNvSpPr>
            <p:nvPr/>
          </p:nvSpPr>
          <p:spPr bwMode="auto">
            <a:xfrm>
              <a:off x="9135719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0" name="Freeform 159"/>
            <p:cNvSpPr>
              <a:spLocks/>
            </p:cNvSpPr>
            <p:nvPr/>
          </p:nvSpPr>
          <p:spPr bwMode="auto">
            <a:xfrm>
              <a:off x="8886517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1" name="Oval 160"/>
            <p:cNvSpPr>
              <a:spLocks noChangeArrowheads="1"/>
            </p:cNvSpPr>
            <p:nvPr/>
          </p:nvSpPr>
          <p:spPr bwMode="auto">
            <a:xfrm>
              <a:off x="8931570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62" name="Group 1661"/>
            <p:cNvGrpSpPr/>
            <p:nvPr/>
          </p:nvGrpSpPr>
          <p:grpSpPr>
            <a:xfrm>
              <a:off x="8475403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694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5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6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7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63" name="Freeform 153"/>
            <p:cNvSpPr>
              <a:spLocks/>
            </p:cNvSpPr>
            <p:nvPr/>
          </p:nvSpPr>
          <p:spPr bwMode="auto">
            <a:xfrm>
              <a:off x="9303639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4" name="Oval 154"/>
            <p:cNvSpPr>
              <a:spLocks noChangeArrowheads="1"/>
            </p:cNvSpPr>
            <p:nvPr/>
          </p:nvSpPr>
          <p:spPr bwMode="auto">
            <a:xfrm>
              <a:off x="9347284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5" name="Freeform 157"/>
            <p:cNvSpPr>
              <a:spLocks/>
            </p:cNvSpPr>
            <p:nvPr/>
          </p:nvSpPr>
          <p:spPr bwMode="auto">
            <a:xfrm>
              <a:off x="10122348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6" name="Oval 158"/>
            <p:cNvSpPr>
              <a:spLocks noChangeArrowheads="1"/>
            </p:cNvSpPr>
            <p:nvPr/>
          </p:nvSpPr>
          <p:spPr bwMode="auto">
            <a:xfrm>
              <a:off x="10165993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7" name="Freeform 159"/>
            <p:cNvSpPr>
              <a:spLocks/>
            </p:cNvSpPr>
            <p:nvPr/>
          </p:nvSpPr>
          <p:spPr bwMode="auto">
            <a:xfrm>
              <a:off x="99167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8" name="Oval 160"/>
            <p:cNvSpPr>
              <a:spLocks noChangeArrowheads="1"/>
            </p:cNvSpPr>
            <p:nvPr/>
          </p:nvSpPr>
          <p:spPr bwMode="auto">
            <a:xfrm>
              <a:off x="9961844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69" name="Group 1668"/>
            <p:cNvGrpSpPr/>
            <p:nvPr/>
          </p:nvGrpSpPr>
          <p:grpSpPr>
            <a:xfrm>
              <a:off x="9505677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690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1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2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93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70" name="Freeform 153"/>
            <p:cNvSpPr>
              <a:spLocks/>
            </p:cNvSpPr>
            <p:nvPr/>
          </p:nvSpPr>
          <p:spPr bwMode="auto">
            <a:xfrm>
              <a:off x="1033391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1" name="Oval 154"/>
            <p:cNvSpPr>
              <a:spLocks noChangeArrowheads="1"/>
            </p:cNvSpPr>
            <p:nvPr/>
          </p:nvSpPr>
          <p:spPr bwMode="auto">
            <a:xfrm>
              <a:off x="10377558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2" name="Freeform 157"/>
            <p:cNvSpPr>
              <a:spLocks/>
            </p:cNvSpPr>
            <p:nvPr/>
          </p:nvSpPr>
          <p:spPr bwMode="auto">
            <a:xfrm>
              <a:off x="11152622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19 w 109"/>
                <a:gd name="T11" fmla="*/ 104 h 213"/>
                <a:gd name="T12" fmla="*/ 19 w 109"/>
                <a:gd name="T13" fmla="*/ 35 h 213"/>
                <a:gd name="T14" fmla="*/ 21 w 109"/>
                <a:gd name="T15" fmla="*/ 33 h 213"/>
                <a:gd name="T16" fmla="*/ 21 w 109"/>
                <a:gd name="T17" fmla="*/ 33 h 213"/>
                <a:gd name="T18" fmla="*/ 23 w 109"/>
                <a:gd name="T19" fmla="*/ 35 h 213"/>
                <a:gd name="T20" fmla="*/ 23 w 109"/>
                <a:gd name="T21" fmla="*/ 198 h 213"/>
                <a:gd name="T22" fmla="*/ 37 w 109"/>
                <a:gd name="T23" fmla="*/ 213 h 213"/>
                <a:gd name="T24" fmla="*/ 52 w 109"/>
                <a:gd name="T25" fmla="*/ 198 h 213"/>
                <a:gd name="T26" fmla="*/ 52 w 109"/>
                <a:gd name="T27" fmla="*/ 116 h 213"/>
                <a:gd name="T28" fmla="*/ 54 w 109"/>
                <a:gd name="T29" fmla="*/ 114 h 213"/>
                <a:gd name="T30" fmla="*/ 54 w 109"/>
                <a:gd name="T31" fmla="*/ 114 h 213"/>
                <a:gd name="T32" fmla="*/ 56 w 109"/>
                <a:gd name="T33" fmla="*/ 116 h 213"/>
                <a:gd name="T34" fmla="*/ 56 w 109"/>
                <a:gd name="T35" fmla="*/ 198 h 213"/>
                <a:gd name="T36" fmla="*/ 70 w 109"/>
                <a:gd name="T37" fmla="*/ 213 h 213"/>
                <a:gd name="T38" fmla="*/ 85 w 109"/>
                <a:gd name="T39" fmla="*/ 198 h 213"/>
                <a:gd name="T40" fmla="*/ 85 w 109"/>
                <a:gd name="T41" fmla="*/ 35 h 213"/>
                <a:gd name="T42" fmla="*/ 87 w 109"/>
                <a:gd name="T43" fmla="*/ 33 h 213"/>
                <a:gd name="T44" fmla="*/ 87 w 109"/>
                <a:gd name="T45" fmla="*/ 33 h 213"/>
                <a:gd name="T46" fmla="*/ 89 w 109"/>
                <a:gd name="T47" fmla="*/ 35 h 213"/>
                <a:gd name="T48" fmla="*/ 89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6" y="100"/>
                    <a:pt x="16" y="106"/>
                  </a:cubicBezTo>
                  <a:cubicBezTo>
                    <a:pt x="17" y="107"/>
                    <a:pt x="19" y="105"/>
                    <a:pt x="19" y="10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20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3" y="33"/>
                    <a:pt x="23" y="34"/>
                    <a:pt x="23" y="35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3" y="206"/>
                    <a:pt x="30" y="213"/>
                    <a:pt x="37" y="213"/>
                  </a:cubicBezTo>
                  <a:cubicBezTo>
                    <a:pt x="46" y="213"/>
                    <a:pt x="52" y="207"/>
                    <a:pt x="52" y="198"/>
                  </a:cubicBezTo>
                  <a:cubicBezTo>
                    <a:pt x="52" y="116"/>
                    <a:pt x="52" y="116"/>
                    <a:pt x="52" y="116"/>
                  </a:cubicBezTo>
                  <a:cubicBezTo>
                    <a:pt x="52" y="115"/>
                    <a:pt x="53" y="114"/>
                    <a:pt x="54" y="11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55" y="114"/>
                    <a:pt x="56" y="115"/>
                    <a:pt x="56" y="116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6" y="206"/>
                    <a:pt x="62" y="213"/>
                    <a:pt x="70" y="213"/>
                  </a:cubicBezTo>
                  <a:cubicBezTo>
                    <a:pt x="79" y="213"/>
                    <a:pt x="85" y="207"/>
                    <a:pt x="85" y="198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5" y="34"/>
                    <a:pt x="86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4"/>
                    <a:pt x="89" y="35"/>
                  </a:cubicBezTo>
                  <a:cubicBezTo>
                    <a:pt x="89" y="103"/>
                    <a:pt x="89" y="103"/>
                    <a:pt x="89" y="103"/>
                  </a:cubicBezTo>
                  <a:cubicBezTo>
                    <a:pt x="89" y="105"/>
                    <a:pt x="91" y="106"/>
                    <a:pt x="93" y="105"/>
                  </a:cubicBezTo>
                  <a:cubicBezTo>
                    <a:pt x="102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4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3" name="Oval 158"/>
            <p:cNvSpPr>
              <a:spLocks noChangeArrowheads="1"/>
            </p:cNvSpPr>
            <p:nvPr/>
          </p:nvSpPr>
          <p:spPr bwMode="auto">
            <a:xfrm>
              <a:off x="11196267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4" name="Freeform 159"/>
            <p:cNvSpPr>
              <a:spLocks/>
            </p:cNvSpPr>
            <p:nvPr/>
          </p:nvSpPr>
          <p:spPr bwMode="auto">
            <a:xfrm>
              <a:off x="10947065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5" name="Oval 160"/>
            <p:cNvSpPr>
              <a:spLocks noChangeArrowheads="1"/>
            </p:cNvSpPr>
            <p:nvPr/>
          </p:nvSpPr>
          <p:spPr bwMode="auto">
            <a:xfrm>
              <a:off x="10992118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76" name="Group 1675"/>
            <p:cNvGrpSpPr/>
            <p:nvPr/>
          </p:nvGrpSpPr>
          <p:grpSpPr>
            <a:xfrm>
              <a:off x="10535951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686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7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8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9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677" name="Freeform 153"/>
            <p:cNvSpPr>
              <a:spLocks/>
            </p:cNvSpPr>
            <p:nvPr/>
          </p:nvSpPr>
          <p:spPr bwMode="auto">
            <a:xfrm>
              <a:off x="11364191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3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3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8" name="Oval 154"/>
            <p:cNvSpPr>
              <a:spLocks noChangeArrowheads="1"/>
            </p:cNvSpPr>
            <p:nvPr/>
          </p:nvSpPr>
          <p:spPr bwMode="auto">
            <a:xfrm>
              <a:off x="11407836" y="3938585"/>
              <a:ext cx="95035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79" name="Freeform 159"/>
            <p:cNvSpPr>
              <a:spLocks/>
            </p:cNvSpPr>
            <p:nvPr/>
          </p:nvSpPr>
          <p:spPr bwMode="auto">
            <a:xfrm>
              <a:off x="11977343" y="4044180"/>
              <a:ext cx="182326" cy="355501"/>
            </a:xfrm>
            <a:custGeom>
              <a:avLst/>
              <a:gdLst>
                <a:gd name="T0" fmla="*/ 77 w 109"/>
                <a:gd name="T1" fmla="*/ 0 h 213"/>
                <a:gd name="T2" fmla="*/ 32 w 109"/>
                <a:gd name="T3" fmla="*/ 0 h 213"/>
                <a:gd name="T4" fmla="*/ 0 w 109"/>
                <a:gd name="T5" fmla="*/ 32 h 213"/>
                <a:gd name="T6" fmla="*/ 0 w 109"/>
                <a:gd name="T7" fmla="*/ 78 h 213"/>
                <a:gd name="T8" fmla="*/ 16 w 109"/>
                <a:gd name="T9" fmla="*/ 106 h 213"/>
                <a:gd name="T10" fmla="*/ 20 w 109"/>
                <a:gd name="T11" fmla="*/ 104 h 213"/>
                <a:gd name="T12" fmla="*/ 20 w 109"/>
                <a:gd name="T13" fmla="*/ 35 h 213"/>
                <a:gd name="T14" fmla="*/ 22 w 109"/>
                <a:gd name="T15" fmla="*/ 33 h 213"/>
                <a:gd name="T16" fmla="*/ 22 w 109"/>
                <a:gd name="T17" fmla="*/ 33 h 213"/>
                <a:gd name="T18" fmla="*/ 24 w 109"/>
                <a:gd name="T19" fmla="*/ 35 h 213"/>
                <a:gd name="T20" fmla="*/ 24 w 109"/>
                <a:gd name="T21" fmla="*/ 198 h 213"/>
                <a:gd name="T22" fmla="*/ 38 w 109"/>
                <a:gd name="T23" fmla="*/ 213 h 213"/>
                <a:gd name="T24" fmla="*/ 53 w 109"/>
                <a:gd name="T25" fmla="*/ 198 h 213"/>
                <a:gd name="T26" fmla="*/ 53 w 109"/>
                <a:gd name="T27" fmla="*/ 116 h 213"/>
                <a:gd name="T28" fmla="*/ 55 w 109"/>
                <a:gd name="T29" fmla="*/ 114 h 213"/>
                <a:gd name="T30" fmla="*/ 55 w 109"/>
                <a:gd name="T31" fmla="*/ 114 h 213"/>
                <a:gd name="T32" fmla="*/ 57 w 109"/>
                <a:gd name="T33" fmla="*/ 116 h 213"/>
                <a:gd name="T34" fmla="*/ 57 w 109"/>
                <a:gd name="T35" fmla="*/ 198 h 213"/>
                <a:gd name="T36" fmla="*/ 71 w 109"/>
                <a:gd name="T37" fmla="*/ 213 h 213"/>
                <a:gd name="T38" fmla="*/ 86 w 109"/>
                <a:gd name="T39" fmla="*/ 198 h 213"/>
                <a:gd name="T40" fmla="*/ 86 w 109"/>
                <a:gd name="T41" fmla="*/ 35 h 213"/>
                <a:gd name="T42" fmla="*/ 88 w 109"/>
                <a:gd name="T43" fmla="*/ 33 h 213"/>
                <a:gd name="T44" fmla="*/ 88 w 109"/>
                <a:gd name="T45" fmla="*/ 33 h 213"/>
                <a:gd name="T46" fmla="*/ 90 w 109"/>
                <a:gd name="T47" fmla="*/ 35 h 213"/>
                <a:gd name="T48" fmla="*/ 90 w 109"/>
                <a:gd name="T49" fmla="*/ 103 h 213"/>
                <a:gd name="T50" fmla="*/ 94 w 109"/>
                <a:gd name="T51" fmla="*/ 105 h 213"/>
                <a:gd name="T52" fmla="*/ 109 w 109"/>
                <a:gd name="T53" fmla="*/ 78 h 213"/>
                <a:gd name="T54" fmla="*/ 109 w 109"/>
                <a:gd name="T55" fmla="*/ 32 h 213"/>
                <a:gd name="T56" fmla="*/ 77 w 109"/>
                <a:gd name="T57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9" h="213">
                  <a:moveTo>
                    <a:pt x="7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90"/>
                    <a:pt x="7" y="100"/>
                    <a:pt x="16" y="106"/>
                  </a:cubicBezTo>
                  <a:cubicBezTo>
                    <a:pt x="18" y="107"/>
                    <a:pt x="20" y="105"/>
                    <a:pt x="20" y="104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3"/>
                    <a:pt x="24" y="34"/>
                    <a:pt x="24" y="35"/>
                  </a:cubicBezTo>
                  <a:cubicBezTo>
                    <a:pt x="24" y="198"/>
                    <a:pt x="24" y="198"/>
                    <a:pt x="24" y="198"/>
                  </a:cubicBezTo>
                  <a:cubicBezTo>
                    <a:pt x="24" y="206"/>
                    <a:pt x="30" y="213"/>
                    <a:pt x="38" y="213"/>
                  </a:cubicBezTo>
                  <a:cubicBezTo>
                    <a:pt x="46" y="213"/>
                    <a:pt x="53" y="207"/>
                    <a:pt x="53" y="198"/>
                  </a:cubicBezTo>
                  <a:cubicBezTo>
                    <a:pt x="53" y="116"/>
                    <a:pt x="53" y="116"/>
                    <a:pt x="53" y="116"/>
                  </a:cubicBezTo>
                  <a:cubicBezTo>
                    <a:pt x="53" y="115"/>
                    <a:pt x="54" y="114"/>
                    <a:pt x="55" y="114"/>
                  </a:cubicBezTo>
                  <a:cubicBezTo>
                    <a:pt x="55" y="114"/>
                    <a:pt x="55" y="114"/>
                    <a:pt x="55" y="114"/>
                  </a:cubicBezTo>
                  <a:cubicBezTo>
                    <a:pt x="56" y="114"/>
                    <a:pt x="57" y="115"/>
                    <a:pt x="57" y="116"/>
                  </a:cubicBezTo>
                  <a:cubicBezTo>
                    <a:pt x="57" y="198"/>
                    <a:pt x="57" y="198"/>
                    <a:pt x="57" y="198"/>
                  </a:cubicBezTo>
                  <a:cubicBezTo>
                    <a:pt x="57" y="206"/>
                    <a:pt x="63" y="213"/>
                    <a:pt x="71" y="213"/>
                  </a:cubicBezTo>
                  <a:cubicBezTo>
                    <a:pt x="79" y="213"/>
                    <a:pt x="86" y="207"/>
                    <a:pt x="86" y="198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7" y="33"/>
                    <a:pt x="88" y="3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9" y="33"/>
                    <a:pt x="90" y="34"/>
                    <a:pt x="90" y="35"/>
                  </a:cubicBezTo>
                  <a:cubicBezTo>
                    <a:pt x="90" y="103"/>
                    <a:pt x="90" y="103"/>
                    <a:pt x="90" y="103"/>
                  </a:cubicBezTo>
                  <a:cubicBezTo>
                    <a:pt x="90" y="105"/>
                    <a:pt x="92" y="106"/>
                    <a:pt x="94" y="105"/>
                  </a:cubicBezTo>
                  <a:cubicBezTo>
                    <a:pt x="103" y="100"/>
                    <a:pt x="109" y="90"/>
                    <a:pt x="109" y="78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15"/>
                    <a:pt x="95" y="0"/>
                    <a:pt x="7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80" name="Oval 160"/>
            <p:cNvSpPr>
              <a:spLocks noChangeArrowheads="1"/>
            </p:cNvSpPr>
            <p:nvPr/>
          </p:nvSpPr>
          <p:spPr bwMode="auto">
            <a:xfrm>
              <a:off x="12022397" y="3938585"/>
              <a:ext cx="93627" cy="93627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1681" name="Group 1680"/>
            <p:cNvGrpSpPr/>
            <p:nvPr/>
          </p:nvGrpSpPr>
          <p:grpSpPr>
            <a:xfrm>
              <a:off x="11566229" y="3938585"/>
              <a:ext cx="401258" cy="461095"/>
              <a:chOff x="629950" y="2421868"/>
              <a:chExt cx="514492" cy="591215"/>
            </a:xfrm>
            <a:grpFill/>
          </p:grpSpPr>
          <p:sp>
            <p:nvSpPr>
              <p:cNvPr id="1682" name="Oval 165"/>
              <p:cNvSpPr>
                <a:spLocks noChangeArrowheads="1"/>
              </p:cNvSpPr>
              <p:nvPr/>
            </p:nvSpPr>
            <p:spPr bwMode="auto">
              <a:xfrm>
                <a:off x="958503" y="2421868"/>
                <a:ext cx="119146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3" name="Freeform 166"/>
              <p:cNvSpPr>
                <a:spLocks noEditPoints="1"/>
              </p:cNvSpPr>
              <p:nvPr/>
            </p:nvSpPr>
            <p:spPr bwMode="auto">
              <a:xfrm>
                <a:off x="891709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2 w 118"/>
                  <a:gd name="T3" fmla="*/ 102 h 213"/>
                  <a:gd name="T4" fmla="*/ 113 w 118"/>
                  <a:gd name="T5" fmla="*/ 78 h 213"/>
                  <a:gd name="T6" fmla="*/ 113 w 118"/>
                  <a:gd name="T7" fmla="*/ 32 h 213"/>
                  <a:gd name="T8" fmla="*/ 81 w 118"/>
                  <a:gd name="T9" fmla="*/ 0 h 213"/>
                  <a:gd name="T10" fmla="*/ 36 w 118"/>
                  <a:gd name="T11" fmla="*/ 0 h 213"/>
                  <a:gd name="T12" fmla="*/ 4 w 118"/>
                  <a:gd name="T13" fmla="*/ 32 h 213"/>
                  <a:gd name="T14" fmla="*/ 4 w 118"/>
                  <a:gd name="T15" fmla="*/ 78 h 213"/>
                  <a:gd name="T16" fmla="*/ 15 w 118"/>
                  <a:gd name="T17" fmla="*/ 102 h 213"/>
                  <a:gd name="T18" fmla="*/ 0 w 118"/>
                  <a:gd name="T19" fmla="*/ 142 h 213"/>
                  <a:gd name="T20" fmla="*/ 28 w 118"/>
                  <a:gd name="T21" fmla="*/ 142 h 213"/>
                  <a:gd name="T22" fmla="*/ 28 w 118"/>
                  <a:gd name="T23" fmla="*/ 198 h 213"/>
                  <a:gd name="T24" fmla="*/ 42 w 118"/>
                  <a:gd name="T25" fmla="*/ 213 h 213"/>
                  <a:gd name="T26" fmla="*/ 57 w 118"/>
                  <a:gd name="T27" fmla="*/ 198 h 213"/>
                  <a:gd name="T28" fmla="*/ 57 w 118"/>
                  <a:gd name="T29" fmla="*/ 142 h 213"/>
                  <a:gd name="T30" fmla="*/ 61 w 118"/>
                  <a:gd name="T31" fmla="*/ 142 h 213"/>
                  <a:gd name="T32" fmla="*/ 61 w 118"/>
                  <a:gd name="T33" fmla="*/ 198 h 213"/>
                  <a:gd name="T34" fmla="*/ 75 w 118"/>
                  <a:gd name="T35" fmla="*/ 213 h 213"/>
                  <a:gd name="T36" fmla="*/ 90 w 118"/>
                  <a:gd name="T37" fmla="*/ 198 h 213"/>
                  <a:gd name="T38" fmla="*/ 90 w 118"/>
                  <a:gd name="T39" fmla="*/ 142 h 213"/>
                  <a:gd name="T40" fmla="*/ 118 w 118"/>
                  <a:gd name="T41" fmla="*/ 142 h 213"/>
                  <a:gd name="T42" fmla="*/ 92 w 118"/>
                  <a:gd name="T43" fmla="*/ 33 h 213"/>
                  <a:gd name="T44" fmla="*/ 92 w 118"/>
                  <a:gd name="T45" fmla="*/ 33 h 213"/>
                  <a:gd name="T46" fmla="*/ 94 w 118"/>
                  <a:gd name="T47" fmla="*/ 35 h 213"/>
                  <a:gd name="T48" fmla="*/ 94 w 118"/>
                  <a:gd name="T49" fmla="*/ 81 h 213"/>
                  <a:gd name="T50" fmla="*/ 90 w 118"/>
                  <a:gd name="T51" fmla="*/ 70 h 213"/>
                  <a:gd name="T52" fmla="*/ 90 w 118"/>
                  <a:gd name="T53" fmla="*/ 35 h 213"/>
                  <a:gd name="T54" fmla="*/ 92 w 118"/>
                  <a:gd name="T55" fmla="*/ 33 h 213"/>
                  <a:gd name="T56" fmla="*/ 24 w 118"/>
                  <a:gd name="T57" fmla="*/ 80 h 213"/>
                  <a:gd name="T58" fmla="*/ 24 w 118"/>
                  <a:gd name="T59" fmla="*/ 35 h 213"/>
                  <a:gd name="T60" fmla="*/ 26 w 118"/>
                  <a:gd name="T61" fmla="*/ 33 h 213"/>
                  <a:gd name="T62" fmla="*/ 28 w 118"/>
                  <a:gd name="T63" fmla="*/ 35 h 213"/>
                  <a:gd name="T64" fmla="*/ 28 w 118"/>
                  <a:gd name="T65" fmla="*/ 69 h 213"/>
                  <a:gd name="T66" fmla="*/ 24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9" y="96"/>
                      <a:pt x="113" y="87"/>
                      <a:pt x="113" y="78"/>
                    </a:cubicBezTo>
                    <a:cubicBezTo>
                      <a:pt x="113" y="32"/>
                      <a:pt x="113" y="32"/>
                      <a:pt x="113" y="32"/>
                    </a:cubicBezTo>
                    <a:cubicBezTo>
                      <a:pt x="113" y="14"/>
                      <a:pt x="99" y="0"/>
                      <a:pt x="8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9" y="0"/>
                      <a:pt x="4" y="14"/>
                      <a:pt x="4" y="32"/>
                    </a:cubicBezTo>
                    <a:cubicBezTo>
                      <a:pt x="4" y="78"/>
                      <a:pt x="4" y="78"/>
                      <a:pt x="4" y="78"/>
                    </a:cubicBezTo>
                    <a:cubicBezTo>
                      <a:pt x="4" y="87"/>
                      <a:pt x="9" y="96"/>
                      <a:pt x="15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8" y="142"/>
                      <a:pt x="28" y="142"/>
                      <a:pt x="28" y="142"/>
                    </a:cubicBezTo>
                    <a:cubicBezTo>
                      <a:pt x="28" y="198"/>
                      <a:pt x="28" y="198"/>
                      <a:pt x="28" y="198"/>
                    </a:cubicBezTo>
                    <a:cubicBezTo>
                      <a:pt x="28" y="206"/>
                      <a:pt x="34" y="212"/>
                      <a:pt x="42" y="213"/>
                    </a:cubicBezTo>
                    <a:cubicBezTo>
                      <a:pt x="50" y="213"/>
                      <a:pt x="57" y="206"/>
                      <a:pt x="57" y="198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61" y="142"/>
                      <a:pt x="61" y="142"/>
                      <a:pt x="61" y="142"/>
                    </a:cubicBezTo>
                    <a:cubicBezTo>
                      <a:pt x="61" y="198"/>
                      <a:pt x="61" y="198"/>
                      <a:pt x="61" y="198"/>
                    </a:cubicBezTo>
                    <a:cubicBezTo>
                      <a:pt x="61" y="206"/>
                      <a:pt x="67" y="212"/>
                      <a:pt x="75" y="213"/>
                    </a:cubicBezTo>
                    <a:cubicBezTo>
                      <a:pt x="83" y="213"/>
                      <a:pt x="90" y="206"/>
                      <a:pt x="90" y="198"/>
                    </a:cubicBezTo>
                    <a:cubicBezTo>
                      <a:pt x="90" y="142"/>
                      <a:pt x="90" y="142"/>
                      <a:pt x="90" y="142"/>
                    </a:cubicBezTo>
                    <a:lnTo>
                      <a:pt x="118" y="142"/>
                    </a:lnTo>
                    <a:close/>
                    <a:moveTo>
                      <a:pt x="92" y="33"/>
                    </a:moveTo>
                    <a:cubicBezTo>
                      <a:pt x="92" y="33"/>
                      <a:pt x="92" y="33"/>
                      <a:pt x="92" y="33"/>
                    </a:cubicBezTo>
                    <a:cubicBezTo>
                      <a:pt x="93" y="33"/>
                      <a:pt x="94" y="34"/>
                      <a:pt x="94" y="35"/>
                    </a:cubicBezTo>
                    <a:cubicBezTo>
                      <a:pt x="94" y="81"/>
                      <a:pt x="94" y="81"/>
                      <a:pt x="94" y="81"/>
                    </a:cubicBezTo>
                    <a:cubicBezTo>
                      <a:pt x="90" y="70"/>
                      <a:pt x="90" y="70"/>
                      <a:pt x="90" y="70"/>
                    </a:cubicBezTo>
                    <a:cubicBezTo>
                      <a:pt x="90" y="35"/>
                      <a:pt x="90" y="35"/>
                      <a:pt x="90" y="35"/>
                    </a:cubicBezTo>
                    <a:cubicBezTo>
                      <a:pt x="90" y="34"/>
                      <a:pt x="91" y="33"/>
                      <a:pt x="92" y="33"/>
                    </a:cubicBezTo>
                    <a:close/>
                    <a:moveTo>
                      <a:pt x="24" y="80"/>
                    </a:moveTo>
                    <a:cubicBezTo>
                      <a:pt x="24" y="35"/>
                      <a:pt x="24" y="35"/>
                      <a:pt x="24" y="35"/>
                    </a:cubicBezTo>
                    <a:cubicBezTo>
                      <a:pt x="24" y="34"/>
                      <a:pt x="25" y="33"/>
                      <a:pt x="26" y="33"/>
                    </a:cubicBezTo>
                    <a:cubicBezTo>
                      <a:pt x="27" y="33"/>
                      <a:pt x="28" y="34"/>
                      <a:pt x="28" y="35"/>
                    </a:cubicBezTo>
                    <a:cubicBezTo>
                      <a:pt x="28" y="69"/>
                      <a:pt x="28" y="69"/>
                      <a:pt x="28" y="69"/>
                    </a:cubicBezTo>
                    <a:lnTo>
                      <a:pt x="24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4" name="Oval 167"/>
              <p:cNvSpPr>
                <a:spLocks noChangeArrowheads="1"/>
              </p:cNvSpPr>
              <p:nvPr/>
            </p:nvSpPr>
            <p:spPr bwMode="auto">
              <a:xfrm>
                <a:off x="696744" y="2421868"/>
                <a:ext cx="121854" cy="12004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685" name="Freeform 168"/>
              <p:cNvSpPr>
                <a:spLocks noEditPoints="1"/>
              </p:cNvSpPr>
              <p:nvPr/>
            </p:nvSpPr>
            <p:spPr bwMode="auto">
              <a:xfrm>
                <a:off x="629950" y="2556358"/>
                <a:ext cx="252733" cy="456725"/>
              </a:xfrm>
              <a:custGeom>
                <a:avLst/>
                <a:gdLst>
                  <a:gd name="T0" fmla="*/ 118 w 118"/>
                  <a:gd name="T1" fmla="*/ 142 h 213"/>
                  <a:gd name="T2" fmla="*/ 103 w 118"/>
                  <a:gd name="T3" fmla="*/ 102 h 213"/>
                  <a:gd name="T4" fmla="*/ 114 w 118"/>
                  <a:gd name="T5" fmla="*/ 78 h 213"/>
                  <a:gd name="T6" fmla="*/ 114 w 118"/>
                  <a:gd name="T7" fmla="*/ 32 h 213"/>
                  <a:gd name="T8" fmla="*/ 82 w 118"/>
                  <a:gd name="T9" fmla="*/ 0 h 213"/>
                  <a:gd name="T10" fmla="*/ 37 w 118"/>
                  <a:gd name="T11" fmla="*/ 0 h 213"/>
                  <a:gd name="T12" fmla="*/ 5 w 118"/>
                  <a:gd name="T13" fmla="*/ 32 h 213"/>
                  <a:gd name="T14" fmla="*/ 5 w 118"/>
                  <a:gd name="T15" fmla="*/ 78 h 213"/>
                  <a:gd name="T16" fmla="*/ 16 w 118"/>
                  <a:gd name="T17" fmla="*/ 102 h 213"/>
                  <a:gd name="T18" fmla="*/ 0 w 118"/>
                  <a:gd name="T19" fmla="*/ 142 h 213"/>
                  <a:gd name="T20" fmla="*/ 29 w 118"/>
                  <a:gd name="T21" fmla="*/ 142 h 213"/>
                  <a:gd name="T22" fmla="*/ 29 w 118"/>
                  <a:gd name="T23" fmla="*/ 198 h 213"/>
                  <a:gd name="T24" fmla="*/ 43 w 118"/>
                  <a:gd name="T25" fmla="*/ 213 h 213"/>
                  <a:gd name="T26" fmla="*/ 58 w 118"/>
                  <a:gd name="T27" fmla="*/ 198 h 213"/>
                  <a:gd name="T28" fmla="*/ 58 w 118"/>
                  <a:gd name="T29" fmla="*/ 142 h 213"/>
                  <a:gd name="T30" fmla="*/ 62 w 118"/>
                  <a:gd name="T31" fmla="*/ 142 h 213"/>
                  <a:gd name="T32" fmla="*/ 62 w 118"/>
                  <a:gd name="T33" fmla="*/ 198 h 213"/>
                  <a:gd name="T34" fmla="*/ 76 w 118"/>
                  <a:gd name="T35" fmla="*/ 213 h 213"/>
                  <a:gd name="T36" fmla="*/ 91 w 118"/>
                  <a:gd name="T37" fmla="*/ 198 h 213"/>
                  <a:gd name="T38" fmla="*/ 91 w 118"/>
                  <a:gd name="T39" fmla="*/ 142 h 213"/>
                  <a:gd name="T40" fmla="*/ 118 w 118"/>
                  <a:gd name="T41" fmla="*/ 142 h 213"/>
                  <a:gd name="T42" fmla="*/ 93 w 118"/>
                  <a:gd name="T43" fmla="*/ 33 h 213"/>
                  <a:gd name="T44" fmla="*/ 93 w 118"/>
                  <a:gd name="T45" fmla="*/ 33 h 213"/>
                  <a:gd name="T46" fmla="*/ 95 w 118"/>
                  <a:gd name="T47" fmla="*/ 35 h 213"/>
                  <a:gd name="T48" fmla="*/ 95 w 118"/>
                  <a:gd name="T49" fmla="*/ 81 h 213"/>
                  <a:gd name="T50" fmla="*/ 91 w 118"/>
                  <a:gd name="T51" fmla="*/ 70 h 213"/>
                  <a:gd name="T52" fmla="*/ 91 w 118"/>
                  <a:gd name="T53" fmla="*/ 35 h 213"/>
                  <a:gd name="T54" fmla="*/ 93 w 118"/>
                  <a:gd name="T55" fmla="*/ 33 h 213"/>
                  <a:gd name="T56" fmla="*/ 25 w 118"/>
                  <a:gd name="T57" fmla="*/ 80 h 213"/>
                  <a:gd name="T58" fmla="*/ 25 w 118"/>
                  <a:gd name="T59" fmla="*/ 35 h 213"/>
                  <a:gd name="T60" fmla="*/ 27 w 118"/>
                  <a:gd name="T61" fmla="*/ 33 h 213"/>
                  <a:gd name="T62" fmla="*/ 29 w 118"/>
                  <a:gd name="T63" fmla="*/ 35 h 213"/>
                  <a:gd name="T64" fmla="*/ 29 w 118"/>
                  <a:gd name="T65" fmla="*/ 69 h 213"/>
                  <a:gd name="T66" fmla="*/ 25 w 118"/>
                  <a:gd name="T67" fmla="*/ 80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8" h="213">
                    <a:moveTo>
                      <a:pt x="118" y="142"/>
                    </a:moveTo>
                    <a:cubicBezTo>
                      <a:pt x="103" y="102"/>
                      <a:pt x="103" y="102"/>
                      <a:pt x="103" y="102"/>
                    </a:cubicBezTo>
                    <a:cubicBezTo>
                      <a:pt x="110" y="96"/>
                      <a:pt x="114" y="87"/>
                      <a:pt x="114" y="78"/>
                    </a:cubicBezTo>
                    <a:cubicBezTo>
                      <a:pt x="114" y="32"/>
                      <a:pt x="114" y="32"/>
                      <a:pt x="114" y="32"/>
                    </a:cubicBezTo>
                    <a:cubicBezTo>
                      <a:pt x="114" y="14"/>
                      <a:pt x="100" y="0"/>
                      <a:pt x="82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9" y="0"/>
                      <a:pt x="5" y="14"/>
                      <a:pt x="5" y="32"/>
                    </a:cubicBezTo>
                    <a:cubicBezTo>
                      <a:pt x="5" y="78"/>
                      <a:pt x="5" y="78"/>
                      <a:pt x="5" y="78"/>
                    </a:cubicBezTo>
                    <a:cubicBezTo>
                      <a:pt x="5" y="87"/>
                      <a:pt x="9" y="96"/>
                      <a:pt x="16" y="102"/>
                    </a:cubicBezTo>
                    <a:cubicBezTo>
                      <a:pt x="0" y="142"/>
                      <a:pt x="0" y="142"/>
                      <a:pt x="0" y="142"/>
                    </a:cubicBezTo>
                    <a:cubicBezTo>
                      <a:pt x="29" y="142"/>
                      <a:pt x="29" y="142"/>
                      <a:pt x="29" y="142"/>
                    </a:cubicBezTo>
                    <a:cubicBezTo>
                      <a:pt x="29" y="198"/>
                      <a:pt x="29" y="198"/>
                      <a:pt x="29" y="198"/>
                    </a:cubicBezTo>
                    <a:cubicBezTo>
                      <a:pt x="29" y="206"/>
                      <a:pt x="35" y="212"/>
                      <a:pt x="43" y="213"/>
                    </a:cubicBezTo>
                    <a:cubicBezTo>
                      <a:pt x="51" y="213"/>
                      <a:pt x="58" y="206"/>
                      <a:pt x="58" y="198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2" y="142"/>
                      <a:pt x="62" y="142"/>
                      <a:pt x="62" y="142"/>
                    </a:cubicBezTo>
                    <a:cubicBezTo>
                      <a:pt x="62" y="198"/>
                      <a:pt x="62" y="198"/>
                      <a:pt x="62" y="198"/>
                    </a:cubicBezTo>
                    <a:cubicBezTo>
                      <a:pt x="62" y="206"/>
                      <a:pt x="68" y="212"/>
                      <a:pt x="76" y="213"/>
                    </a:cubicBezTo>
                    <a:cubicBezTo>
                      <a:pt x="84" y="213"/>
                      <a:pt x="91" y="206"/>
                      <a:pt x="91" y="198"/>
                    </a:cubicBezTo>
                    <a:cubicBezTo>
                      <a:pt x="91" y="142"/>
                      <a:pt x="91" y="142"/>
                      <a:pt x="91" y="142"/>
                    </a:cubicBezTo>
                    <a:lnTo>
                      <a:pt x="118" y="142"/>
                    </a:lnTo>
                    <a:close/>
                    <a:moveTo>
                      <a:pt x="93" y="33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5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1" y="70"/>
                      <a:pt x="91" y="70"/>
                      <a:pt x="91" y="70"/>
                    </a:cubicBezTo>
                    <a:cubicBezTo>
                      <a:pt x="91" y="35"/>
                      <a:pt x="91" y="35"/>
                      <a:pt x="91" y="35"/>
                    </a:cubicBezTo>
                    <a:cubicBezTo>
                      <a:pt x="91" y="34"/>
                      <a:pt x="91" y="33"/>
                      <a:pt x="93" y="33"/>
                    </a:cubicBezTo>
                    <a:close/>
                    <a:moveTo>
                      <a:pt x="25" y="80"/>
                    </a:moveTo>
                    <a:cubicBezTo>
                      <a:pt x="25" y="35"/>
                      <a:pt x="25" y="35"/>
                      <a:pt x="25" y="35"/>
                    </a:cubicBezTo>
                    <a:cubicBezTo>
                      <a:pt x="25" y="34"/>
                      <a:pt x="26" y="33"/>
                      <a:pt x="27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69"/>
                      <a:pt x="29" y="69"/>
                      <a:pt x="29" y="69"/>
                    </a:cubicBezTo>
                    <a:lnTo>
                      <a:pt x="25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1827" name="Freeform 1826"/>
          <p:cNvSpPr>
            <a:spLocks noEditPoints="1"/>
          </p:cNvSpPr>
          <p:nvPr/>
        </p:nvSpPr>
        <p:spPr bwMode="auto">
          <a:xfrm>
            <a:off x="7331116" y="1674208"/>
            <a:ext cx="3959707" cy="3952224"/>
          </a:xfrm>
          <a:custGeom>
            <a:avLst/>
            <a:gdLst>
              <a:gd name="T0" fmla="*/ 232 w 463"/>
              <a:gd name="T1" fmla="*/ 462 h 462"/>
              <a:gd name="T2" fmla="*/ 0 w 463"/>
              <a:gd name="T3" fmla="*/ 231 h 462"/>
              <a:gd name="T4" fmla="*/ 232 w 463"/>
              <a:gd name="T5" fmla="*/ 0 h 462"/>
              <a:gd name="T6" fmla="*/ 463 w 463"/>
              <a:gd name="T7" fmla="*/ 231 h 462"/>
              <a:gd name="T8" fmla="*/ 232 w 463"/>
              <a:gd name="T9" fmla="*/ 462 h 462"/>
              <a:gd name="T10" fmla="*/ 232 w 463"/>
              <a:gd name="T11" fmla="*/ 3 h 462"/>
              <a:gd name="T12" fmla="*/ 3 w 463"/>
              <a:gd name="T13" fmla="*/ 231 h 462"/>
              <a:gd name="T14" fmla="*/ 232 w 463"/>
              <a:gd name="T15" fmla="*/ 459 h 462"/>
              <a:gd name="T16" fmla="*/ 460 w 463"/>
              <a:gd name="T17" fmla="*/ 231 h 462"/>
              <a:gd name="T18" fmla="*/ 232 w 463"/>
              <a:gd name="T19" fmla="*/ 3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63" h="462">
                <a:moveTo>
                  <a:pt x="232" y="462"/>
                </a:moveTo>
                <a:cubicBezTo>
                  <a:pt x="104" y="462"/>
                  <a:pt x="0" y="359"/>
                  <a:pt x="0" y="231"/>
                </a:cubicBezTo>
                <a:cubicBezTo>
                  <a:pt x="0" y="104"/>
                  <a:pt x="104" y="0"/>
                  <a:pt x="232" y="0"/>
                </a:cubicBezTo>
                <a:cubicBezTo>
                  <a:pt x="359" y="0"/>
                  <a:pt x="463" y="104"/>
                  <a:pt x="463" y="231"/>
                </a:cubicBezTo>
                <a:cubicBezTo>
                  <a:pt x="463" y="359"/>
                  <a:pt x="359" y="462"/>
                  <a:pt x="232" y="462"/>
                </a:cubicBezTo>
                <a:close/>
                <a:moveTo>
                  <a:pt x="232" y="3"/>
                </a:moveTo>
                <a:cubicBezTo>
                  <a:pt x="106" y="3"/>
                  <a:pt x="3" y="105"/>
                  <a:pt x="3" y="231"/>
                </a:cubicBezTo>
                <a:cubicBezTo>
                  <a:pt x="3" y="357"/>
                  <a:pt x="106" y="459"/>
                  <a:pt x="232" y="459"/>
                </a:cubicBezTo>
                <a:cubicBezTo>
                  <a:pt x="357" y="459"/>
                  <a:pt x="460" y="357"/>
                  <a:pt x="460" y="231"/>
                </a:cubicBezTo>
                <a:cubicBezTo>
                  <a:pt x="460" y="105"/>
                  <a:pt x="357" y="3"/>
                  <a:pt x="232" y="3"/>
                </a:cubicBezTo>
                <a:close/>
              </a:path>
            </a:pathLst>
          </a:custGeom>
          <a:solidFill>
            <a:srgbClr val="173F49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9" name="Freeform 1828"/>
          <p:cNvSpPr>
            <a:spLocks/>
          </p:cNvSpPr>
          <p:nvPr/>
        </p:nvSpPr>
        <p:spPr bwMode="auto">
          <a:xfrm>
            <a:off x="9186961" y="1587376"/>
            <a:ext cx="2178958" cy="2044057"/>
          </a:xfrm>
          <a:custGeom>
            <a:avLst/>
            <a:gdLst>
              <a:gd name="T0" fmla="*/ 231 w 243"/>
              <a:gd name="T1" fmla="*/ 243 h 243"/>
              <a:gd name="T2" fmla="*/ 219 w 243"/>
              <a:gd name="T3" fmla="*/ 231 h 243"/>
              <a:gd name="T4" fmla="*/ 12 w 243"/>
              <a:gd name="T5" fmla="*/ 24 h 243"/>
              <a:gd name="T6" fmla="*/ 0 w 243"/>
              <a:gd name="T7" fmla="*/ 12 h 243"/>
              <a:gd name="T8" fmla="*/ 12 w 243"/>
              <a:gd name="T9" fmla="*/ 0 h 243"/>
              <a:gd name="T10" fmla="*/ 243 w 243"/>
              <a:gd name="T11" fmla="*/ 231 h 243"/>
              <a:gd name="T12" fmla="*/ 231 w 243"/>
              <a:gd name="T13" fmla="*/ 243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3" h="243">
                <a:moveTo>
                  <a:pt x="231" y="243"/>
                </a:moveTo>
                <a:cubicBezTo>
                  <a:pt x="225" y="243"/>
                  <a:pt x="219" y="238"/>
                  <a:pt x="219" y="231"/>
                </a:cubicBezTo>
                <a:cubicBezTo>
                  <a:pt x="219" y="117"/>
                  <a:pt x="126" y="24"/>
                  <a:pt x="12" y="24"/>
                </a:cubicBezTo>
                <a:cubicBezTo>
                  <a:pt x="5" y="24"/>
                  <a:pt x="0" y="19"/>
                  <a:pt x="0" y="12"/>
                </a:cubicBezTo>
                <a:cubicBezTo>
                  <a:pt x="0" y="6"/>
                  <a:pt x="5" y="0"/>
                  <a:pt x="12" y="0"/>
                </a:cubicBezTo>
                <a:cubicBezTo>
                  <a:pt x="139" y="0"/>
                  <a:pt x="243" y="104"/>
                  <a:pt x="243" y="231"/>
                </a:cubicBezTo>
                <a:cubicBezTo>
                  <a:pt x="243" y="238"/>
                  <a:pt x="238" y="243"/>
                  <a:pt x="231" y="243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31" name="Rectangle 1830"/>
          <p:cNvSpPr/>
          <p:nvPr/>
        </p:nvSpPr>
        <p:spPr>
          <a:xfrm>
            <a:off x="7561563" y="2691175"/>
            <a:ext cx="334850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800" dirty="0">
                <a:solidFill>
                  <a:srgbClr val="FFC000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Verdana" panose="020B0604030504040204" pitchFamily="34" charset="0"/>
              </a:rPr>
              <a:t>…17%</a:t>
            </a:r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Verdana" panose="020B0604030504040204" pitchFamily="34" charset="0"/>
              </a:rPr>
              <a:t> contribution from 100 Smart Cities</a:t>
            </a:r>
            <a:endParaRPr lang="en-GB" sz="2800" dirty="0">
              <a:solidFill>
                <a:schemeClr val="bg1"/>
              </a:solidFill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1826" name="Freeform 1825"/>
          <p:cNvSpPr>
            <a:spLocks noEditPoints="1"/>
          </p:cNvSpPr>
          <p:nvPr/>
        </p:nvSpPr>
        <p:spPr bwMode="auto">
          <a:xfrm>
            <a:off x="1295400" y="1674208"/>
            <a:ext cx="3959707" cy="3952224"/>
          </a:xfrm>
          <a:custGeom>
            <a:avLst/>
            <a:gdLst>
              <a:gd name="T0" fmla="*/ 232 w 463"/>
              <a:gd name="T1" fmla="*/ 462 h 462"/>
              <a:gd name="T2" fmla="*/ 0 w 463"/>
              <a:gd name="T3" fmla="*/ 231 h 462"/>
              <a:gd name="T4" fmla="*/ 232 w 463"/>
              <a:gd name="T5" fmla="*/ 0 h 462"/>
              <a:gd name="T6" fmla="*/ 463 w 463"/>
              <a:gd name="T7" fmla="*/ 231 h 462"/>
              <a:gd name="T8" fmla="*/ 232 w 463"/>
              <a:gd name="T9" fmla="*/ 462 h 462"/>
              <a:gd name="T10" fmla="*/ 232 w 463"/>
              <a:gd name="T11" fmla="*/ 3 h 462"/>
              <a:gd name="T12" fmla="*/ 3 w 463"/>
              <a:gd name="T13" fmla="*/ 231 h 462"/>
              <a:gd name="T14" fmla="*/ 232 w 463"/>
              <a:gd name="T15" fmla="*/ 459 h 462"/>
              <a:gd name="T16" fmla="*/ 460 w 463"/>
              <a:gd name="T17" fmla="*/ 231 h 462"/>
              <a:gd name="T18" fmla="*/ 232 w 463"/>
              <a:gd name="T19" fmla="*/ 3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63" h="462">
                <a:moveTo>
                  <a:pt x="232" y="462"/>
                </a:moveTo>
                <a:cubicBezTo>
                  <a:pt x="104" y="462"/>
                  <a:pt x="0" y="359"/>
                  <a:pt x="0" y="231"/>
                </a:cubicBezTo>
                <a:cubicBezTo>
                  <a:pt x="0" y="104"/>
                  <a:pt x="104" y="0"/>
                  <a:pt x="232" y="0"/>
                </a:cubicBezTo>
                <a:cubicBezTo>
                  <a:pt x="359" y="0"/>
                  <a:pt x="463" y="104"/>
                  <a:pt x="463" y="231"/>
                </a:cubicBezTo>
                <a:cubicBezTo>
                  <a:pt x="463" y="359"/>
                  <a:pt x="359" y="462"/>
                  <a:pt x="232" y="462"/>
                </a:cubicBezTo>
                <a:close/>
                <a:moveTo>
                  <a:pt x="232" y="3"/>
                </a:moveTo>
                <a:cubicBezTo>
                  <a:pt x="106" y="3"/>
                  <a:pt x="3" y="105"/>
                  <a:pt x="3" y="231"/>
                </a:cubicBezTo>
                <a:cubicBezTo>
                  <a:pt x="3" y="357"/>
                  <a:pt x="106" y="459"/>
                  <a:pt x="232" y="459"/>
                </a:cubicBezTo>
                <a:cubicBezTo>
                  <a:pt x="357" y="459"/>
                  <a:pt x="460" y="357"/>
                  <a:pt x="460" y="231"/>
                </a:cubicBezTo>
                <a:cubicBezTo>
                  <a:pt x="460" y="105"/>
                  <a:pt x="357" y="3"/>
                  <a:pt x="232" y="3"/>
                </a:cubicBezTo>
                <a:close/>
              </a:path>
            </a:pathLst>
          </a:custGeom>
          <a:solidFill>
            <a:srgbClr val="173F49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28" name="Freeform 1827"/>
          <p:cNvSpPr>
            <a:spLocks/>
          </p:cNvSpPr>
          <p:nvPr/>
        </p:nvSpPr>
        <p:spPr bwMode="auto">
          <a:xfrm>
            <a:off x="1217794" y="1595611"/>
            <a:ext cx="4101927" cy="4109415"/>
          </a:xfrm>
          <a:custGeom>
            <a:avLst/>
            <a:gdLst>
              <a:gd name="T0" fmla="*/ 231 w 461"/>
              <a:gd name="T1" fmla="*/ 462 h 462"/>
              <a:gd name="T2" fmla="*/ 0 w 461"/>
              <a:gd name="T3" fmla="*/ 231 h 462"/>
              <a:gd name="T4" fmla="*/ 11 w 461"/>
              <a:gd name="T5" fmla="*/ 219 h 462"/>
              <a:gd name="T6" fmla="*/ 23 w 461"/>
              <a:gd name="T7" fmla="*/ 231 h 462"/>
              <a:gd name="T8" fmla="*/ 231 w 461"/>
              <a:gd name="T9" fmla="*/ 439 h 462"/>
              <a:gd name="T10" fmla="*/ 438 w 461"/>
              <a:gd name="T11" fmla="*/ 231 h 462"/>
              <a:gd name="T12" fmla="*/ 231 w 461"/>
              <a:gd name="T13" fmla="*/ 24 h 462"/>
              <a:gd name="T14" fmla="*/ 219 w 461"/>
              <a:gd name="T15" fmla="*/ 12 h 462"/>
              <a:gd name="T16" fmla="*/ 231 w 461"/>
              <a:gd name="T17" fmla="*/ 0 h 462"/>
              <a:gd name="T18" fmla="*/ 461 w 461"/>
              <a:gd name="T19" fmla="*/ 231 h 462"/>
              <a:gd name="T20" fmla="*/ 231 w 461"/>
              <a:gd name="T21" fmla="*/ 462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61" h="462">
                <a:moveTo>
                  <a:pt x="231" y="462"/>
                </a:moveTo>
                <a:cubicBezTo>
                  <a:pt x="103" y="462"/>
                  <a:pt x="0" y="359"/>
                  <a:pt x="0" y="231"/>
                </a:cubicBezTo>
                <a:cubicBezTo>
                  <a:pt x="0" y="225"/>
                  <a:pt x="5" y="219"/>
                  <a:pt x="11" y="219"/>
                </a:cubicBezTo>
                <a:cubicBezTo>
                  <a:pt x="18" y="219"/>
                  <a:pt x="23" y="225"/>
                  <a:pt x="23" y="231"/>
                </a:cubicBezTo>
                <a:cubicBezTo>
                  <a:pt x="23" y="346"/>
                  <a:pt x="116" y="439"/>
                  <a:pt x="231" y="439"/>
                </a:cubicBezTo>
                <a:cubicBezTo>
                  <a:pt x="345" y="439"/>
                  <a:pt x="438" y="346"/>
                  <a:pt x="438" y="231"/>
                </a:cubicBezTo>
                <a:cubicBezTo>
                  <a:pt x="438" y="117"/>
                  <a:pt x="345" y="24"/>
                  <a:pt x="231" y="24"/>
                </a:cubicBezTo>
                <a:cubicBezTo>
                  <a:pt x="224" y="24"/>
                  <a:pt x="219" y="19"/>
                  <a:pt x="219" y="12"/>
                </a:cubicBezTo>
                <a:cubicBezTo>
                  <a:pt x="219" y="6"/>
                  <a:pt x="224" y="0"/>
                  <a:pt x="231" y="0"/>
                </a:cubicBezTo>
                <a:cubicBezTo>
                  <a:pt x="358" y="0"/>
                  <a:pt x="461" y="104"/>
                  <a:pt x="461" y="231"/>
                </a:cubicBezTo>
                <a:cubicBezTo>
                  <a:pt x="461" y="359"/>
                  <a:pt x="358" y="462"/>
                  <a:pt x="231" y="462"/>
                </a:cubicBezTo>
                <a:close/>
              </a:path>
            </a:pathLst>
          </a:custGeom>
          <a:solidFill>
            <a:srgbClr val="81828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30" name="Rectangle 1829"/>
          <p:cNvSpPr/>
          <p:nvPr/>
        </p:nvSpPr>
        <p:spPr>
          <a:xfrm>
            <a:off x="1501072" y="2679886"/>
            <a:ext cx="3574280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Verdana" panose="020B0604030504040204" pitchFamily="34" charset="0"/>
              </a:rPr>
              <a:t>Urban India contributes to </a:t>
            </a:r>
            <a:r>
              <a:rPr lang="en-US" sz="4800" dirty="0">
                <a:solidFill>
                  <a:srgbClr val="818284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Verdana" panose="020B0604030504040204" pitchFamily="34" charset="0"/>
              </a:rPr>
              <a:t>65% </a:t>
            </a:r>
            <a:r>
              <a:rPr lang="en-US" sz="280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Verdana" panose="020B0604030504040204" pitchFamily="34" charset="0"/>
              </a:rPr>
              <a:t>of the GDP…</a:t>
            </a:r>
            <a:endParaRPr lang="en-GB" sz="2800" dirty="0">
              <a:solidFill>
                <a:schemeClr val="bg1"/>
              </a:solidFill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8234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18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8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29" grpId="0" animBg="1"/>
      <p:bldP spid="1831" grpId="0"/>
      <p:bldP spid="1828" grpId="0" animBg="1"/>
      <p:bldP spid="18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ZCiD7HSj2PJUk1UmL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PozGgFQ16m_Uo07CTx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79pdYjRKSNKZX5g5tx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7HMZ5USkGItLPTvrVO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t.VtvkSdKSkusA7yFa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2Hof3TI.nkkmktJYT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HGOsPYQkCj6rFYpIW9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GY7kbvQjqbpJWQl__X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lUQh58S1uT8pZa1CkK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.FH0qGREOPyLM27QAf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ezWyonRtuEQeAS6219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kzGe.GRyeVSwHuZ6BO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RGyPUqSd.jSqv05OnS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Q_E7NATDuY8N4fcwAi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QNnm0uRv2bsQS5virBc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Q_E7NATDuY8N4fcwAi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Q_E7NATDuY8N4fcwAi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Q_E7NATDuY8N4fcwAi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Q_E7NATDuY8N4fcwAi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l7ND.RyeBjXcoItLI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fUPwB0TpK3J6nf8sQc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qMRE8MS1S.j_9qyl6hY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iAcAuCQS6b_Ojq8Z3w3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RO9X_DQNqsWWqCkGf4C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RO9X_DQNqsWWqCkGf4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RO9X_DQNqsWWqCkGf4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lhRlf0Q.SNPdtvIOgf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.sui4WQw.T5lQDoV4s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OHsSBTRi._M5GnKpOj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NZA0O7QtCf.ry0IADA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I27R1ShqIEUDjnvuH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jI27R1ShqIEUDjnvuHi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Document_x0020_Date xmlns="6dfc6e00-eaa7-471f-8691-9b952787d5c9" xsi:nil="true"/>
    <Action xmlns="6dfc6e00-eaa7-471f-8691-9b952787d5c9">Keep</Action>
    <Keywords0 xmlns="6dfc6e00-eaa7-471f-8691-9b952787d5c9" xsi:nil="true"/>
    <Description_x0020_2 xmlns="6dfc6e00-eaa7-471f-8691-9b952787d5c9" xsi:nil="true"/>
    <Document_x0020_Type xmlns="6dfc6e00-eaa7-471f-8691-9b952787d5c9" xsi:nil="true"/>
    <Description0 xmlns="6dfc6e00-eaa7-471f-8691-9b952787d5c9" xsi:nil="true"/>
    <TaxCatchAll xmlns="cfe53b65-3c36-4587-b144-e9caa3012b85"/>
    <TaxKeywordTaxHTField xmlns="cfe53b65-3c36-4587-b144-e9caa3012b85">
      <Terms xmlns="http://schemas.microsoft.com/office/infopath/2007/PartnerControls"/>
    </TaxKeywordTaxHTField>
  </documentManagement>
</p:properties>
</file>

<file path=customXml/item2.xml><?xml version="1.0" encoding="utf-8"?>
<?mso-contentType ?>
<FormTemplates xmlns="http://schemas.microsoft.com/sharepoint/v3/contenttype/forms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EA0F26C7743146B81ADA30DB412C57" ma:contentTypeVersion="30" ma:contentTypeDescription="" ma:contentTypeScope="" ma:versionID="fcfdb159951a4bdfedff82a06587af1a">
  <xsd:schema xmlns:xsd="http://www.w3.org/2001/XMLSchema" xmlns:xs="http://www.w3.org/2001/XMLSchema" xmlns:p="http://schemas.microsoft.com/office/2006/metadata/properties" xmlns:ns1="http://schemas.microsoft.com/sharepoint/v3" xmlns:ns2="6dfc6e00-eaa7-471f-8691-9b952787d5c9" xmlns:ns3="cfe53b65-3c36-4587-b144-e9caa3012b85" targetNamespace="http://schemas.microsoft.com/office/2006/metadata/properties" ma:root="true" ma:fieldsID="152d8dc6be0517c768a6ab9550a55961" ns1:_="" ns2:_="" ns3:_="">
    <xsd:import namespace="http://schemas.microsoft.com/sharepoint/v3"/>
    <xsd:import namespace="6dfc6e00-eaa7-471f-8691-9b952787d5c9"/>
    <xsd:import namespace="cfe53b65-3c36-4587-b144-e9caa3012b85"/>
    <xsd:element name="properties">
      <xsd:complexType>
        <xsd:sequence>
          <xsd:element name="documentManagement">
            <xsd:complexType>
              <xsd:all>
                <xsd:element ref="ns2:Document_x0020_Date" minOccurs="0"/>
                <xsd:element ref="ns2:Document_x0020_Type" minOccurs="0"/>
                <xsd:element ref="ns2:Description0" minOccurs="0"/>
                <xsd:element ref="ns2:Keywords0" minOccurs="0"/>
                <xsd:element ref="ns2:Description_x0020_2" minOccurs="0"/>
                <xsd:element ref="ns2:Action" minOccurs="0"/>
                <xsd:element ref="ns1:PublishingStartDate" minOccurs="0"/>
                <xsd:element ref="ns1:PublishingExpirationDate" minOccurs="0"/>
                <xsd:element ref="ns3:TaxKeywordTaxHTField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0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1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c6e00-eaa7-471f-8691-9b952787d5c9" elementFormDefault="qualified">
    <xsd:import namespace="http://schemas.microsoft.com/office/2006/documentManagement/types"/>
    <xsd:import namespace="http://schemas.microsoft.com/office/infopath/2007/PartnerControls"/>
    <xsd:element name="Document_x0020_Date" ma:index="2" nillable="true" ma:displayName="Document Date" ma:format="DateOnly" ma:internalName="Document_x0020_Date" ma:readOnly="false">
      <xsd:simpleType>
        <xsd:restriction base="dms:DateTime"/>
      </xsd:simpleType>
    </xsd:element>
    <xsd:element name="Document_x0020_Type" ma:index="3" nillable="true" ma:displayName="Document Type" ma:format="Dropdown" ma:internalName="Document_x0020_Type" ma:readOnly="false">
      <xsd:simpleType>
        <xsd:restriction base="dms:Choice">
          <xsd:enumeration value="Agenda"/>
          <xsd:enumeration value="Draft Agenda"/>
          <xsd:enumeration value="Minutes"/>
          <xsd:enumeration value="Information"/>
        </xsd:restriction>
      </xsd:simpleType>
    </xsd:element>
    <xsd:element name="Description0" ma:index="4" nillable="true" ma:displayName="Description" ma:internalName="Description0" ma:readOnly="false">
      <xsd:simpleType>
        <xsd:restriction base="dms:Note">
          <xsd:maxLength value="255"/>
        </xsd:restriction>
      </xsd:simpleType>
    </xsd:element>
    <xsd:element name="Keywords0" ma:index="5" nillable="true" ma:displayName="Keywords" ma:internalName="Keywords0" ma:readOnly="false">
      <xsd:simpleType>
        <xsd:restriction base="dms:Text">
          <xsd:maxLength value="255"/>
        </xsd:restriction>
      </xsd:simpleType>
    </xsd:element>
    <xsd:element name="Description_x0020_2" ma:index="6" nillable="true" ma:displayName="Description 2" ma:internalName="Description_x0020_2" ma:readOnly="false">
      <xsd:simpleType>
        <xsd:restriction base="dms:Note">
          <xsd:maxLength value="255"/>
        </xsd:restriction>
      </xsd:simpleType>
    </xsd:element>
    <xsd:element name="Action" ma:index="9" nillable="true" ma:displayName="Action" ma:default="Keep" ma:format="Dropdown" ma:internalName="Action" ma:readOnly="false">
      <xsd:simpleType>
        <xsd:restriction base="dms:Choice">
          <xsd:enumeration value="Archive"/>
          <xsd:enumeration value="Delete"/>
          <xsd:enumeration value="HTML"/>
          <xsd:enumeration value="Keep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e53b65-3c36-4587-b144-e9caa3012b85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8d75cb8a-db72-4bd2-8553-c0aa1f2d3d3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8" nillable="true" ma:displayName="Taxonomy Catch All Column" ma:hidden="true" ma:list="{6de13bb9-1a86-497f-b15a-03a43ff14f46}" ma:internalName="TaxCatchAll" ma:showField="CatchAllData" ma:web="cfe53b65-3c36-4587-b144-e9caa3012b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04BD31DE-C3B3-4DA3-9CA6-3F90172B2AE6}"/>
</file>

<file path=customXml/itemProps2.xml><?xml version="1.0" encoding="utf-8"?>
<ds:datastoreItem xmlns:ds="http://schemas.openxmlformats.org/officeDocument/2006/customXml" ds:itemID="{AED1432E-FC12-4D46-847D-02543E80A748}"/>
</file>

<file path=customXml/itemProps3.xml><?xml version="1.0" encoding="utf-8"?>
<ds:datastoreItem xmlns:ds="http://schemas.openxmlformats.org/officeDocument/2006/customXml" ds:itemID="{C7B6BB0B-68E0-48E4-AC78-86278623F79D}"/>
</file>

<file path=customXml/itemProps4.xml><?xml version="1.0" encoding="utf-8"?>
<ds:datastoreItem xmlns:ds="http://schemas.openxmlformats.org/officeDocument/2006/customXml" ds:itemID="{AED1432E-FC12-4D46-847D-02543E80A748}"/>
</file>

<file path=docProps/app.xml><?xml version="1.0" encoding="utf-8"?>
<Properties xmlns="http://schemas.openxmlformats.org/officeDocument/2006/extended-properties" xmlns:vt="http://schemas.openxmlformats.org/officeDocument/2006/docPropsVTypes">
  <TotalTime>1951</TotalTime>
  <Words>827</Words>
  <Application>Microsoft Office PowerPoint</Application>
  <PresentationFormat>Widescreen</PresentationFormat>
  <Paragraphs>189</Paragraphs>
  <Slides>4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3" baseType="lpstr">
      <vt:lpstr>Arial</vt:lpstr>
      <vt:lpstr>Calibri</vt:lpstr>
      <vt:lpstr>Calibri Light</vt:lpstr>
      <vt:lpstr>Candara</vt:lpstr>
      <vt:lpstr>Georgia</vt:lpstr>
      <vt:lpstr>Roboto</vt:lpstr>
      <vt:lpstr>Roboto Black</vt:lpstr>
      <vt:lpstr>Roboto Light</vt:lpstr>
      <vt:lpstr>Times New Roman</vt:lpstr>
      <vt:lpstr>Verdana</vt:lpstr>
      <vt:lpstr>Office Theme</vt:lpstr>
      <vt:lpstr>think-cell Slide</vt:lpstr>
      <vt:lpstr>PowerPoint Presentation</vt:lpstr>
      <vt:lpstr>India’s Urban Transformation </vt:lpstr>
      <vt:lpstr>Background</vt:lpstr>
      <vt:lpstr>PowerPoint Presentation</vt:lpstr>
      <vt:lpstr>Mission Focus</vt:lpstr>
      <vt:lpstr>Mission Strategy</vt:lpstr>
      <vt:lpstr>PowerPoint Presentation</vt:lpstr>
      <vt:lpstr>Smart Cities Mission</vt:lpstr>
      <vt:lpstr>Contribution to Economic Growth</vt:lpstr>
      <vt:lpstr>Mission Achieves Important Milestones</vt:lpstr>
      <vt:lpstr>Mission Project Progress</vt:lpstr>
      <vt:lpstr>PowerPoint Presentation</vt:lpstr>
      <vt:lpstr>Integrated Command and Control Centers (ICCC)</vt:lpstr>
      <vt:lpstr>Public Bicycle Sharing</vt:lpstr>
      <vt:lpstr>Complete Streets – Encouraging Non Motorised Transport</vt:lpstr>
      <vt:lpstr>Placemaking</vt:lpstr>
      <vt:lpstr>Floating Solar Plants</vt:lpstr>
      <vt:lpstr>Incubation Centers</vt:lpstr>
      <vt:lpstr>Integrated Heritage Development</vt:lpstr>
      <vt:lpstr>Social Equity Centers</vt:lpstr>
      <vt:lpstr>All Abilities Park</vt:lpstr>
      <vt:lpstr>PowerPoint Presentation</vt:lpstr>
      <vt:lpstr>Mission Strategy</vt:lpstr>
      <vt:lpstr>Ease of living Index for 2019 </vt:lpstr>
      <vt:lpstr>Ease of living</vt:lpstr>
      <vt:lpstr>City GDP</vt:lpstr>
      <vt:lpstr>ClimateSmart Cities Framework</vt:lpstr>
      <vt:lpstr>PowerPoint Presentation</vt:lpstr>
      <vt:lpstr>Municipal Performance Index</vt:lpstr>
      <vt:lpstr>PowerPoint Presentation</vt:lpstr>
      <vt:lpstr>Mission Strategy</vt:lpstr>
      <vt:lpstr>PowerPoint Presentation</vt:lpstr>
      <vt:lpstr>PowerPoint Presentation</vt:lpstr>
      <vt:lpstr>Mission Initiatives on DATA Empowerment</vt:lpstr>
      <vt:lpstr>On behalf of 100 Smart Cities</vt:lpstr>
      <vt:lpstr>Standardization in the field of Smart Cities</vt:lpstr>
      <vt:lpstr>Need for the Standards</vt:lpstr>
      <vt:lpstr>Departments</vt:lpstr>
      <vt:lpstr>PowerPoint Presentation</vt:lpstr>
      <vt:lpstr>Mission Transform-Nation</vt:lpstr>
      <vt:lpstr>Thank Yo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s Sangeeta Paul</dc:creator>
  <cp:lastModifiedBy>Sampathkumar Subramaniam</cp:lastModifiedBy>
  <cp:revision>247</cp:revision>
  <dcterms:created xsi:type="dcterms:W3CDTF">2019-02-25T00:14:34Z</dcterms:created>
  <dcterms:modified xsi:type="dcterms:W3CDTF">2019-07-10T05:0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EA0F26C7743146B81ADA30DB412C57</vt:lpwstr>
  </property>
  <property fmtid="{D5CDD505-2E9C-101B-9397-08002B2CF9AE}" pid="3" name="_dlc_DocIdItemGuid">
    <vt:lpwstr>53bac7b7-4657-46dc-833a-e32737a79975</vt:lpwstr>
  </property>
</Properties>
</file>